
<file path=[Content_Types].xml><?xml version="1.0" encoding="utf-8"?>
<Types xmlns="http://schemas.openxmlformats.org/package/2006/content-types">
  <Default Extension="jpeg" ContentType="image/jpeg"/>
  <Default Extension="wav" ContentType="audio/x-wav"/>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fonts/font6.fntdata" ContentType="application/x-fontdata"/>
  <Override PartName="/ppt/fonts/font7.fntdata" ContentType="application/x-fontdata"/>
  <Override PartName="/ppt/fonts/font8.fntdata" ContentType="application/x-fontdata"/>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4"/>
  </p:notesMasterIdLst>
  <p:sldIdLst>
    <p:sldId id="256" r:id="rId3"/>
    <p:sldId id="258" r:id="rId5"/>
    <p:sldId id="428" r:id="rId6"/>
    <p:sldId id="259" r:id="rId7"/>
    <p:sldId id="268" r:id="rId8"/>
    <p:sldId id="289" r:id="rId9"/>
    <p:sldId id="290" r:id="rId10"/>
    <p:sldId id="309" r:id="rId11"/>
    <p:sldId id="310" r:id="rId12"/>
    <p:sldId id="293" r:id="rId13"/>
    <p:sldId id="292" r:id="rId14"/>
    <p:sldId id="431" r:id="rId15"/>
    <p:sldId id="424" r:id="rId16"/>
    <p:sldId id="306" r:id="rId17"/>
    <p:sldId id="380" r:id="rId18"/>
    <p:sldId id="420" r:id="rId19"/>
    <p:sldId id="425" r:id="rId20"/>
    <p:sldId id="432" r:id="rId21"/>
    <p:sldId id="423" r:id="rId22"/>
    <p:sldId id="422" r:id="rId23"/>
    <p:sldId id="421" r:id="rId24"/>
    <p:sldId id="426" r:id="rId25"/>
    <p:sldId id="417" r:id="rId26"/>
    <p:sldId id="295" r:id="rId27"/>
    <p:sldId id="416" r:id="rId28"/>
    <p:sldId id="429" r:id="rId29"/>
    <p:sldId id="270" r:id="rId30"/>
    <p:sldId id="286" r:id="rId31"/>
    <p:sldId id="430" r:id="rId32"/>
  </p:sldIdLst>
  <p:sldSz cx="12190095" cy="6858000"/>
  <p:notesSz cx="6858000" cy="9144000"/>
  <p:embeddedFontLst>
    <p:embeddedFont>
      <p:font typeface="微软雅黑" panose="020B0503020204020204" pitchFamily="34" charset="-122"/>
      <p:regular r:id="rId36"/>
    </p:embeddedFont>
    <p:embeddedFont>
      <p:font typeface="Segoe UI Light" panose="020B0502040204020203" pitchFamily="2" charset="0"/>
      <p:regular r:id="rId37"/>
    </p:embeddedFont>
    <p:embeddedFont>
      <p:font typeface="Pirulen" panose="02000807050000020004" pitchFamily="2" charset="0"/>
      <p:regular r:id="rId38"/>
    </p:embeddedFont>
    <p:embeddedFont>
      <p:font typeface="Calibri" panose="020F0502020204030204" charset="0"/>
      <p:regular r:id="rId39"/>
      <p:bold r:id="rId40"/>
      <p:italic r:id="rId41"/>
      <p:boldItalic r:id="rId42"/>
    </p:embeddedFont>
    <p:embeddedFont>
      <p:font typeface="UKIJ Qolyazma" panose="02020603050405020304" pitchFamily="18" charset="0"/>
      <p:regular r:id="rId43"/>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extLst>
      <p:ext uri="{2FDB2607-1784-4EEB-B798-7EB5836EED8A}">
        <p14:showMediaCtrls xmlns:p14="http://schemas.microsoft.com/office/powerpoint/2010/main" val="1"/>
      </p:ext>
    </p:extLst>
  </p:showPr>
  <p:clrMru>
    <a:srgbClr val="B4E4EA"/>
    <a:srgbClr val="41A0DA"/>
    <a:srgbClr val="3587BB"/>
    <a:srgbClr val="2FC9FF"/>
    <a:srgbClr val="FFCCFF"/>
    <a:srgbClr val="FFFFCC"/>
    <a:srgbClr val="FF6600"/>
    <a:srgbClr val="53D2FF"/>
    <a:srgbClr val="1C547D"/>
    <a:srgbClr val="3486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0809" autoAdjust="0"/>
    <p:restoredTop sz="97765" autoAdjust="0"/>
  </p:normalViewPr>
  <p:slideViewPr>
    <p:cSldViewPr>
      <p:cViewPr varScale="1">
        <p:scale>
          <a:sx n="87" d="100"/>
          <a:sy n="87" d="100"/>
        </p:scale>
        <p:origin x="-426" y="-78"/>
      </p:cViewPr>
      <p:guideLst>
        <p:guide orient="horz" pos="2127"/>
        <p:guide pos="38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2563"/>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3" Type="http://schemas.openxmlformats.org/officeDocument/2006/relationships/font" Target="fonts/font8.fntdata"/><Relationship Id="rId42" Type="http://schemas.openxmlformats.org/officeDocument/2006/relationships/font" Target="fonts/font7.fntdata"/><Relationship Id="rId41" Type="http://schemas.openxmlformats.org/officeDocument/2006/relationships/font" Target="fonts/font6.fntdata"/><Relationship Id="rId40" Type="http://schemas.openxmlformats.org/officeDocument/2006/relationships/font" Target="fonts/font5.fntdata"/><Relationship Id="rId4" Type="http://schemas.openxmlformats.org/officeDocument/2006/relationships/notesMaster" Target="notesMasters/notesMaster1.xml"/><Relationship Id="rId39" Type="http://schemas.openxmlformats.org/officeDocument/2006/relationships/font" Target="fonts/font4.fntdata"/><Relationship Id="rId38" Type="http://schemas.openxmlformats.org/officeDocument/2006/relationships/font" Target="fonts/font3.fntdata"/><Relationship Id="rId37" Type="http://schemas.openxmlformats.org/officeDocument/2006/relationships/font" Target="fonts/font2.fntdata"/><Relationship Id="rId36" Type="http://schemas.openxmlformats.org/officeDocument/2006/relationships/font" Target="fonts/font1.fntdata"/><Relationship Id="rId35" Type="http://schemas.openxmlformats.org/officeDocument/2006/relationships/tableStyles" Target="tableStyles.xml"/><Relationship Id="rId34" Type="http://schemas.openxmlformats.org/officeDocument/2006/relationships/viewProps" Target="viewProps.xml"/><Relationship Id="rId33" Type="http://schemas.openxmlformats.org/officeDocument/2006/relationships/presProps" Target="presProps.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470E5BC-B417-466E-A76A-1359E7C5B0BB}"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E0E0E2-7263-44C4-AAA9-733DBA7BD205}"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E0E0E2-7263-44C4-AAA9-733DBA7BD205}"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5" Type="http://schemas.openxmlformats.org/officeDocument/2006/relationships/image" Target="../media/image4.png"/><Relationship Id="rId4" Type="http://schemas.openxmlformats.org/officeDocument/2006/relationships/image" Target="../media/image3.png"/><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7" name="图片 6" descr="gic13483260"/>
          <p:cNvPicPr>
            <a:picLocks noChangeAspect="1"/>
          </p:cNvPicPr>
          <p:nvPr userDrawn="1"/>
        </p:nvPicPr>
        <p:blipFill>
          <a:blip r:embed="rId2"/>
          <a:stretch>
            <a:fillRect/>
          </a:stretch>
        </p:blipFill>
        <p:spPr>
          <a:xfrm>
            <a:off x="0" y="0"/>
            <a:ext cx="12212955" cy="6858000"/>
          </a:xfrm>
          <a:prstGeom prst="rect">
            <a:avLst/>
          </a:prstGeom>
        </p:spPr>
      </p:pic>
      <p:sp>
        <p:nvSpPr>
          <p:cNvPr id="9" name="矩形 8"/>
          <p:cNvSpPr/>
          <p:nvPr userDrawn="1"/>
        </p:nvSpPr>
        <p:spPr>
          <a:xfrm>
            <a:off x="-20637" y="0"/>
            <a:ext cx="12211050" cy="6858000"/>
          </a:xfrm>
          <a:prstGeom prst="rect">
            <a:avLst/>
          </a:prstGeom>
          <a:solidFill>
            <a:schemeClr val="bg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Picture 5" descr="E:\L梁志伟\集团简介ai\Hitachi Inspire the Nex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09982" y="357166"/>
            <a:ext cx="1996755" cy="57150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E:\L梁志伟\集团简介ai\logo(公司中英文全名）透明底.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80760" y="6215082"/>
            <a:ext cx="2199251" cy="42293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直接连接符 7"/>
          <p:cNvCxnSpPr/>
          <p:nvPr userDrawn="1"/>
        </p:nvCxnSpPr>
        <p:spPr>
          <a:xfrm>
            <a:off x="1165984" y="642918"/>
            <a:ext cx="8501122" cy="1588"/>
          </a:xfrm>
          <a:prstGeom prst="line">
            <a:avLst/>
          </a:prstGeom>
          <a:ln w="25400" cmpd="sng"/>
        </p:spPr>
        <p:style>
          <a:lnRef idx="1">
            <a:schemeClr val="accent1"/>
          </a:lnRef>
          <a:fillRef idx="0">
            <a:schemeClr val="accent1"/>
          </a:fillRef>
          <a:effectRef idx="0">
            <a:schemeClr val="accent1"/>
          </a:effectRef>
          <a:fontRef idx="minor">
            <a:schemeClr val="tx1"/>
          </a:fontRef>
        </p:style>
      </p:cxnSp>
      <p:pic>
        <p:nvPicPr>
          <p:cNvPr id="11" name="图片 10" descr="people"/>
          <p:cNvPicPr>
            <a:picLocks noChangeAspect="1"/>
          </p:cNvPicPr>
          <p:nvPr userDrawn="1"/>
        </p:nvPicPr>
        <p:blipFill>
          <a:blip r:embed="rId5" cstate="print"/>
          <a:stretch>
            <a:fillRect/>
          </a:stretch>
        </p:blipFill>
        <p:spPr>
          <a:xfrm>
            <a:off x="-405652" y="-142900"/>
            <a:ext cx="2128902" cy="1571636"/>
          </a:xfrm>
          <a:prstGeom prst="rect">
            <a:avLst/>
          </a:prstGeom>
        </p:spPr>
      </p:pic>
    </p:spTree>
  </p:cSld>
  <p:clrMapOvr>
    <a:masterClrMapping/>
  </p:clrMapOvr>
  <p:transition spd="slow">
    <p:push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pic>
        <p:nvPicPr>
          <p:cNvPr id="4" name="图片 3" descr="gic13483260"/>
          <p:cNvPicPr>
            <a:picLocks noChangeAspect="1"/>
          </p:cNvPicPr>
          <p:nvPr userDrawn="1"/>
        </p:nvPicPr>
        <p:blipFill>
          <a:blip r:embed="rId2"/>
          <a:stretch>
            <a:fillRect/>
          </a:stretch>
        </p:blipFill>
        <p:spPr>
          <a:xfrm>
            <a:off x="0" y="1"/>
            <a:ext cx="12212955" cy="6857999"/>
          </a:xfrm>
          <a:prstGeom prst="rect">
            <a:avLst/>
          </a:prstGeom>
        </p:spPr>
      </p:pic>
      <p:pic>
        <p:nvPicPr>
          <p:cNvPr id="7" name="Picture 4" descr="E:\L梁志伟\集团简介ai\logo(公司中英文全名）透明底.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880760" y="6215082"/>
            <a:ext cx="2199251" cy="42293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slow">
    <p:push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transition spd="slow">
    <p:push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transition spd="slow">
    <p:push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transition spd="slow">
    <p:push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transition spd="slow">
    <p:push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transition spd="slow">
    <p:push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transition spd="slow">
    <p:push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transition spd="slow">
    <p:push dir="r"/>
  </p:transition>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609520"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ransition spd="slow">
    <p:push dir="r"/>
  </p:transition>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7" Type="http://schemas.openxmlformats.org/officeDocument/2006/relationships/notesSlide" Target="../notesSlides/notesSlide10.xml"/><Relationship Id="rId6" Type="http://schemas.openxmlformats.org/officeDocument/2006/relationships/slideLayout" Target="../slideLayouts/slideLayout1.xml"/><Relationship Id="rId5" Type="http://schemas.openxmlformats.org/officeDocument/2006/relationships/tags" Target="../tags/tag8.xml"/><Relationship Id="rId4" Type="http://schemas.openxmlformats.org/officeDocument/2006/relationships/image" Target="../media/image28.jpeg"/><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image" Target="../media/image25.png"/></Relationships>
</file>

<file path=ppt/slides/_rels/slide11.xml.rels><?xml version="1.0" encoding="UTF-8" standalone="yes"?>
<Relationships xmlns="http://schemas.openxmlformats.org/package/2006/relationships"><Relationship Id="rId7" Type="http://schemas.openxmlformats.org/officeDocument/2006/relationships/notesSlide" Target="../notesSlides/notesSlide11.xml"/><Relationship Id="rId6" Type="http://schemas.openxmlformats.org/officeDocument/2006/relationships/slideLayout" Target="../slideLayouts/slideLayout1.xml"/><Relationship Id="rId5" Type="http://schemas.openxmlformats.org/officeDocument/2006/relationships/tags" Target="../tags/tag9.xml"/><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image" Target="../media/image29.jpeg"/></Relationships>
</file>

<file path=ppt/slides/_rels/slide12.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1.xml"/><Relationship Id="rId2" Type="http://schemas.openxmlformats.org/officeDocument/2006/relationships/image" Target="../media/image33.jpeg"/><Relationship Id="rId1" Type="http://schemas.openxmlformats.org/officeDocument/2006/relationships/hyperlink" Target="&#35270;&#39057;/&#26085;&#31435;&#30005;&#26799;&#24418;&#35937;&#29255;201605&#65288;&#36890;&#29992;&#29256;&#65289;.mp4" TargetMode="External"/></Relationships>
</file>

<file path=ppt/slides/_rels/slide13.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1.xml"/><Relationship Id="rId2" Type="http://schemas.openxmlformats.org/officeDocument/2006/relationships/image" Target="../media/image33.jpeg"/><Relationship Id="rId1" Type="http://schemas.openxmlformats.org/officeDocument/2006/relationships/hyperlink" Target="&#35270;&#39057;/&#26085;&#31435;&#30005;&#26799;&#20154;&#25165;&#35270;&#39057;201609&#65288;&#26368;&#32456;&#29256;&#65289;.mp4" TargetMode="Externa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10.xml"/></Relationships>
</file>

<file path=ppt/slides/_rels/slide15.xml.rels><?xml version="1.0" encoding="UTF-8" standalone="yes"?>
<Relationships xmlns="http://schemas.openxmlformats.org/package/2006/relationships"><Relationship Id="rId6" Type="http://schemas.openxmlformats.org/officeDocument/2006/relationships/notesSlide" Target="../notesSlides/notesSlide15.xml"/><Relationship Id="rId5" Type="http://schemas.openxmlformats.org/officeDocument/2006/relationships/slideLayout" Target="../slideLayouts/slideLayout1.xml"/><Relationship Id="rId4" Type="http://schemas.openxmlformats.org/officeDocument/2006/relationships/tags" Target="../tags/tag14.xml"/><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16.xml"/></Relationships>
</file>

<file path=ppt/slides/_rels/slide21.xml.rels><?xml version="1.0" encoding="UTF-8" standalone="yes"?>
<Relationships xmlns="http://schemas.openxmlformats.org/package/2006/relationships"><Relationship Id="rId9" Type="http://schemas.openxmlformats.org/officeDocument/2006/relationships/image" Target="../media/image41.jpeg"/><Relationship Id="rId8" Type="http://schemas.openxmlformats.org/officeDocument/2006/relationships/image" Target="../media/image40.jpeg"/><Relationship Id="rId7" Type="http://schemas.openxmlformats.org/officeDocument/2006/relationships/image" Target="../media/image39.jpeg"/><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 Id="rId3" Type="http://schemas.openxmlformats.org/officeDocument/2006/relationships/image" Target="../media/image35.jpeg"/><Relationship Id="rId2" Type="http://schemas.openxmlformats.org/officeDocument/2006/relationships/image" Target="../media/image34.jpeg"/><Relationship Id="rId13" Type="http://schemas.openxmlformats.org/officeDocument/2006/relationships/notesSlide" Target="../notesSlides/notesSlide21.xml"/><Relationship Id="rId12" Type="http://schemas.openxmlformats.org/officeDocument/2006/relationships/slideLayout" Target="../slideLayouts/slideLayout1.xml"/><Relationship Id="rId11" Type="http://schemas.openxmlformats.org/officeDocument/2006/relationships/tags" Target="../tags/tag17.xml"/><Relationship Id="rId10" Type="http://schemas.openxmlformats.org/officeDocument/2006/relationships/image" Target="../media/image42.jpeg"/><Relationship Id="rId1" Type="http://schemas.openxmlformats.org/officeDocument/2006/relationships/image" Target="../media/image2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image" Target="../media/image4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6" Type="http://schemas.openxmlformats.org/officeDocument/2006/relationships/notesSlide" Target="../notesSlides/notesSlide28.xml"/><Relationship Id="rId5" Type="http://schemas.openxmlformats.org/officeDocument/2006/relationships/slideLayout" Target="../slideLayouts/slideLayout1.xml"/><Relationship Id="rId4" Type="http://schemas.openxmlformats.org/officeDocument/2006/relationships/image" Target="../media/image46.jpeg"/><Relationship Id="rId3" Type="http://schemas.openxmlformats.org/officeDocument/2006/relationships/hyperlink" Target="http://campus.51job.com/hitachi-sdzp" TargetMode="External"/><Relationship Id="rId2" Type="http://schemas.openxmlformats.org/officeDocument/2006/relationships/image" Target="../media/image45.png"/><Relationship Id="rId1" Type="http://schemas.openxmlformats.org/officeDocument/2006/relationships/image" Target="../media/image44.png"/></Relationships>
</file>

<file path=ppt/slides/_rels/slide29.xml.rels><?xml version="1.0" encoding="UTF-8" standalone="yes"?>
<Relationships xmlns="http://schemas.openxmlformats.org/package/2006/relationships"><Relationship Id="rId6" Type="http://schemas.openxmlformats.org/officeDocument/2006/relationships/notesSlide" Target="../notesSlides/notesSlide29.xml"/><Relationship Id="rId5" Type="http://schemas.openxmlformats.org/officeDocument/2006/relationships/slideLayout" Target="../slideLayouts/slideLayout2.xml"/><Relationship Id="rId4" Type="http://schemas.openxmlformats.org/officeDocument/2006/relationships/image" Target="../media/image2.png"/><Relationship Id="rId3" Type="http://schemas.openxmlformats.org/officeDocument/2006/relationships/image" Target="../media/image47.png"/><Relationship Id="rId2" Type="http://schemas.microsoft.com/office/2007/relationships/media" Target="../media/audio1.wav"/><Relationship Id="rId1" Type="http://schemas.openxmlformats.org/officeDocument/2006/relationships/audio" Target="../media/audio1.wav"/></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9" Type="http://schemas.openxmlformats.org/officeDocument/2006/relationships/notesSlide" Target="../notesSlides/notesSlide5.xml"/><Relationship Id="rId8" Type="http://schemas.openxmlformats.org/officeDocument/2006/relationships/slideLayout" Target="../slideLayouts/slideLayout1.xml"/><Relationship Id="rId7"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image" Target="../media/image5.jpeg"/></Relationships>
</file>

<file path=ppt/slides/_rels/slide6.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tags" Target="../tags/tag4.xml"/><Relationship Id="rId7" Type="http://schemas.openxmlformats.org/officeDocument/2006/relationships/image" Target="../media/image17.png"/><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3" Type="http://schemas.openxmlformats.org/officeDocument/2006/relationships/image" Target="../media/image13.png"/><Relationship Id="rId2" Type="http://schemas.openxmlformats.org/officeDocument/2006/relationships/image" Target="../media/image12.png"/><Relationship Id="rId10" Type="http://schemas.openxmlformats.org/officeDocument/2006/relationships/notesSlide" Target="../notesSlides/notesSlide6.xml"/><Relationship Id="rId1"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tags" Target="../tags/tag7.xml"/><Relationship Id="rId7" Type="http://schemas.openxmlformats.org/officeDocument/2006/relationships/image" Target="../media/image24.jpeg"/><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 Id="rId3" Type="http://schemas.openxmlformats.org/officeDocument/2006/relationships/image" Target="../media/image20.jpeg"/><Relationship Id="rId2" Type="http://schemas.openxmlformats.org/officeDocument/2006/relationships/image" Target="../media/image19.jpeg"/><Relationship Id="rId10" Type="http://schemas.openxmlformats.org/officeDocument/2006/relationships/notesSlide" Target="../notesSlides/notesSlide9.xml"/><Relationship Id="rId1"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952066" y="2214554"/>
            <a:ext cx="3857652" cy="2308324"/>
          </a:xfrm>
          <a:prstGeom prst="rect">
            <a:avLst/>
          </a:prstGeom>
          <a:noFill/>
        </p:spPr>
        <p:txBody>
          <a:bodyPr wrap="square" rtlCol="0" anchor="ctr">
            <a:spAutoFit/>
          </a:bodyPr>
          <a:lstStyle/>
          <a:p>
            <a:pPr algn="ctr"/>
            <a:r>
              <a:rPr lang="en-US" altLang="zh-CN" sz="7200" dirty="0" smtClean="0">
                <a:latin typeface="微软雅黑" panose="020B0503020204020204" pitchFamily="34" charset="-122"/>
                <a:ea typeface="微软雅黑" panose="020B0503020204020204" pitchFamily="34" charset="-122"/>
              </a:rPr>
              <a:t>HITACHI</a:t>
            </a:r>
            <a:endParaRPr lang="en-US" altLang="zh-CN" sz="7200" dirty="0" smtClean="0">
              <a:latin typeface="微软雅黑" panose="020B0503020204020204" pitchFamily="34" charset="-122"/>
              <a:ea typeface="微软雅黑" panose="020B0503020204020204" pitchFamily="34" charset="-122"/>
            </a:endParaRPr>
          </a:p>
          <a:p>
            <a:pPr algn="ctr"/>
            <a:r>
              <a:rPr lang="en-US" altLang="zh-CN" sz="3600" dirty="0" smtClean="0">
                <a:latin typeface="微软雅黑" panose="020B0503020204020204" pitchFamily="34" charset="-122"/>
                <a:ea typeface="微软雅黑" panose="020B0503020204020204" pitchFamily="34" charset="-122"/>
              </a:rPr>
              <a:t>Inspire the </a:t>
            </a:r>
            <a:r>
              <a:rPr lang="en-US" altLang="zh-CN" sz="3600" dirty="0" err="1" smtClean="0">
                <a:latin typeface="微软雅黑" panose="020B0503020204020204" pitchFamily="34" charset="-122"/>
                <a:ea typeface="微软雅黑" panose="020B0503020204020204" pitchFamily="34" charset="-122"/>
              </a:rPr>
              <a:t>Nex</a:t>
            </a:r>
            <a:r>
              <a:rPr lang="en-US" altLang="zh-CN" sz="2800" b="1" dirty="0" err="1" smtClean="0">
                <a:latin typeface="微软雅黑" panose="020B0503020204020204" pitchFamily="34" charset="-122"/>
                <a:ea typeface="微软雅黑" panose="020B0503020204020204" pitchFamily="34" charset="-122"/>
              </a:rPr>
              <a:t>'</a:t>
            </a:r>
            <a:r>
              <a:rPr lang="en-US" altLang="zh-CN" sz="3600" dirty="0" err="1" smtClean="0">
                <a:latin typeface="微软雅黑" panose="020B0503020204020204" pitchFamily="34" charset="-122"/>
                <a:ea typeface="微软雅黑" panose="020B0503020204020204" pitchFamily="34" charset="-122"/>
              </a:rPr>
              <a:t>t</a:t>
            </a:r>
            <a:endParaRPr lang="en-US" altLang="zh-CN" sz="3600" dirty="0" smtClean="0">
              <a:latin typeface="微软雅黑" panose="020B0503020204020204" pitchFamily="34" charset="-122"/>
              <a:ea typeface="微软雅黑" panose="020B0503020204020204" pitchFamily="34" charset="-122"/>
            </a:endParaRPr>
          </a:p>
          <a:p>
            <a:endParaRPr lang="en-US" altLang="zh-CN" sz="3600" dirty="0" smtClean="0">
              <a:solidFill>
                <a:schemeClr val="bg1"/>
              </a:solidFill>
              <a:latin typeface="微软雅黑" panose="020B0503020204020204" pitchFamily="34" charset="-122"/>
              <a:ea typeface="微软雅黑" panose="020B0503020204020204" pitchFamily="34" charset="-122"/>
            </a:endParaRPr>
          </a:p>
        </p:txBody>
      </p:sp>
      <p:sp>
        <p:nvSpPr>
          <p:cNvPr id="4" name="文本框 17"/>
          <p:cNvSpPr txBox="1"/>
          <p:nvPr/>
        </p:nvSpPr>
        <p:spPr>
          <a:xfrm>
            <a:off x="3594876" y="1428736"/>
            <a:ext cx="4798707" cy="830997"/>
          </a:xfrm>
          <a:prstGeom prst="rect">
            <a:avLst/>
          </a:prstGeom>
          <a:noFill/>
        </p:spPr>
        <p:txBody>
          <a:bodyPr wrap="square" rtlCol="0">
            <a:spAutoFit/>
          </a:bodyPr>
          <a:lstStyle/>
          <a:p>
            <a:pPr algn="ctr"/>
            <a:r>
              <a:rPr lang="zh-CN" altLang="en-US" sz="4800" b="1" dirty="0">
                <a:solidFill>
                  <a:srgbClr val="C00000"/>
                </a:solidFill>
                <a:effectLst>
                  <a:outerShdw blurRad="266700" algn="tl" rotWithShape="0">
                    <a:srgbClr val="53D2FF">
                      <a:alpha val="55000"/>
                    </a:srgbClr>
                  </a:outerShdw>
                </a:effectLst>
                <a:latin typeface="微软雅黑" panose="020B0503020204020204" pitchFamily="34" charset="-122"/>
                <a:ea typeface="微软雅黑" panose="020B0503020204020204" pitchFamily="34" charset="-122"/>
              </a:rPr>
              <a:t>无所畏，有所为</a:t>
            </a:r>
            <a:endParaRPr lang="zh-CN" altLang="en-US" sz="4800" b="1" dirty="0">
              <a:solidFill>
                <a:srgbClr val="C00000"/>
              </a:solidFill>
              <a:effectLst>
                <a:outerShdw blurRad="266700" algn="tl" rotWithShape="0">
                  <a:srgbClr val="53D2FF">
                    <a:alpha val="55000"/>
                  </a:srgbClr>
                </a:outerShdw>
              </a:effectLst>
              <a:latin typeface="微软雅黑" panose="020B0503020204020204" pitchFamily="34" charset="-122"/>
              <a:ea typeface="微软雅黑" panose="020B0503020204020204" pitchFamily="34" charset="-122"/>
            </a:endParaRPr>
          </a:p>
        </p:txBody>
      </p:sp>
      <p:sp>
        <p:nvSpPr>
          <p:cNvPr id="6" name="TextBox 5"/>
          <p:cNvSpPr txBox="1"/>
          <p:nvPr/>
        </p:nvSpPr>
        <p:spPr>
          <a:xfrm>
            <a:off x="2023240" y="3500438"/>
            <a:ext cx="8911414" cy="769441"/>
          </a:xfrm>
          <a:prstGeom prst="rect">
            <a:avLst/>
          </a:prstGeom>
          <a:noFill/>
          <a:effectLst/>
        </p:spPr>
        <p:txBody>
          <a:bodyPr wrap="none" rtlCol="0">
            <a:spAutoFit/>
          </a:bodyPr>
          <a:lstStyle/>
          <a:p>
            <a:r>
              <a:rPr lang="zh-CN" altLang="en-US" sz="4400" b="1" dirty="0" smtClean="0">
                <a:solidFill>
                  <a:srgbClr val="C00000"/>
                </a:solidFill>
                <a:effectLst>
                  <a:outerShdw blurRad="266700" algn="tl" rotWithShape="0">
                    <a:srgbClr val="53D2FF">
                      <a:alpha val="55000"/>
                    </a:srgbClr>
                  </a:outerShdw>
                </a:effectLst>
                <a:latin typeface="微软雅黑" panose="020B0503020204020204" pitchFamily="34" charset="-122"/>
                <a:ea typeface="微软雅黑" panose="020B0503020204020204" pitchFamily="34" charset="-122"/>
              </a:rPr>
              <a:t>日立电梯山东分公司</a:t>
            </a:r>
            <a:r>
              <a:rPr lang="en-US" altLang="zh-CN" sz="4400" b="1" dirty="0" smtClean="0">
                <a:solidFill>
                  <a:srgbClr val="C00000"/>
                </a:solidFill>
                <a:effectLst>
                  <a:outerShdw blurRad="266700" algn="tl" rotWithShape="0">
                    <a:srgbClr val="53D2FF">
                      <a:alpha val="55000"/>
                    </a:srgbClr>
                  </a:outerShdw>
                </a:effectLst>
                <a:latin typeface="微软雅黑" panose="020B0503020204020204" pitchFamily="34" charset="-122"/>
                <a:ea typeface="微软雅黑" panose="020B0503020204020204" pitchFamily="34" charset="-122"/>
              </a:rPr>
              <a:t>2018</a:t>
            </a:r>
            <a:r>
              <a:rPr lang="zh-CN" altLang="en-US" sz="4400" b="1" dirty="0" smtClean="0">
                <a:solidFill>
                  <a:srgbClr val="C00000"/>
                </a:solidFill>
                <a:effectLst>
                  <a:outerShdw blurRad="266700" algn="tl" rotWithShape="0">
                    <a:srgbClr val="53D2FF">
                      <a:alpha val="55000"/>
                    </a:srgbClr>
                  </a:outerShdw>
                </a:effectLst>
                <a:latin typeface="微软雅黑" panose="020B0503020204020204" pitchFamily="34" charset="-122"/>
                <a:ea typeface="微软雅黑" panose="020B0503020204020204" pitchFamily="34" charset="-122"/>
              </a:rPr>
              <a:t>精英招募</a:t>
            </a:r>
            <a:endParaRPr lang="zh-CN" altLang="en-US" sz="4400" b="1" dirty="0" smtClean="0">
              <a:solidFill>
                <a:srgbClr val="C00000"/>
              </a:solidFill>
              <a:effectLst>
                <a:outerShdw blurRad="266700" algn="tl" rotWithShape="0">
                  <a:srgbClr val="53D2FF">
                    <a:alpha val="55000"/>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10" advClick="0" advTm="11351"/>
    </mc:Choice>
    <mc:Fallback>
      <p:transition advClick="0" advTm="1135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52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 calcmode="lin" valueType="num">
                                      <p:cBhvr>
                                        <p:cTn id="9" dur="500" fill="hold"/>
                                        <p:tgtEl>
                                          <p:spTgt spid="5"/>
                                        </p:tgtEl>
                                        <p:attrNameLst>
                                          <p:attrName>ppt_x</p:attrName>
                                        </p:attrNameLst>
                                      </p:cBhvr>
                                      <p:tavLst>
                                        <p:tav tm="0">
                                          <p:val>
                                            <p:fltVal val="0.5"/>
                                          </p:val>
                                        </p:tav>
                                        <p:tav tm="100000">
                                          <p:val>
                                            <p:strVal val="#ppt_x"/>
                                          </p:val>
                                        </p:tav>
                                      </p:tavLst>
                                    </p:anim>
                                    <p:anim calcmode="lin" valueType="num">
                                      <p:cBhvr>
                                        <p:cTn id="10" dur="500" fill="hold"/>
                                        <p:tgtEl>
                                          <p:spTgt spid="5"/>
                                        </p:tgtEl>
                                        <p:attrNameLst>
                                          <p:attrName>ppt_y</p:attrName>
                                        </p:attrNameLst>
                                      </p:cBhvr>
                                      <p:tavLst>
                                        <p:tav tm="0">
                                          <p:val>
                                            <p:fltVal val="0.5"/>
                                          </p:val>
                                        </p:tav>
                                        <p:tav tm="100000">
                                          <p:val>
                                            <p:strVal val="#ppt_y"/>
                                          </p:val>
                                        </p:tav>
                                      </p:tavLst>
                                    </p:anim>
                                  </p:childTnLst>
                                </p:cTn>
                              </p:par>
                            </p:childTnLst>
                          </p:cTn>
                        </p:par>
                        <p:par>
                          <p:cTn id="11" fill="hold">
                            <p:stCondLst>
                              <p:cond delay="500"/>
                            </p:stCondLst>
                            <p:childTnLst>
                              <p:par>
                                <p:cTn id="12" presetID="10" presetClass="exit" presetSubtype="0" fill="hold" grpId="1" nodeType="afterEffect">
                                  <p:stCondLst>
                                    <p:cond delay="0"/>
                                  </p:stCondLst>
                                  <p:childTnLst>
                                    <p:animEffect transition="out" filter="fade">
                                      <p:cBhvr>
                                        <p:cTn id="13" dur="2000"/>
                                        <p:tgtEl>
                                          <p:spTgt spid="5"/>
                                        </p:tgtEl>
                                      </p:cBhvr>
                                    </p:animEffect>
                                    <p:set>
                                      <p:cBhvr>
                                        <p:cTn id="14" dur="1" fill="hold">
                                          <p:stCondLst>
                                            <p:cond delay="1999"/>
                                          </p:stCondLst>
                                        </p:cTn>
                                        <p:tgtEl>
                                          <p:spTgt spid="5"/>
                                        </p:tgtEl>
                                        <p:attrNameLst>
                                          <p:attrName>style.visibility</p:attrName>
                                        </p:attrNameLst>
                                      </p:cBhvr>
                                      <p:to>
                                        <p:strVal val="hidden"/>
                                      </p:to>
                                    </p:set>
                                  </p:childTnLst>
                                </p:cTn>
                              </p:par>
                            </p:childTnLst>
                          </p:cTn>
                        </p:par>
                        <p:par>
                          <p:cTn id="15" fill="hold">
                            <p:stCondLst>
                              <p:cond delay="2500"/>
                            </p:stCondLst>
                            <p:childTnLst>
                              <p:par>
                                <p:cTn id="16" presetID="10" presetClass="entr" presetSubtype="0" fill="hold" nodeType="afterEffect">
                                  <p:stCondLst>
                                    <p:cond delay="0"/>
                                  </p:stCondLst>
                                  <p:iterate type="lt">
                                    <p:tmPct val="70000"/>
                                  </p:iterate>
                                  <p:childTnLst>
                                    <p:set>
                                      <p:cBhvr>
                                        <p:cTn id="17" dur="1" fill="hold">
                                          <p:stCondLst>
                                            <p:cond delay="0"/>
                                          </p:stCondLst>
                                        </p:cTn>
                                        <p:tgtEl>
                                          <p:spTgt spid="4"/>
                                        </p:tgtEl>
                                        <p:attrNameLst>
                                          <p:attrName>style.visibility</p:attrName>
                                        </p:attrNameLst>
                                      </p:cBhvr>
                                      <p:to>
                                        <p:strVal val="visible"/>
                                      </p:to>
                                    </p:set>
                                    <p:animEffect transition="in" filter="fade">
                                      <p:cBhvr>
                                        <p:cTn id="18" dur="100"/>
                                        <p:tgtEl>
                                          <p:spTgt spid="4"/>
                                        </p:tgtEl>
                                      </p:cBhvr>
                                    </p:animEffect>
                                  </p:childTnLst>
                                </p:cTn>
                              </p:par>
                            </p:childTnLst>
                          </p:cTn>
                        </p:par>
                        <p:par>
                          <p:cTn id="19" fill="hold">
                            <p:stCondLst>
                              <p:cond delay="2099"/>
                            </p:stCondLst>
                            <p:childTnLst>
                              <p:par>
                                <p:cTn id="20" presetID="10" presetClass="entr" presetSubtype="0" fill="hold" nodeType="afterEffect">
                                  <p:stCondLst>
                                    <p:cond delay="0"/>
                                  </p:stCondLst>
                                  <p:iterate type="lt">
                                    <p:tmPct val="50000"/>
                                  </p:iterate>
                                  <p:childTnLst>
                                    <p:set>
                                      <p:cBhvr>
                                        <p:cTn id="21" dur="1" fill="hold">
                                          <p:stCondLst>
                                            <p:cond delay="0"/>
                                          </p:stCondLst>
                                        </p:cTn>
                                        <p:tgtEl>
                                          <p:spTgt spid="6"/>
                                        </p:tgtEl>
                                        <p:attrNameLst>
                                          <p:attrName>style.visibility</p:attrName>
                                        </p:attrNameLst>
                                      </p:cBhvr>
                                      <p:to>
                                        <p:strVal val="visible"/>
                                      </p:to>
                                    </p:set>
                                    <p:animEffect transition="in" filter="fade">
                                      <p:cBhvr>
                                        <p:cTn id="22" dur="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pic>
        <p:nvPicPr>
          <p:cNvPr id="32" name="Picture 8" descr="C:\Users\Nir\Desktop\未标题-1.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1381618" y="5857892"/>
            <a:ext cx="461313" cy="488015"/>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组合 46"/>
          <p:cNvGrpSpPr/>
          <p:nvPr/>
        </p:nvGrpSpPr>
        <p:grpSpPr>
          <a:xfrm>
            <a:off x="1023108" y="1571612"/>
            <a:ext cx="7632418" cy="4456763"/>
            <a:chOff x="1023108" y="1571612"/>
            <a:chExt cx="7632418" cy="4456763"/>
          </a:xfrm>
        </p:grpSpPr>
        <p:grpSp>
          <p:nvGrpSpPr>
            <p:cNvPr id="43" name="组合 42"/>
            <p:cNvGrpSpPr/>
            <p:nvPr/>
          </p:nvGrpSpPr>
          <p:grpSpPr>
            <a:xfrm>
              <a:off x="1023108" y="3786190"/>
              <a:ext cx="2560320" cy="2242185"/>
              <a:chOff x="665918" y="2857496"/>
              <a:chExt cx="2560320" cy="2242185"/>
            </a:xfrm>
          </p:grpSpPr>
          <p:sp>
            <p:nvSpPr>
              <p:cNvPr id="27" name="AutoShape 24"/>
              <p:cNvSpPr>
                <a:spLocks noChangeArrowheads="1"/>
              </p:cNvSpPr>
              <p:nvPr/>
            </p:nvSpPr>
            <p:spPr bwMode="auto">
              <a:xfrm>
                <a:off x="665918" y="2857496"/>
                <a:ext cx="2560320" cy="2242185"/>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1" fmla="*/ 0 w 10000"/>
                  <a:gd name="connsiteY0-2" fmla="*/ 2000 h 10000"/>
                  <a:gd name="connsiteX1-3" fmla="*/ 974 w 10000"/>
                  <a:gd name="connsiteY1-4" fmla="*/ 0 h 10000"/>
                  <a:gd name="connsiteX2-5" fmla="*/ 10000 w 10000"/>
                  <a:gd name="connsiteY2-6" fmla="*/ 0 h 10000"/>
                  <a:gd name="connsiteX3-7" fmla="*/ 10000 w 10000"/>
                  <a:gd name="connsiteY3-8" fmla="*/ 10000 h 10000"/>
                  <a:gd name="connsiteX4-9" fmla="*/ 0 w 10000"/>
                  <a:gd name="connsiteY4-10" fmla="*/ 10000 h 10000"/>
                  <a:gd name="connsiteX5-11" fmla="*/ 0 w 10000"/>
                  <a:gd name="connsiteY5-12" fmla="*/ 2000 h 10000"/>
                  <a:gd name="connsiteX0-13" fmla="*/ 0 w 10000"/>
                  <a:gd name="connsiteY0-14" fmla="*/ 960 h 10000"/>
                  <a:gd name="connsiteX1-15" fmla="*/ 974 w 10000"/>
                  <a:gd name="connsiteY1-16" fmla="*/ 0 h 10000"/>
                  <a:gd name="connsiteX2-17" fmla="*/ 10000 w 10000"/>
                  <a:gd name="connsiteY2-18" fmla="*/ 0 h 10000"/>
                  <a:gd name="connsiteX3-19" fmla="*/ 10000 w 10000"/>
                  <a:gd name="connsiteY3-20" fmla="*/ 10000 h 10000"/>
                  <a:gd name="connsiteX4-21" fmla="*/ 0 w 10000"/>
                  <a:gd name="connsiteY4-22" fmla="*/ 10000 h 10000"/>
                  <a:gd name="connsiteX5-23" fmla="*/ 0 w 10000"/>
                  <a:gd name="connsiteY5-24" fmla="*/ 96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0000" h="10000">
                    <a:moveTo>
                      <a:pt x="0" y="960"/>
                    </a:moveTo>
                    <a:lnTo>
                      <a:pt x="974" y="0"/>
                    </a:lnTo>
                    <a:lnTo>
                      <a:pt x="10000" y="0"/>
                    </a:lnTo>
                    <a:lnTo>
                      <a:pt x="10000" y="10000"/>
                    </a:lnTo>
                    <a:lnTo>
                      <a:pt x="0" y="10000"/>
                    </a:lnTo>
                    <a:lnTo>
                      <a:pt x="0" y="960"/>
                    </a:lnTo>
                    <a:close/>
                  </a:path>
                </a:pathLst>
              </a:custGeom>
              <a:solidFill>
                <a:schemeClr val="accent5">
                  <a:lumMod val="40000"/>
                  <a:lumOff val="60000"/>
                  <a:alpha val="60000"/>
                </a:schemeClr>
              </a:solidFill>
              <a:ln>
                <a:noFill/>
              </a:ln>
              <a:effectLst>
                <a:outerShdw blurRad="254000" algn="ctr" rotWithShape="0">
                  <a:srgbClr val="53D2FF">
                    <a:alpha val="80000"/>
                  </a:srgbClr>
                </a:outerShdw>
              </a:effectLst>
            </p:spPr>
            <p:txBody>
              <a:bodyPr wrap="none" tIns="0" bIns="684000" anchor="ctr"/>
              <a:lstStyle/>
              <a:p>
                <a:pPr lvl="0" algn="ctr"/>
                <a:endParaRPr lang="zh-CN" altLang="en-US">
                  <a:solidFill>
                    <a:prstClr val="white"/>
                  </a:solidFill>
                  <a:latin typeface="Pirulen" panose="02000807050000020004" pitchFamily="2" charset="0"/>
                </a:endParaRPr>
              </a:p>
            </p:txBody>
          </p:sp>
          <p:sp>
            <p:nvSpPr>
              <p:cNvPr id="28" name="TextBox 27"/>
              <p:cNvSpPr txBox="1"/>
              <p:nvPr/>
            </p:nvSpPr>
            <p:spPr>
              <a:xfrm>
                <a:off x="880232" y="3286124"/>
                <a:ext cx="2072005" cy="929640"/>
              </a:xfrm>
              <a:prstGeom prst="rect">
                <a:avLst/>
              </a:prstGeom>
              <a:noFill/>
            </p:spPr>
            <p:txBody>
              <a:bodyPr wrap="square" lIns="0" rIns="0" rtlCol="0">
                <a:spAutoFit/>
              </a:bodyPr>
              <a:lstStyle/>
              <a:p>
                <a:pPr>
                  <a:lnSpc>
                    <a:spcPct val="130000"/>
                  </a:lnSpc>
                </a:pPr>
                <a:r>
                  <a:rPr lang="en-US" altLang="zh-CN" sz="1400" dirty="0" smtClean="0">
                    <a:latin typeface="微软雅黑" panose="020B0503020204020204" pitchFamily="34" charset="-122"/>
                    <a:ea typeface="微软雅黑" panose="020B0503020204020204" pitchFamily="34" charset="-122"/>
                  </a:rPr>
                  <a:t>2010</a:t>
                </a:r>
                <a:r>
                  <a:rPr lang="zh-CN" altLang="en-US" sz="1400" dirty="0" smtClean="0">
                    <a:latin typeface="微软雅黑" panose="020B0503020204020204" pitchFamily="34" charset="-122"/>
                    <a:ea typeface="微软雅黑" panose="020B0503020204020204" pitchFamily="34" charset="-122"/>
                  </a:rPr>
                  <a:t>年至今累计为山东省内</a:t>
                </a:r>
                <a:r>
                  <a:rPr lang="en-US" altLang="zh-CN" sz="1400" dirty="0" smtClean="0">
                    <a:latin typeface="微软雅黑" panose="020B0503020204020204" pitchFamily="34" charset="-122"/>
                    <a:ea typeface="微软雅黑" panose="020B0503020204020204" pitchFamily="34" charset="-122"/>
                  </a:rPr>
                  <a:t>13</a:t>
                </a:r>
                <a:r>
                  <a:rPr lang="zh-CN" altLang="en-US" sz="1400" dirty="0" smtClean="0">
                    <a:latin typeface="微软雅黑" panose="020B0503020204020204" pitchFamily="34" charset="-122"/>
                    <a:ea typeface="微软雅黑" panose="020B0503020204020204" pitchFamily="34" charset="-122"/>
                  </a:rPr>
                  <a:t>个万达广场及配套住宅提供超过</a:t>
                </a:r>
                <a:r>
                  <a:rPr lang="en-US" altLang="zh-CN" sz="1400" dirty="0" smtClean="0">
                    <a:latin typeface="微软雅黑" panose="020B0503020204020204" pitchFamily="34" charset="-122"/>
                    <a:ea typeface="微软雅黑" panose="020B0503020204020204" pitchFamily="34" charset="-122"/>
                  </a:rPr>
                  <a:t>1300</a:t>
                </a:r>
                <a:r>
                  <a:rPr lang="zh-CN" altLang="en-US" sz="1400" dirty="0" smtClean="0">
                    <a:latin typeface="微软雅黑" panose="020B0503020204020204" pitchFamily="34" charset="-122"/>
                    <a:ea typeface="微软雅黑" panose="020B0503020204020204" pitchFamily="34" charset="-122"/>
                  </a:rPr>
                  <a:t>台电梯</a:t>
                </a:r>
                <a:endParaRPr lang="zh-CN" altLang="en-US" sz="1400" dirty="0">
                  <a:latin typeface="微软雅黑" panose="020B0503020204020204" pitchFamily="34" charset="-122"/>
                  <a:ea typeface="微软雅黑" panose="020B0503020204020204" pitchFamily="34" charset="-122"/>
                </a:endParaRPr>
              </a:p>
            </p:txBody>
          </p:sp>
        </p:grpSp>
        <p:grpSp>
          <p:nvGrpSpPr>
            <p:cNvPr id="33" name="组合 32"/>
            <p:cNvGrpSpPr/>
            <p:nvPr/>
          </p:nvGrpSpPr>
          <p:grpSpPr>
            <a:xfrm>
              <a:off x="3594876" y="1571612"/>
              <a:ext cx="2560320" cy="2171700"/>
              <a:chOff x="3094810" y="1500174"/>
              <a:chExt cx="2560320" cy="2171700"/>
            </a:xfrm>
          </p:grpSpPr>
          <p:sp>
            <p:nvSpPr>
              <p:cNvPr id="31" name="AutoShape 24"/>
              <p:cNvSpPr>
                <a:spLocks noChangeArrowheads="1"/>
              </p:cNvSpPr>
              <p:nvPr/>
            </p:nvSpPr>
            <p:spPr bwMode="auto">
              <a:xfrm>
                <a:off x="3094810" y="1500174"/>
                <a:ext cx="2560320" cy="2171700"/>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1" fmla="*/ 0 w 10000"/>
                  <a:gd name="connsiteY0-2" fmla="*/ 2000 h 10000"/>
                  <a:gd name="connsiteX1-3" fmla="*/ 974 w 10000"/>
                  <a:gd name="connsiteY1-4" fmla="*/ 0 h 10000"/>
                  <a:gd name="connsiteX2-5" fmla="*/ 10000 w 10000"/>
                  <a:gd name="connsiteY2-6" fmla="*/ 0 h 10000"/>
                  <a:gd name="connsiteX3-7" fmla="*/ 10000 w 10000"/>
                  <a:gd name="connsiteY3-8" fmla="*/ 10000 h 10000"/>
                  <a:gd name="connsiteX4-9" fmla="*/ 0 w 10000"/>
                  <a:gd name="connsiteY4-10" fmla="*/ 10000 h 10000"/>
                  <a:gd name="connsiteX5-11" fmla="*/ 0 w 10000"/>
                  <a:gd name="connsiteY5-12" fmla="*/ 2000 h 10000"/>
                  <a:gd name="connsiteX0-13" fmla="*/ 0 w 10000"/>
                  <a:gd name="connsiteY0-14" fmla="*/ 960 h 10000"/>
                  <a:gd name="connsiteX1-15" fmla="*/ 974 w 10000"/>
                  <a:gd name="connsiteY1-16" fmla="*/ 0 h 10000"/>
                  <a:gd name="connsiteX2-17" fmla="*/ 10000 w 10000"/>
                  <a:gd name="connsiteY2-18" fmla="*/ 0 h 10000"/>
                  <a:gd name="connsiteX3-19" fmla="*/ 10000 w 10000"/>
                  <a:gd name="connsiteY3-20" fmla="*/ 10000 h 10000"/>
                  <a:gd name="connsiteX4-21" fmla="*/ 0 w 10000"/>
                  <a:gd name="connsiteY4-22" fmla="*/ 10000 h 10000"/>
                  <a:gd name="connsiteX5-23" fmla="*/ 0 w 10000"/>
                  <a:gd name="connsiteY5-24" fmla="*/ 96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0000" h="10000">
                    <a:moveTo>
                      <a:pt x="0" y="960"/>
                    </a:moveTo>
                    <a:lnTo>
                      <a:pt x="974" y="0"/>
                    </a:lnTo>
                    <a:lnTo>
                      <a:pt x="10000" y="0"/>
                    </a:lnTo>
                    <a:lnTo>
                      <a:pt x="10000" y="10000"/>
                    </a:lnTo>
                    <a:lnTo>
                      <a:pt x="0" y="10000"/>
                    </a:lnTo>
                    <a:lnTo>
                      <a:pt x="0" y="960"/>
                    </a:lnTo>
                    <a:close/>
                  </a:path>
                </a:pathLst>
              </a:custGeom>
              <a:solidFill>
                <a:schemeClr val="accent5">
                  <a:lumMod val="20000"/>
                  <a:lumOff val="80000"/>
                  <a:alpha val="60000"/>
                </a:schemeClr>
              </a:solidFill>
              <a:ln>
                <a:noFill/>
              </a:ln>
              <a:effectLst>
                <a:outerShdw blurRad="254000" algn="ctr" rotWithShape="0">
                  <a:srgbClr val="53D2FF">
                    <a:alpha val="80000"/>
                  </a:srgbClr>
                </a:outerShdw>
              </a:effectLst>
            </p:spPr>
            <p:txBody>
              <a:bodyPr wrap="none" tIns="0" bIns="684000" anchor="ctr"/>
              <a:lstStyle/>
              <a:p>
                <a:pPr lvl="0" algn="ctr"/>
                <a:endParaRPr lang="zh-CN" altLang="en-US">
                  <a:solidFill>
                    <a:prstClr val="white"/>
                  </a:solidFill>
                  <a:latin typeface="Pirulen" panose="02000807050000020004" pitchFamily="2" charset="0"/>
                </a:endParaRPr>
              </a:p>
            </p:txBody>
          </p:sp>
          <p:sp>
            <p:nvSpPr>
              <p:cNvPr id="24" name="TextBox 23"/>
              <p:cNvSpPr txBox="1"/>
              <p:nvPr/>
            </p:nvSpPr>
            <p:spPr>
              <a:xfrm>
                <a:off x="3380562" y="1571612"/>
                <a:ext cx="2072005" cy="2047875"/>
              </a:xfrm>
              <a:prstGeom prst="rect">
                <a:avLst/>
              </a:prstGeom>
              <a:noFill/>
            </p:spPr>
            <p:txBody>
              <a:bodyPr wrap="square" lIns="0" rIns="0" rtlCol="0">
                <a:spAutoFit/>
              </a:bodyPr>
              <a:lstStyle/>
              <a:p>
                <a:pPr>
                  <a:lnSpc>
                    <a:spcPct val="130000"/>
                  </a:lnSpc>
                </a:pPr>
                <a:r>
                  <a:rPr lang="en-US" altLang="zh-CN" sz="1400" dirty="0" smtClean="0">
                    <a:latin typeface="微软雅黑" panose="020B0503020204020204" pitchFamily="34" charset="-122"/>
                    <a:ea typeface="微软雅黑" panose="020B0503020204020204" pitchFamily="34" charset="-122"/>
                  </a:rPr>
                  <a:t>2014</a:t>
                </a:r>
                <a:r>
                  <a:rPr lang="zh-CN" altLang="en-US" sz="1400" dirty="0" smtClean="0">
                    <a:latin typeface="微软雅黑" panose="020B0503020204020204" pitchFamily="34" charset="-122"/>
                    <a:ea typeface="微软雅黑" panose="020B0503020204020204" pitchFamily="34" charset="-122"/>
                  </a:rPr>
                  <a:t>年中标青岛地铁一期</a:t>
                </a:r>
                <a:r>
                  <a:rPr lang="en-US" altLang="zh-CN" sz="1400" dirty="0" smtClean="0">
                    <a:latin typeface="微软雅黑" panose="020B0503020204020204" pitchFamily="34" charset="-122"/>
                    <a:ea typeface="微软雅黑" panose="020B0503020204020204" pitchFamily="34" charset="-122"/>
                  </a:rPr>
                  <a:t>3</a:t>
                </a:r>
                <a:r>
                  <a:rPr lang="zh-CN" altLang="en-US" sz="1400" dirty="0" smtClean="0">
                    <a:latin typeface="微软雅黑" panose="020B0503020204020204" pitchFamily="34" charset="-122"/>
                    <a:ea typeface="微软雅黑" panose="020B0503020204020204" pitchFamily="34" charset="-122"/>
                  </a:rPr>
                  <a:t>号线，总计</a:t>
                </a:r>
                <a:r>
                  <a:rPr lang="en-US" altLang="zh-CN" sz="1400" dirty="0" smtClean="0">
                    <a:latin typeface="微软雅黑" panose="020B0503020204020204" pitchFamily="34" charset="-122"/>
                    <a:ea typeface="微软雅黑" panose="020B0503020204020204" pitchFamily="34" charset="-122"/>
                  </a:rPr>
                  <a:t>104</a:t>
                </a:r>
                <a:r>
                  <a:rPr lang="zh-CN" altLang="en-US" sz="1400" dirty="0" smtClean="0">
                    <a:latin typeface="微软雅黑" panose="020B0503020204020204" pitchFamily="34" charset="-122"/>
                    <a:ea typeface="微软雅黑" panose="020B0503020204020204" pitchFamily="34" charset="-122"/>
                  </a:rPr>
                  <a:t>台，截止目前已经全部投入使用并不断提升我司品牌形象</a:t>
                </a:r>
                <a:r>
                  <a:rPr lang="zh-CN" altLang="en-US" sz="1400" b="1" dirty="0" smtClean="0">
                    <a:solidFill>
                      <a:schemeClr val="bg1"/>
                    </a:solidFill>
                    <a:latin typeface="微软雅黑" panose="020B0503020204020204" pitchFamily="34" charset="-122"/>
                    <a:ea typeface="微软雅黑" panose="020B0503020204020204" pitchFamily="34" charset="-122"/>
                  </a:rPr>
                  <a:t>；</a:t>
                </a:r>
                <a:r>
                  <a:rPr lang="en-US" altLang="zh-CN" sz="1400" dirty="0" smtClean="0">
                    <a:latin typeface="微软雅黑" panose="020B0503020204020204" pitchFamily="34" charset="-122"/>
                    <a:ea typeface="微软雅黑" panose="020B0503020204020204" pitchFamily="34" charset="-122"/>
                  </a:rPr>
                  <a:t>2016</a:t>
                </a:r>
                <a:r>
                  <a:rPr lang="zh-CN" altLang="en-US" sz="1400" dirty="0" smtClean="0">
                    <a:latin typeface="微软雅黑" panose="020B0503020204020204" pitchFamily="34" charset="-122"/>
                    <a:ea typeface="微软雅黑" panose="020B0503020204020204" pitchFamily="34" charset="-122"/>
                  </a:rPr>
                  <a:t>年中标青岛轨道交通蓝色硅谷线项目总计</a:t>
                </a:r>
                <a:r>
                  <a:rPr lang="en-US" altLang="zh-CN" sz="1400" dirty="0" smtClean="0">
                    <a:latin typeface="微软雅黑" panose="020B0503020204020204" pitchFamily="34" charset="-122"/>
                    <a:ea typeface="微软雅黑" panose="020B0503020204020204" pitchFamily="34" charset="-122"/>
                  </a:rPr>
                  <a:t>123</a:t>
                </a:r>
                <a:r>
                  <a:rPr lang="zh-CN" altLang="en-US" sz="1400" dirty="0" smtClean="0">
                    <a:latin typeface="微软雅黑" panose="020B0503020204020204" pitchFamily="34" charset="-122"/>
                    <a:ea typeface="微软雅黑" panose="020B0503020204020204" pitchFamily="34" charset="-122"/>
                  </a:rPr>
                  <a:t>台。</a:t>
                </a:r>
                <a:endParaRPr lang="zh-CN" altLang="en-US" sz="1400" dirty="0">
                  <a:latin typeface="微软雅黑" panose="020B0503020204020204" pitchFamily="34" charset="-122"/>
                  <a:ea typeface="微软雅黑" panose="020B0503020204020204" pitchFamily="34" charset="-122"/>
                </a:endParaRPr>
              </a:p>
            </p:txBody>
          </p:sp>
        </p:grpSp>
        <p:grpSp>
          <p:nvGrpSpPr>
            <p:cNvPr id="41" name="组合 40"/>
            <p:cNvGrpSpPr/>
            <p:nvPr/>
          </p:nvGrpSpPr>
          <p:grpSpPr>
            <a:xfrm>
              <a:off x="6095206" y="3786190"/>
              <a:ext cx="2560320" cy="2143125"/>
              <a:chOff x="6095206" y="3786190"/>
              <a:chExt cx="2560320" cy="2143125"/>
            </a:xfrm>
          </p:grpSpPr>
          <p:sp>
            <p:nvSpPr>
              <p:cNvPr id="49" name="AutoShape 24"/>
              <p:cNvSpPr>
                <a:spLocks noChangeArrowheads="1"/>
              </p:cNvSpPr>
              <p:nvPr/>
            </p:nvSpPr>
            <p:spPr bwMode="auto">
              <a:xfrm>
                <a:off x="6095206" y="3786190"/>
                <a:ext cx="2560320" cy="2143125"/>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1" fmla="*/ 0 w 10000"/>
                  <a:gd name="connsiteY0-2" fmla="*/ 2000 h 10000"/>
                  <a:gd name="connsiteX1-3" fmla="*/ 974 w 10000"/>
                  <a:gd name="connsiteY1-4" fmla="*/ 0 h 10000"/>
                  <a:gd name="connsiteX2-5" fmla="*/ 10000 w 10000"/>
                  <a:gd name="connsiteY2-6" fmla="*/ 0 h 10000"/>
                  <a:gd name="connsiteX3-7" fmla="*/ 10000 w 10000"/>
                  <a:gd name="connsiteY3-8" fmla="*/ 10000 h 10000"/>
                  <a:gd name="connsiteX4-9" fmla="*/ 0 w 10000"/>
                  <a:gd name="connsiteY4-10" fmla="*/ 10000 h 10000"/>
                  <a:gd name="connsiteX5-11" fmla="*/ 0 w 10000"/>
                  <a:gd name="connsiteY5-12" fmla="*/ 2000 h 10000"/>
                  <a:gd name="connsiteX0-13" fmla="*/ 0 w 10000"/>
                  <a:gd name="connsiteY0-14" fmla="*/ 960 h 10000"/>
                  <a:gd name="connsiteX1-15" fmla="*/ 974 w 10000"/>
                  <a:gd name="connsiteY1-16" fmla="*/ 0 h 10000"/>
                  <a:gd name="connsiteX2-17" fmla="*/ 10000 w 10000"/>
                  <a:gd name="connsiteY2-18" fmla="*/ 0 h 10000"/>
                  <a:gd name="connsiteX3-19" fmla="*/ 10000 w 10000"/>
                  <a:gd name="connsiteY3-20" fmla="*/ 10000 h 10000"/>
                  <a:gd name="connsiteX4-21" fmla="*/ 0 w 10000"/>
                  <a:gd name="connsiteY4-22" fmla="*/ 10000 h 10000"/>
                  <a:gd name="connsiteX5-23" fmla="*/ 0 w 10000"/>
                  <a:gd name="connsiteY5-24" fmla="*/ 96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0000" h="10000">
                    <a:moveTo>
                      <a:pt x="0" y="960"/>
                    </a:moveTo>
                    <a:lnTo>
                      <a:pt x="974" y="0"/>
                    </a:lnTo>
                    <a:lnTo>
                      <a:pt x="10000" y="0"/>
                    </a:lnTo>
                    <a:lnTo>
                      <a:pt x="10000" y="10000"/>
                    </a:lnTo>
                    <a:lnTo>
                      <a:pt x="0" y="10000"/>
                    </a:lnTo>
                    <a:lnTo>
                      <a:pt x="0" y="960"/>
                    </a:lnTo>
                    <a:close/>
                  </a:path>
                </a:pathLst>
              </a:custGeom>
              <a:solidFill>
                <a:schemeClr val="accent5">
                  <a:lumMod val="20000"/>
                  <a:lumOff val="80000"/>
                  <a:alpha val="60000"/>
                </a:schemeClr>
              </a:solidFill>
              <a:ln>
                <a:noFill/>
              </a:ln>
              <a:effectLst>
                <a:outerShdw blurRad="254000" algn="ctr" rotWithShape="0">
                  <a:srgbClr val="53D2FF">
                    <a:alpha val="80000"/>
                  </a:srgbClr>
                </a:outerShdw>
              </a:effectLst>
            </p:spPr>
            <p:txBody>
              <a:bodyPr wrap="none" tIns="0" bIns="684000" anchor="ctr"/>
              <a:lstStyle/>
              <a:p>
                <a:pPr lvl="0" algn="ctr"/>
                <a:endParaRPr lang="zh-CN" altLang="en-US">
                  <a:solidFill>
                    <a:prstClr val="white"/>
                  </a:solidFill>
                  <a:latin typeface="Pirulen" panose="02000807050000020004" pitchFamily="2" charset="0"/>
                </a:endParaRPr>
              </a:p>
            </p:txBody>
          </p:sp>
          <p:sp>
            <p:nvSpPr>
              <p:cNvPr id="37" name="TextBox 36"/>
              <p:cNvSpPr txBox="1"/>
              <p:nvPr/>
            </p:nvSpPr>
            <p:spPr>
              <a:xfrm>
                <a:off x="6380958" y="3929066"/>
                <a:ext cx="2072005" cy="1708160"/>
              </a:xfrm>
              <a:prstGeom prst="rect">
                <a:avLst/>
              </a:prstGeom>
              <a:noFill/>
            </p:spPr>
            <p:txBody>
              <a:bodyPr wrap="square" lIns="0" rIns="0" rtlCol="0">
                <a:spAutoFit/>
              </a:bodyPr>
              <a:lstStyle/>
              <a:p>
                <a:pPr>
                  <a:lnSpc>
                    <a:spcPct val="150000"/>
                  </a:lnSpc>
                </a:pPr>
                <a:r>
                  <a:rPr lang="en-US" altLang="zh-CN" sz="1400" dirty="0" smtClean="0">
                    <a:latin typeface="微软雅黑" panose="020B0503020204020204" pitchFamily="34" charset="-122"/>
                    <a:ea typeface="微软雅黑" panose="020B0503020204020204" pitchFamily="34" charset="-122"/>
                  </a:rPr>
                  <a:t>2017</a:t>
                </a:r>
                <a:r>
                  <a:rPr lang="zh-CN" altLang="en-US" sz="1400" dirty="0" smtClean="0">
                    <a:latin typeface="微软雅黑" panose="020B0503020204020204" pitchFamily="34" charset="-122"/>
                    <a:ea typeface="微软雅黑" panose="020B0503020204020204" pitchFamily="34" charset="-122"/>
                  </a:rPr>
                  <a:t>年</a:t>
                </a:r>
                <a:r>
                  <a:rPr lang="en-US" altLang="zh-CN" sz="1400" dirty="0" smtClean="0">
                    <a:latin typeface="微软雅黑" panose="020B0503020204020204" pitchFamily="34" charset="-122"/>
                    <a:ea typeface="微软雅黑" panose="020B0503020204020204" pitchFamily="34" charset="-122"/>
                  </a:rPr>
                  <a:t>6</a:t>
                </a:r>
                <a:r>
                  <a:rPr lang="zh-CN" altLang="en-US" sz="1400" dirty="0" smtClean="0">
                    <a:latin typeface="微软雅黑" panose="020B0503020204020204" pitchFamily="34" charset="-122"/>
                    <a:ea typeface="微软雅黑" panose="020B0503020204020204" pitchFamily="34" charset="-122"/>
                  </a:rPr>
                  <a:t>月，中标青岛国信海天中心项目，为该项目提供</a:t>
                </a:r>
                <a:r>
                  <a:rPr lang="en-US" altLang="zh-CN" sz="1400" dirty="0" smtClean="0">
                    <a:latin typeface="微软雅黑" panose="020B0503020204020204" pitchFamily="34" charset="-122"/>
                    <a:ea typeface="微软雅黑" panose="020B0503020204020204" pitchFamily="34" charset="-122"/>
                  </a:rPr>
                  <a:t>102</a:t>
                </a:r>
                <a:r>
                  <a:rPr lang="zh-CN" altLang="en-US" sz="1400" dirty="0" smtClean="0">
                    <a:latin typeface="微软雅黑" panose="020B0503020204020204" pitchFamily="34" charset="-122"/>
                    <a:ea typeface="微软雅黑" panose="020B0503020204020204" pitchFamily="34" charset="-122"/>
                  </a:rPr>
                  <a:t>台电扶梯产品和服务，其中包含</a:t>
                </a:r>
                <a:r>
                  <a:rPr lang="en-US" altLang="zh-CN" sz="1400" dirty="0" smtClean="0">
                    <a:latin typeface="微软雅黑" panose="020B0503020204020204" pitchFamily="34" charset="-122"/>
                    <a:ea typeface="微软雅黑" panose="020B0503020204020204" pitchFamily="34" charset="-122"/>
                  </a:rPr>
                  <a:t>3</a:t>
                </a:r>
                <a:r>
                  <a:rPr lang="zh-CN" altLang="en-US" sz="1400" dirty="0" smtClean="0">
                    <a:latin typeface="微软雅黑" panose="020B0503020204020204" pitchFamily="34" charset="-122"/>
                    <a:ea typeface="微软雅黑" panose="020B0503020204020204" pitchFamily="34" charset="-122"/>
                  </a:rPr>
                  <a:t>台</a:t>
                </a:r>
                <a:r>
                  <a:rPr lang="en-US" altLang="zh-CN" sz="1400" dirty="0" smtClean="0">
                    <a:latin typeface="微软雅黑" panose="020B0503020204020204" pitchFamily="34" charset="-122"/>
                    <a:ea typeface="微软雅黑" panose="020B0503020204020204" pitchFamily="34" charset="-122"/>
                  </a:rPr>
                  <a:t>8m/s</a:t>
                </a:r>
                <a:r>
                  <a:rPr lang="zh-CN" altLang="en-US" sz="1400" dirty="0" smtClean="0">
                    <a:latin typeface="微软雅黑" panose="020B0503020204020204" pitchFamily="34" charset="-122"/>
                    <a:ea typeface="微软雅黑" panose="020B0503020204020204" pitchFamily="34" charset="-122"/>
                  </a:rPr>
                  <a:t>的超高速电梯。</a:t>
                </a:r>
                <a:endParaRPr lang="en-US" altLang="zh-CN" sz="1400" dirty="0">
                  <a:latin typeface="微软雅黑" panose="020B0503020204020204" pitchFamily="34" charset="-122"/>
                  <a:ea typeface="微软雅黑" panose="020B0503020204020204" pitchFamily="34" charset="-122"/>
                </a:endParaRPr>
              </a:p>
            </p:txBody>
          </p:sp>
        </p:grpSp>
      </p:grpSp>
      <p:sp>
        <p:nvSpPr>
          <p:cNvPr id="23" name="TextBox 22"/>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sz="2400" b="1" dirty="0" smtClean="0">
              <a:latin typeface="微软雅黑" panose="020B0503020204020204" pitchFamily="34" charset="-122"/>
              <a:ea typeface="微软雅黑" panose="020B0503020204020204" pitchFamily="34" charset="-122"/>
            </a:endParaRPr>
          </a:p>
        </p:txBody>
      </p:sp>
      <p:sp>
        <p:nvSpPr>
          <p:cNvPr id="25" name="矩形 24"/>
          <p:cNvSpPr/>
          <p:nvPr/>
        </p:nvSpPr>
        <p:spPr>
          <a:xfrm>
            <a:off x="1237422" y="714356"/>
            <a:ext cx="2560955" cy="453457"/>
          </a:xfrm>
          <a:prstGeom prst="rect">
            <a:avLst/>
          </a:prstGeom>
        </p:spPr>
        <p:txBody>
          <a:bodyPr wrap="square">
            <a:spAutoFit/>
          </a:bodyPr>
          <a:lstStyle/>
          <a:p>
            <a:pPr>
              <a:lnSpc>
                <a:spcPct val="130000"/>
              </a:lnSpc>
            </a:pPr>
            <a:r>
              <a:rPr lang="zh-CN" altLang="en-US" sz="2000" b="1" dirty="0" smtClean="0">
                <a:latin typeface="微软雅黑" panose="020B0503020204020204" pitchFamily="34" charset="-122"/>
                <a:ea typeface="微软雅黑" panose="020B0503020204020204" pitchFamily="34" charset="-122"/>
              </a:rPr>
              <a:t>近期重点项目</a:t>
            </a:r>
            <a:endParaRPr lang="zh-CN" altLang="en-US" sz="2000" b="1" dirty="0">
              <a:latin typeface="微软雅黑" panose="020B0503020204020204" pitchFamily="34" charset="-122"/>
              <a:ea typeface="微软雅黑" panose="020B0503020204020204" pitchFamily="34" charset="-122"/>
            </a:endParaRPr>
          </a:p>
        </p:txBody>
      </p:sp>
      <p:grpSp>
        <p:nvGrpSpPr>
          <p:cNvPr id="30" name="组合 29"/>
          <p:cNvGrpSpPr/>
          <p:nvPr/>
        </p:nvGrpSpPr>
        <p:grpSpPr>
          <a:xfrm>
            <a:off x="3594876" y="1500174"/>
            <a:ext cx="7572445" cy="4459303"/>
            <a:chOff x="3594876" y="1500174"/>
            <a:chExt cx="7572445" cy="4459303"/>
          </a:xfrm>
        </p:grpSpPr>
        <p:grpSp>
          <p:nvGrpSpPr>
            <p:cNvPr id="5" name="组合 4"/>
            <p:cNvGrpSpPr/>
            <p:nvPr/>
          </p:nvGrpSpPr>
          <p:grpSpPr>
            <a:xfrm>
              <a:off x="3594876" y="3714752"/>
              <a:ext cx="2500630" cy="2244725"/>
              <a:chOff x="4873" y="6957"/>
              <a:chExt cx="3938" cy="3535"/>
            </a:xfrm>
          </p:grpSpPr>
          <p:sp>
            <p:nvSpPr>
              <p:cNvPr id="2" name="矩形 1"/>
              <p:cNvSpPr/>
              <p:nvPr/>
            </p:nvSpPr>
            <p:spPr>
              <a:xfrm>
                <a:off x="4873" y="9900"/>
                <a:ext cx="3938" cy="593"/>
              </a:xfrm>
              <a:custGeom>
                <a:avLst/>
                <a:gdLst/>
                <a:ahLst/>
                <a:cxnLst/>
                <a:rect l="l" t="t" r="r" b="b"/>
                <a:pathLst>
                  <a:path w="5189126" h="1233513">
                    <a:moveTo>
                      <a:pt x="5189123" y="616756"/>
                    </a:moveTo>
                    <a:lnTo>
                      <a:pt x="4572367" y="1233512"/>
                    </a:lnTo>
                    <a:lnTo>
                      <a:pt x="5189123" y="1233512"/>
                    </a:lnTo>
                    <a:close/>
                    <a:moveTo>
                      <a:pt x="0" y="0"/>
                    </a:moveTo>
                    <a:lnTo>
                      <a:pt x="5189126" y="0"/>
                    </a:lnTo>
                    <a:lnTo>
                      <a:pt x="5189126" y="1233513"/>
                    </a:lnTo>
                    <a:lnTo>
                      <a:pt x="0" y="1233513"/>
                    </a:lnTo>
                    <a:close/>
                  </a:path>
                </a:pathLst>
              </a:custGeom>
              <a:solidFill>
                <a:schemeClr val="bg2">
                  <a:lumMod val="9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zh-CN" altLang="en-US" b="1" dirty="0" smtClean="0">
                    <a:solidFill>
                      <a:schemeClr val="tx1"/>
                    </a:solidFill>
                    <a:latin typeface="微软雅黑" panose="020B0503020204020204" pitchFamily="34" charset="-122"/>
                    <a:ea typeface="微软雅黑" panose="020B0503020204020204" pitchFamily="34" charset="-122"/>
                  </a:rPr>
                  <a:t>万达广场</a:t>
                </a:r>
                <a:endParaRPr lang="zh-CN" altLang="en-US" b="1" dirty="0">
                  <a:solidFill>
                    <a:schemeClr val="tx1"/>
                  </a:solidFill>
                  <a:latin typeface="微软雅黑" panose="020B0503020204020204" pitchFamily="34" charset="-122"/>
                  <a:ea typeface="微软雅黑" panose="020B0503020204020204" pitchFamily="34" charset="-122"/>
                </a:endParaRPr>
              </a:p>
            </p:txBody>
          </p:sp>
          <p:pic>
            <p:nvPicPr>
              <p:cNvPr id="12" name="Picture 2"/>
              <p:cNvPicPr>
                <a:picLocks noChangeArrowheads="1"/>
              </p:cNvPicPr>
              <p:nvPr/>
            </p:nvPicPr>
            <p:blipFill>
              <a:blip r:embed="rId2" cstate="print"/>
              <a:srcRect/>
              <a:stretch>
                <a:fillRect/>
              </a:stretch>
            </p:blipFill>
            <p:spPr bwMode="auto">
              <a:xfrm>
                <a:off x="4873" y="6957"/>
                <a:ext cx="3938" cy="2812"/>
              </a:xfrm>
              <a:prstGeom prst="rect">
                <a:avLst/>
              </a:prstGeom>
              <a:noFill/>
              <a:ln w="9525">
                <a:noFill/>
                <a:miter lim="800000"/>
                <a:headEnd/>
                <a:tailEnd/>
              </a:ln>
              <a:effectLst/>
            </p:spPr>
          </p:pic>
        </p:grpSp>
        <p:grpSp>
          <p:nvGrpSpPr>
            <p:cNvPr id="45" name="组合 44"/>
            <p:cNvGrpSpPr/>
            <p:nvPr/>
          </p:nvGrpSpPr>
          <p:grpSpPr>
            <a:xfrm>
              <a:off x="6166644" y="1500174"/>
              <a:ext cx="2500630" cy="2161870"/>
              <a:chOff x="6738148" y="642918"/>
              <a:chExt cx="2500630" cy="2161870"/>
            </a:xfrm>
          </p:grpSpPr>
          <p:sp>
            <p:nvSpPr>
              <p:cNvPr id="26" name="矩形 1"/>
              <p:cNvSpPr/>
              <p:nvPr/>
            </p:nvSpPr>
            <p:spPr>
              <a:xfrm>
                <a:off x="6738148" y="2428868"/>
                <a:ext cx="2500630" cy="375920"/>
              </a:xfrm>
              <a:custGeom>
                <a:avLst/>
                <a:gdLst/>
                <a:ahLst/>
                <a:cxnLst/>
                <a:rect l="l" t="t" r="r" b="b"/>
                <a:pathLst>
                  <a:path w="5189126" h="1233513">
                    <a:moveTo>
                      <a:pt x="5189123" y="616756"/>
                    </a:moveTo>
                    <a:lnTo>
                      <a:pt x="4572367" y="1233512"/>
                    </a:lnTo>
                    <a:lnTo>
                      <a:pt x="5189123" y="1233512"/>
                    </a:lnTo>
                    <a:close/>
                    <a:moveTo>
                      <a:pt x="0" y="0"/>
                    </a:moveTo>
                    <a:lnTo>
                      <a:pt x="5189126" y="0"/>
                    </a:lnTo>
                    <a:lnTo>
                      <a:pt x="5189126" y="1233513"/>
                    </a:lnTo>
                    <a:lnTo>
                      <a:pt x="0" y="1233513"/>
                    </a:lnTo>
                    <a:close/>
                  </a:path>
                </a:pathLst>
              </a:custGeom>
              <a:solidFill>
                <a:schemeClr val="bg2">
                  <a:lumMod val="9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r>
                  <a:rPr lang="zh-CN" altLang="en-US" b="1" dirty="0" smtClean="0">
                    <a:solidFill>
                      <a:schemeClr val="tx1"/>
                    </a:solidFill>
                    <a:latin typeface="微软雅黑" panose="020B0503020204020204" pitchFamily="34" charset="-122"/>
                    <a:ea typeface="微软雅黑" panose="020B0503020204020204" pitchFamily="34" charset="-122"/>
                  </a:rPr>
                  <a:t>青岛轨道交通</a:t>
                </a:r>
                <a:endParaRPr lang="zh-CN" altLang="en-US" b="1" dirty="0">
                  <a:solidFill>
                    <a:schemeClr val="tx1"/>
                  </a:solidFill>
                  <a:latin typeface="微软雅黑" panose="020B0503020204020204" pitchFamily="34" charset="-122"/>
                  <a:ea typeface="微软雅黑" panose="020B0503020204020204" pitchFamily="34" charset="-122"/>
                </a:endParaRPr>
              </a:p>
            </p:txBody>
          </p:sp>
          <p:pic>
            <p:nvPicPr>
              <p:cNvPr id="13" name="Picture 3"/>
              <p:cNvPicPr>
                <a:picLocks noChangeArrowheads="1"/>
              </p:cNvPicPr>
              <p:nvPr/>
            </p:nvPicPr>
            <p:blipFill>
              <a:blip r:embed="rId3" cstate="print"/>
              <a:srcRect/>
              <a:stretch>
                <a:fillRect/>
              </a:stretch>
            </p:blipFill>
            <p:spPr bwMode="auto">
              <a:xfrm>
                <a:off x="6738148" y="642918"/>
                <a:ext cx="2500630" cy="1771015"/>
              </a:xfrm>
              <a:prstGeom prst="rect">
                <a:avLst/>
              </a:prstGeom>
              <a:noFill/>
              <a:ln w="9525">
                <a:noFill/>
                <a:miter lim="800000"/>
                <a:headEnd/>
                <a:tailEnd/>
              </a:ln>
              <a:effectLst/>
            </p:spPr>
          </p:pic>
        </p:grpSp>
        <p:sp>
          <p:nvSpPr>
            <p:cNvPr id="39" name="矩形 1"/>
            <p:cNvSpPr/>
            <p:nvPr/>
          </p:nvSpPr>
          <p:spPr>
            <a:xfrm>
              <a:off x="8666991" y="5500702"/>
              <a:ext cx="2500330" cy="376257"/>
            </a:xfrm>
            <a:custGeom>
              <a:avLst/>
              <a:gdLst/>
              <a:ahLst/>
              <a:cxnLst/>
              <a:rect l="l" t="t" r="r" b="b"/>
              <a:pathLst>
                <a:path w="5189126" h="1233513">
                  <a:moveTo>
                    <a:pt x="5189123" y="616756"/>
                  </a:moveTo>
                  <a:lnTo>
                    <a:pt x="4572367" y="1233512"/>
                  </a:lnTo>
                  <a:lnTo>
                    <a:pt x="5189123" y="1233512"/>
                  </a:lnTo>
                  <a:close/>
                  <a:moveTo>
                    <a:pt x="0" y="0"/>
                  </a:moveTo>
                  <a:lnTo>
                    <a:pt x="5189126" y="0"/>
                  </a:lnTo>
                  <a:lnTo>
                    <a:pt x="5189126" y="1233513"/>
                  </a:lnTo>
                  <a:lnTo>
                    <a:pt x="0" y="1233513"/>
                  </a:lnTo>
                  <a:close/>
                </a:path>
              </a:pathLst>
            </a:custGeom>
            <a:solidFill>
              <a:schemeClr val="bg2">
                <a:lumMod val="9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algn="ctr"/>
              <a:r>
                <a:rPr lang="zh-CN" altLang="en-US" b="1" dirty="0" smtClean="0">
                  <a:solidFill>
                    <a:schemeClr val="tx1"/>
                  </a:solidFill>
                  <a:latin typeface="微软雅黑" panose="020B0503020204020204" pitchFamily="34" charset="-122"/>
                  <a:ea typeface="微软雅黑" panose="020B0503020204020204" pitchFamily="34" charset="-122"/>
                </a:rPr>
                <a:t>海天中心</a:t>
              </a:r>
              <a:endParaRPr lang="zh-CN" altLang="en-US" b="1" dirty="0">
                <a:solidFill>
                  <a:schemeClr val="tx1"/>
                </a:solidFill>
                <a:latin typeface="微软雅黑" panose="020B0503020204020204" pitchFamily="34" charset="-122"/>
                <a:ea typeface="微软雅黑" panose="020B0503020204020204" pitchFamily="34" charset="-122"/>
              </a:endParaRPr>
            </a:p>
          </p:txBody>
        </p:sp>
        <p:pic>
          <p:nvPicPr>
            <p:cNvPr id="29" name="图片 28" descr="海天中心.jpg"/>
            <p:cNvPicPr>
              <a:picLocks noChangeAspect="1"/>
            </p:cNvPicPr>
            <p:nvPr/>
          </p:nvPicPr>
          <p:blipFill>
            <a:blip r:embed="rId4" cstate="print"/>
            <a:stretch>
              <a:fillRect/>
            </a:stretch>
          </p:blipFill>
          <p:spPr>
            <a:xfrm>
              <a:off x="8666974" y="3643314"/>
              <a:ext cx="2500330" cy="1785950"/>
            </a:xfrm>
            <a:prstGeom prst="rect">
              <a:avLst/>
            </a:prstGeom>
          </p:spPr>
        </p:pic>
      </p:grpSp>
    </p:spTree>
    <p:custDataLst>
      <p:tags r:id="rId5"/>
    </p:custDataLst>
  </p:cSld>
  <p:clrMapOvr>
    <a:masterClrMapping/>
  </p:clrMapOvr>
  <mc:AlternateContent xmlns:mc="http://schemas.openxmlformats.org/markup-compatibility/2006">
    <mc:Choice xmlns:p14="http://schemas.microsoft.com/office/powerpoint/2010/main" Requires="p14">
      <p:transition spd="slow" p14:dur="1300" advTm="4836">
        <p14:pan/>
      </p:transition>
    </mc:Choice>
    <mc:Fallback>
      <p:transition spd="slow" advTm="48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p:tgtEl>
                                          <p:spTgt spid="32"/>
                                        </p:tgtEl>
                                        <p:attrNameLst>
                                          <p:attrName>ppt_x</p:attrName>
                                        </p:attrNameLst>
                                      </p:cBhvr>
                                      <p:tavLst>
                                        <p:tav tm="0">
                                          <p:val>
                                            <p:strVal val="#ppt_x-#ppt_w*1.125000"/>
                                          </p:val>
                                        </p:tav>
                                        <p:tav tm="100000">
                                          <p:val>
                                            <p:strVal val="#ppt_x"/>
                                          </p:val>
                                        </p:tav>
                                      </p:tavLst>
                                    </p:anim>
                                    <p:animEffect transition="in" filter="wipe(right)">
                                      <p:cBhvr>
                                        <p:cTn id="8" dur="500"/>
                                        <p:tgtEl>
                                          <p:spTgt spid="32"/>
                                        </p:tgtEl>
                                      </p:cBhvr>
                                    </p:animEffect>
                                  </p:childTnLst>
                                </p:cTn>
                              </p:par>
                            </p:childTnLst>
                          </p:cTn>
                        </p:par>
                        <p:par>
                          <p:cTn id="9" fill="hold">
                            <p:stCondLst>
                              <p:cond delay="500"/>
                            </p:stCondLst>
                            <p:childTnLst>
                              <p:par>
                                <p:cTn id="10" presetID="23" presetClass="entr" presetSubtype="16" fill="hold" grpId="1" nodeType="afterEffect">
                                  <p:stCondLst>
                                    <p:cond delay="0"/>
                                  </p:stCondLst>
                                  <p:childTnLst>
                                    <p:set>
                                      <p:cBhvr>
                                        <p:cTn id="11" dur="1" fill="hold">
                                          <p:stCondLst>
                                            <p:cond delay="0"/>
                                          </p:stCondLst>
                                        </p:cTn>
                                        <p:tgtEl>
                                          <p:spTgt spid="25"/>
                                        </p:tgtEl>
                                        <p:attrNameLst>
                                          <p:attrName>style.visibility</p:attrName>
                                        </p:attrNameLst>
                                      </p:cBhvr>
                                      <p:to>
                                        <p:strVal val="visible"/>
                                      </p:to>
                                    </p:set>
                                    <p:anim calcmode="lin" valueType="num">
                                      <p:cBhvr>
                                        <p:cTn id="12" dur="500" fill="hold"/>
                                        <p:tgtEl>
                                          <p:spTgt spid="25"/>
                                        </p:tgtEl>
                                        <p:attrNameLst>
                                          <p:attrName>ppt_w</p:attrName>
                                        </p:attrNameLst>
                                      </p:cBhvr>
                                      <p:tavLst>
                                        <p:tav tm="0">
                                          <p:val>
                                            <p:fltVal val="0"/>
                                          </p:val>
                                        </p:tav>
                                        <p:tav tm="100000">
                                          <p:val>
                                            <p:strVal val="#ppt_w"/>
                                          </p:val>
                                        </p:tav>
                                      </p:tavLst>
                                    </p:anim>
                                    <p:anim calcmode="lin" valueType="num">
                                      <p:cBhvr>
                                        <p:cTn id="13" dur="500" fill="hold"/>
                                        <p:tgtEl>
                                          <p:spTgt spid="25"/>
                                        </p:tgtEl>
                                        <p:attrNameLst>
                                          <p:attrName>ppt_h</p:attrName>
                                        </p:attrNameLst>
                                      </p:cBhvr>
                                      <p:tavLst>
                                        <p:tav tm="0">
                                          <p:val>
                                            <p:fltVal val="0"/>
                                          </p:val>
                                        </p:tav>
                                        <p:tav tm="100000">
                                          <p:val>
                                            <p:strVal val="#ppt_h"/>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8" fill="hold" nodeType="clickEffect">
                                  <p:stCondLst>
                                    <p:cond delay="0"/>
                                  </p:stCondLst>
                                  <p:childTnLst>
                                    <p:set>
                                      <p:cBhvr>
                                        <p:cTn id="17" dur="1" fill="hold">
                                          <p:stCondLst>
                                            <p:cond delay="0"/>
                                          </p:stCondLst>
                                        </p:cTn>
                                        <p:tgtEl>
                                          <p:spTgt spid="47"/>
                                        </p:tgtEl>
                                        <p:attrNameLst>
                                          <p:attrName>style.visibility</p:attrName>
                                        </p:attrNameLst>
                                      </p:cBhvr>
                                      <p:to>
                                        <p:strVal val="visible"/>
                                      </p:to>
                                    </p:set>
                                    <p:anim calcmode="lin" valueType="num">
                                      <p:cBhvr additive="base">
                                        <p:cTn id="18" dur="500" fill="hold"/>
                                        <p:tgtEl>
                                          <p:spTgt spid="47"/>
                                        </p:tgtEl>
                                        <p:attrNameLst>
                                          <p:attrName>ppt_x</p:attrName>
                                        </p:attrNameLst>
                                      </p:cBhvr>
                                      <p:tavLst>
                                        <p:tav tm="0">
                                          <p:val>
                                            <p:strVal val="0-#ppt_w/2"/>
                                          </p:val>
                                        </p:tav>
                                        <p:tav tm="100000">
                                          <p:val>
                                            <p:strVal val="#ppt_x"/>
                                          </p:val>
                                        </p:tav>
                                      </p:tavLst>
                                    </p:anim>
                                    <p:anim calcmode="lin" valueType="num">
                                      <p:cBhvr additive="base">
                                        <p:cTn id="19" dur="500" fill="hold"/>
                                        <p:tgtEl>
                                          <p:spTgt spid="47"/>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2" presetClass="entr" presetSubtype="2" fill="hold" nodeType="click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wipe(right)">
                                      <p:cBhvr>
                                        <p:cTn id="2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grpSp>
        <p:nvGrpSpPr>
          <p:cNvPr id="13" name="组合 12"/>
          <p:cNvGrpSpPr/>
          <p:nvPr/>
        </p:nvGrpSpPr>
        <p:grpSpPr>
          <a:xfrm>
            <a:off x="929005" y="1109345"/>
            <a:ext cx="10256520" cy="4571365"/>
            <a:chOff x="929005" y="1109345"/>
            <a:chExt cx="10256520" cy="4571365"/>
          </a:xfrm>
        </p:grpSpPr>
        <p:sp>
          <p:nvSpPr>
            <p:cNvPr id="3" name="矩形 2"/>
            <p:cNvSpPr/>
            <p:nvPr/>
          </p:nvSpPr>
          <p:spPr>
            <a:xfrm>
              <a:off x="3590290" y="1109345"/>
              <a:ext cx="2432685" cy="2059940"/>
            </a:xfrm>
            <a:prstGeom prst="rect">
              <a:avLst/>
            </a:prstGeom>
            <a:solidFill>
              <a:schemeClr val="tx2">
                <a:lumMod val="20000"/>
                <a:lumOff val="80000"/>
                <a:alpha val="6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nSpc>
                  <a:spcPts val="2000"/>
                </a:lnSpc>
              </a:pPr>
              <a:r>
                <a:rPr lang="zh-CN" altLang="en-US" sz="1400" b="1" dirty="0" smtClean="0">
                  <a:solidFill>
                    <a:srgbClr val="FF0000"/>
                  </a:solidFill>
                  <a:latin typeface="微软雅黑" panose="020B0503020204020204" pitchFamily="34" charset="-122"/>
                  <a:ea typeface="微软雅黑" panose="020B0503020204020204" pitchFamily="34" charset="-122"/>
                </a:rPr>
                <a:t>济南中心</a:t>
              </a:r>
              <a:endParaRPr lang="en-US" altLang="zh-CN" sz="1400" b="1" dirty="0" smtClean="0">
                <a:solidFill>
                  <a:srgbClr val="FF0000"/>
                </a:solidFill>
                <a:latin typeface="微软雅黑" panose="020B0503020204020204" pitchFamily="34" charset="-122"/>
                <a:ea typeface="微软雅黑" panose="020B0503020204020204" pitchFamily="34" charset="-122"/>
              </a:endParaRPr>
            </a:p>
            <a:p>
              <a:pPr>
                <a:lnSpc>
                  <a:spcPts val="2000"/>
                </a:lnSpc>
              </a:pPr>
              <a:r>
                <a:rPr lang="zh-CN" altLang="en-US" sz="1400" dirty="0" smtClean="0">
                  <a:solidFill>
                    <a:schemeClr val="tx1"/>
                  </a:solidFill>
                  <a:latin typeface="微软雅黑" panose="020B0503020204020204" pitchFamily="34" charset="-122"/>
                  <a:ea typeface="微软雅黑" panose="020B0503020204020204" pitchFamily="34" charset="-122"/>
                </a:rPr>
                <a:t>由绿城集团、山东高速集团及美国</a:t>
              </a:r>
              <a:r>
                <a:rPr lang="en-US" altLang="zh-CN" sz="1400" dirty="0" smtClean="0">
                  <a:solidFill>
                    <a:schemeClr val="tx1"/>
                  </a:solidFill>
                  <a:latin typeface="微软雅黑" panose="020B0503020204020204" pitchFamily="34" charset="-122"/>
                  <a:ea typeface="微软雅黑" panose="020B0503020204020204" pitchFamily="34" charset="-122"/>
                </a:rPr>
                <a:t>KPF</a:t>
              </a:r>
              <a:r>
                <a:rPr lang="zh-CN" altLang="en-US" sz="1400" dirty="0" smtClean="0">
                  <a:solidFill>
                    <a:schemeClr val="tx1"/>
                  </a:solidFill>
                  <a:latin typeface="微软雅黑" panose="020B0503020204020204" pitchFamily="34" charset="-122"/>
                  <a:ea typeface="微软雅黑" panose="020B0503020204020204" pitchFamily="34" charset="-122"/>
                </a:rPr>
                <a:t>联合出品，济南首屈一指的地标综合体，该项目采用我司</a:t>
              </a:r>
              <a:r>
                <a:rPr lang="en-US" altLang="zh-CN" sz="1400" dirty="0" smtClean="0">
                  <a:solidFill>
                    <a:schemeClr val="tx1"/>
                  </a:solidFill>
                  <a:latin typeface="微软雅黑" panose="020B0503020204020204" pitchFamily="34" charset="-122"/>
                  <a:ea typeface="微软雅黑" panose="020B0503020204020204" pitchFamily="34" charset="-122"/>
                </a:rPr>
                <a:t>6</a:t>
              </a:r>
              <a:r>
                <a:rPr lang="zh-CN" altLang="en-US" sz="1400" dirty="0" smtClean="0">
                  <a:solidFill>
                    <a:schemeClr val="tx1"/>
                  </a:solidFill>
                  <a:latin typeface="微软雅黑" panose="020B0503020204020204" pitchFamily="34" charset="-122"/>
                  <a:ea typeface="微软雅黑" panose="020B0503020204020204" pitchFamily="34" charset="-122"/>
                </a:rPr>
                <a:t>米速度</a:t>
              </a:r>
              <a:r>
                <a:rPr lang="en-US" altLang="zh-CN" sz="1400" dirty="0" smtClean="0">
                  <a:solidFill>
                    <a:schemeClr val="tx1"/>
                  </a:solidFill>
                  <a:latin typeface="微软雅黑" panose="020B0503020204020204" pitchFamily="34" charset="-122"/>
                  <a:ea typeface="微软雅黑" panose="020B0503020204020204" pitchFamily="34" charset="-122"/>
                </a:rPr>
                <a:t>UVF</a:t>
              </a:r>
              <a:r>
                <a:rPr lang="zh-CN" altLang="en-US" sz="1400" dirty="0" smtClean="0">
                  <a:solidFill>
                    <a:schemeClr val="tx1"/>
                  </a:solidFill>
                  <a:latin typeface="微软雅黑" panose="020B0503020204020204" pitchFamily="34" charset="-122"/>
                  <a:ea typeface="微软雅黑" panose="020B0503020204020204" pitchFamily="34" charset="-122"/>
                </a:rPr>
                <a:t>电梯</a:t>
              </a:r>
              <a:r>
                <a:rPr lang="en-US" altLang="zh-CN" sz="1400" dirty="0" smtClean="0">
                  <a:solidFill>
                    <a:schemeClr val="tx1"/>
                  </a:solidFill>
                  <a:latin typeface="微软雅黑" panose="020B0503020204020204" pitchFamily="34" charset="-122"/>
                  <a:ea typeface="微软雅黑" panose="020B0503020204020204" pitchFamily="34" charset="-122"/>
                </a:rPr>
                <a:t>7</a:t>
              </a:r>
              <a:r>
                <a:rPr lang="zh-CN" altLang="en-US" sz="1400" dirty="0" smtClean="0">
                  <a:solidFill>
                    <a:schemeClr val="tx1"/>
                  </a:solidFill>
                  <a:latin typeface="微软雅黑" panose="020B0503020204020204" pitchFamily="34" charset="-122"/>
                  <a:ea typeface="微软雅黑" panose="020B0503020204020204" pitchFamily="34" charset="-122"/>
                </a:rPr>
                <a:t>台，</a:t>
              </a:r>
              <a:r>
                <a:rPr lang="en-US" altLang="zh-CN" sz="1400" dirty="0" smtClean="0">
                  <a:solidFill>
                    <a:schemeClr val="tx1"/>
                  </a:solidFill>
                  <a:latin typeface="微软雅黑" panose="020B0503020204020204" pitchFamily="34" charset="-122"/>
                  <a:ea typeface="微软雅黑" panose="020B0503020204020204" pitchFamily="34" charset="-122"/>
                </a:rPr>
                <a:t>4</a:t>
              </a:r>
              <a:r>
                <a:rPr lang="zh-CN" altLang="en-US" sz="1400" dirty="0" smtClean="0">
                  <a:solidFill>
                    <a:schemeClr val="tx1"/>
                  </a:solidFill>
                  <a:latin typeface="微软雅黑" panose="020B0503020204020204" pitchFamily="34" charset="-122"/>
                  <a:ea typeface="微软雅黑" panose="020B0503020204020204" pitchFamily="34" charset="-122"/>
                </a:rPr>
                <a:t>米速</a:t>
              </a:r>
              <a:r>
                <a:rPr lang="en-US" altLang="zh-CN" sz="1400" dirty="0" smtClean="0">
                  <a:solidFill>
                    <a:schemeClr val="tx1"/>
                  </a:solidFill>
                  <a:latin typeface="微软雅黑" panose="020B0503020204020204" pitchFamily="34" charset="-122"/>
                  <a:ea typeface="微软雅黑" panose="020B0503020204020204" pitchFamily="34" charset="-122"/>
                </a:rPr>
                <a:t>HCA</a:t>
              </a:r>
              <a:r>
                <a:rPr lang="zh-CN" altLang="en-US" sz="1400" dirty="0" smtClean="0">
                  <a:solidFill>
                    <a:schemeClr val="tx1"/>
                  </a:solidFill>
                  <a:latin typeface="微软雅黑" panose="020B0503020204020204" pitchFamily="34" charset="-122"/>
                  <a:ea typeface="微软雅黑" panose="020B0503020204020204" pitchFamily="34" charset="-122"/>
                </a:rPr>
                <a:t>电梯</a:t>
              </a:r>
              <a:r>
                <a:rPr lang="en-US" altLang="zh-CN" sz="1400" dirty="0" smtClean="0">
                  <a:solidFill>
                    <a:schemeClr val="tx1"/>
                  </a:solidFill>
                  <a:latin typeface="微软雅黑" panose="020B0503020204020204" pitchFamily="34" charset="-122"/>
                  <a:ea typeface="微软雅黑" panose="020B0503020204020204" pitchFamily="34" charset="-122"/>
                </a:rPr>
                <a:t>7</a:t>
              </a:r>
              <a:r>
                <a:rPr lang="zh-CN" altLang="en-US" sz="1400" dirty="0" smtClean="0">
                  <a:solidFill>
                    <a:schemeClr val="tx1"/>
                  </a:solidFill>
                  <a:latin typeface="微软雅黑" panose="020B0503020204020204" pitchFamily="34" charset="-122"/>
                  <a:ea typeface="微软雅黑" panose="020B0503020204020204" pitchFamily="34" charset="-122"/>
                </a:rPr>
                <a:t>台</a:t>
              </a:r>
              <a:endParaRPr lang="zh-CN" altLang="en-US" sz="1400" dirty="0">
                <a:solidFill>
                  <a:schemeClr val="tx1"/>
                </a:solidFill>
                <a:latin typeface="微软雅黑" panose="020B0503020204020204" pitchFamily="34" charset="-122"/>
                <a:ea typeface="微软雅黑" panose="020B0503020204020204" pitchFamily="34" charset="-122"/>
              </a:endParaRPr>
            </a:p>
          </p:txBody>
        </p:sp>
        <p:pic>
          <p:nvPicPr>
            <p:cNvPr id="42" name="Picture 2"/>
            <p:cNvPicPr>
              <a:picLocks noChangeAspect="1" noChangeArrowheads="1"/>
            </p:cNvPicPr>
            <p:nvPr/>
          </p:nvPicPr>
          <p:blipFill rotWithShape="1">
            <a:blip r:embed="rId1">
              <a:extLst>
                <a:ext uri="{28A0092B-C50C-407E-A947-70E740481C1C}">
                  <a14:useLocalDpi xmlns:a14="http://schemas.microsoft.com/office/drawing/2010/main" val="0"/>
                </a:ext>
              </a:extLst>
            </a:blip>
            <a:srcRect b="28726"/>
            <a:stretch>
              <a:fillRect/>
            </a:stretch>
          </p:blipFill>
          <p:spPr bwMode="auto">
            <a:xfrm>
              <a:off x="929005" y="1109345"/>
              <a:ext cx="2372995" cy="4571365"/>
            </a:xfrm>
            <a:prstGeom prst="rect">
              <a:avLst/>
            </a:prstGeom>
            <a:noFill/>
            <a:extLst>
              <a:ext uri="{909E8E84-426E-40DD-AFC4-6F175D3DCCD1}">
                <a14:hiddenFill xmlns:a14="http://schemas.microsoft.com/office/drawing/2010/main">
                  <a:solidFill>
                    <a:srgbClr val="FFFFFF"/>
                  </a:solidFill>
                </a14:hiddenFill>
              </a:ext>
            </a:extLst>
          </p:spPr>
        </p:pic>
        <p:sp>
          <p:nvSpPr>
            <p:cNvPr id="49" name="矩形 48"/>
            <p:cNvSpPr/>
            <p:nvPr/>
          </p:nvSpPr>
          <p:spPr>
            <a:xfrm>
              <a:off x="6118860" y="1109345"/>
              <a:ext cx="2506980" cy="2059940"/>
            </a:xfrm>
            <a:prstGeom prst="rect">
              <a:avLst/>
            </a:prstGeom>
            <a:solidFill>
              <a:schemeClr val="accent1">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nSpc>
                  <a:spcPts val="2000"/>
                </a:lnSpc>
              </a:pPr>
              <a:r>
                <a:rPr lang="zh-CN" altLang="en-US" sz="1400" b="1" dirty="0" smtClean="0">
                  <a:solidFill>
                    <a:srgbClr val="FF0000"/>
                  </a:solidFill>
                  <a:latin typeface="微软雅黑" panose="020B0503020204020204" pitchFamily="34" charset="-122"/>
                  <a:ea typeface="微软雅黑" panose="020B0503020204020204" pitchFamily="34" charset="-122"/>
                </a:rPr>
                <a:t>汉峪金谷</a:t>
              </a:r>
              <a:endParaRPr lang="en-US" altLang="zh-CN" sz="1400" b="1" dirty="0" smtClean="0">
                <a:solidFill>
                  <a:srgbClr val="FF0000"/>
                </a:solidFill>
                <a:latin typeface="微软雅黑" panose="020B0503020204020204" pitchFamily="34" charset="-122"/>
                <a:ea typeface="微软雅黑" panose="020B0503020204020204" pitchFamily="34" charset="-122"/>
              </a:endParaRPr>
            </a:p>
            <a:p>
              <a:pPr>
                <a:lnSpc>
                  <a:spcPts val="2000"/>
                </a:lnSpc>
              </a:pPr>
              <a:r>
                <a:rPr lang="zh-CN" altLang="en-US" sz="1400" dirty="0" smtClean="0">
                  <a:solidFill>
                    <a:schemeClr val="tx1"/>
                  </a:solidFill>
                  <a:latin typeface="微软雅黑" panose="020B0503020204020204" pitchFamily="34" charset="-122"/>
                  <a:ea typeface="微软雅黑" panose="020B0503020204020204" pitchFamily="34" charset="-122"/>
                </a:rPr>
                <a:t>汉峪金谷是济南打造区域性金融中心的破题之作，也是</a:t>
              </a:r>
              <a:r>
                <a:rPr lang="zh-CN" altLang="en-US" sz="1400" dirty="0" smtClean="0">
                  <a:solidFill>
                    <a:schemeClr val="tx1"/>
                  </a:solidFill>
                  <a:latin typeface="微软雅黑" panose="020B0503020204020204" pitchFamily="34" charset="-122"/>
                  <a:ea typeface="微软雅黑" panose="020B0503020204020204" pitchFamily="34" charset="-122"/>
                  <a:sym typeface="+mn-ea"/>
                </a:rPr>
                <a:t>建设</a:t>
              </a:r>
              <a:r>
                <a:rPr lang="zh-CN" altLang="en-US" sz="1400" dirty="0" smtClean="0">
                  <a:solidFill>
                    <a:schemeClr val="tx1"/>
                  </a:solidFill>
                  <a:latin typeface="微软雅黑" panose="020B0503020204020204" pitchFamily="34" charset="-122"/>
                  <a:ea typeface="微软雅黑" panose="020B0503020204020204" pitchFamily="34" charset="-122"/>
                </a:rPr>
                <a:t>高新区实现“打造济南首位经济、全国一流高新区”目标的重要支撑之一，该项目总计采用我司</a:t>
              </a:r>
              <a:r>
                <a:rPr lang="en-US" altLang="zh-CN" sz="1400" dirty="0" smtClean="0">
                  <a:solidFill>
                    <a:schemeClr val="tx1"/>
                  </a:solidFill>
                  <a:latin typeface="微软雅黑" panose="020B0503020204020204" pitchFamily="34" charset="-122"/>
                  <a:ea typeface="微软雅黑" panose="020B0503020204020204" pitchFamily="34" charset="-122"/>
                </a:rPr>
                <a:t>176</a:t>
              </a:r>
              <a:r>
                <a:rPr lang="zh-CN" altLang="en-US" sz="1400" dirty="0" smtClean="0">
                  <a:solidFill>
                    <a:schemeClr val="tx1"/>
                  </a:solidFill>
                  <a:latin typeface="微软雅黑" panose="020B0503020204020204" pitchFamily="34" charset="-122"/>
                  <a:ea typeface="微软雅黑" panose="020B0503020204020204" pitchFamily="34" charset="-122"/>
                </a:rPr>
                <a:t>台三大件及进口各型号高端梯 </a:t>
              </a:r>
              <a:r>
                <a:rPr lang="zh-CN" altLang="en-US" sz="1200" dirty="0" smtClean="0">
                  <a:solidFill>
                    <a:schemeClr val="tx1"/>
                  </a:solidFill>
                  <a:latin typeface="微软雅黑" panose="020B0503020204020204" pitchFamily="34" charset="-122"/>
                  <a:ea typeface="微软雅黑" panose="020B0503020204020204" pitchFamily="34" charset="-122"/>
                </a:rPr>
                <a:t>                                           </a:t>
              </a:r>
              <a:endParaRPr lang="zh-CN" altLang="en-US" sz="1200" dirty="0">
                <a:solidFill>
                  <a:schemeClr val="tx1"/>
                </a:solidFill>
              </a:endParaRPr>
            </a:p>
          </p:txBody>
        </p:sp>
        <p:sp>
          <p:nvSpPr>
            <p:cNvPr id="50" name="矩形 49"/>
            <p:cNvSpPr/>
            <p:nvPr/>
          </p:nvSpPr>
          <p:spPr>
            <a:xfrm>
              <a:off x="8756650" y="3321685"/>
              <a:ext cx="2428875" cy="2358390"/>
            </a:xfrm>
            <a:prstGeom prst="rect">
              <a:avLst/>
            </a:prstGeom>
            <a:solidFill>
              <a:schemeClr val="tx2">
                <a:lumMod val="20000"/>
                <a:lumOff val="80000"/>
                <a:alpha val="6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a:lnSpc>
                  <a:spcPts val="2000"/>
                </a:lnSpc>
              </a:pPr>
              <a:r>
                <a:rPr lang="zh-CN" altLang="en-US" sz="1400" b="1" dirty="0" smtClean="0">
                  <a:solidFill>
                    <a:srgbClr val="FF0000"/>
                  </a:solidFill>
                  <a:latin typeface="微软雅黑" panose="020B0503020204020204" pitchFamily="34" charset="-122"/>
                  <a:ea typeface="微软雅黑" panose="020B0503020204020204" pitchFamily="34" charset="-122"/>
                </a:rPr>
                <a:t>中海寰宇城</a:t>
              </a:r>
              <a:endParaRPr lang="en-US" altLang="zh-CN" sz="1400" b="1" dirty="0" smtClean="0">
                <a:solidFill>
                  <a:srgbClr val="FF0000"/>
                </a:solidFill>
                <a:latin typeface="微软雅黑" panose="020B0503020204020204" pitchFamily="34" charset="-122"/>
                <a:ea typeface="微软雅黑" panose="020B0503020204020204" pitchFamily="34" charset="-122"/>
              </a:endParaRPr>
            </a:p>
            <a:p>
              <a:pPr>
                <a:lnSpc>
                  <a:spcPts val="2000"/>
                </a:lnSpc>
              </a:pPr>
              <a:r>
                <a:rPr lang="zh-CN" altLang="en-US" sz="1400" dirty="0" smtClean="0">
                  <a:solidFill>
                    <a:schemeClr val="tx1"/>
                  </a:solidFill>
                  <a:latin typeface="微软雅黑" panose="020B0503020204020204" pitchFamily="34" charset="-122"/>
                  <a:ea typeface="微软雅黑" panose="020B0503020204020204" pitchFamily="34" charset="-122"/>
                </a:rPr>
                <a:t>济南中海环宇城商业综合体，济南一站式体验购物中心，该项目采用我司</a:t>
              </a:r>
              <a:r>
                <a:rPr lang="en-US" altLang="zh-CN" sz="1400" dirty="0" smtClean="0">
                  <a:solidFill>
                    <a:schemeClr val="tx1"/>
                  </a:solidFill>
                  <a:latin typeface="微软雅黑" panose="020B0503020204020204" pitchFamily="34" charset="-122"/>
                  <a:ea typeface="微软雅黑" panose="020B0503020204020204" pitchFamily="34" charset="-122"/>
                </a:rPr>
                <a:t>4</a:t>
              </a:r>
              <a:r>
                <a:rPr lang="zh-CN" altLang="en-US" sz="1400" dirty="0" smtClean="0">
                  <a:solidFill>
                    <a:schemeClr val="tx1"/>
                  </a:solidFill>
                  <a:latin typeface="微软雅黑" panose="020B0503020204020204" pitchFamily="34" charset="-122"/>
                  <a:ea typeface="微软雅黑" panose="020B0503020204020204" pitchFamily="34" charset="-122"/>
                </a:rPr>
                <a:t>米速</a:t>
              </a:r>
              <a:r>
                <a:rPr lang="en-US" altLang="zh-CN" sz="1400" dirty="0" smtClean="0">
                  <a:solidFill>
                    <a:schemeClr val="tx1"/>
                  </a:solidFill>
                  <a:latin typeface="微软雅黑" panose="020B0503020204020204" pitchFamily="34" charset="-122"/>
                  <a:ea typeface="微软雅黑" panose="020B0503020204020204" pitchFamily="34" charset="-122"/>
                </a:rPr>
                <a:t>HGH</a:t>
              </a:r>
              <a:r>
                <a:rPr lang="zh-CN" altLang="en-US" sz="1400" dirty="0" smtClean="0">
                  <a:solidFill>
                    <a:schemeClr val="tx1"/>
                  </a:solidFill>
                  <a:latin typeface="微软雅黑" panose="020B0503020204020204" pitchFamily="34" charset="-122"/>
                  <a:ea typeface="微软雅黑" panose="020B0503020204020204" pitchFamily="34" charset="-122"/>
                </a:rPr>
                <a:t>及</a:t>
              </a:r>
              <a:r>
                <a:rPr lang="en-US" altLang="zh-CN" sz="1400" dirty="0" smtClean="0">
                  <a:solidFill>
                    <a:schemeClr val="tx1"/>
                  </a:solidFill>
                  <a:latin typeface="微软雅黑" panose="020B0503020204020204" pitchFamily="34" charset="-122"/>
                  <a:ea typeface="微软雅黑" panose="020B0503020204020204" pitchFamily="34" charset="-122"/>
                </a:rPr>
                <a:t>HGM</a:t>
              </a:r>
              <a:r>
                <a:rPr lang="zh-CN" altLang="en-US" sz="1400" dirty="0" smtClean="0">
                  <a:solidFill>
                    <a:schemeClr val="tx1"/>
                  </a:solidFill>
                  <a:latin typeface="微软雅黑" panose="020B0503020204020204" pitchFamily="34" charset="-122"/>
                  <a:ea typeface="微软雅黑" panose="020B0503020204020204" pitchFamily="34" charset="-122"/>
                </a:rPr>
                <a:t>电梯总计</a:t>
              </a:r>
              <a:r>
                <a:rPr lang="en-US" altLang="zh-CN" sz="1400" dirty="0" smtClean="0">
                  <a:solidFill>
                    <a:schemeClr val="tx1"/>
                  </a:solidFill>
                  <a:latin typeface="微软雅黑" panose="020B0503020204020204" pitchFamily="34" charset="-122"/>
                  <a:ea typeface="微软雅黑" panose="020B0503020204020204" pitchFamily="34" charset="-122"/>
                </a:rPr>
                <a:t>12</a:t>
              </a:r>
              <a:r>
                <a:rPr lang="zh-CN" altLang="en-US" sz="1400" dirty="0" smtClean="0">
                  <a:solidFill>
                    <a:schemeClr val="tx1"/>
                  </a:solidFill>
                  <a:latin typeface="微软雅黑" panose="020B0503020204020204" pitchFamily="34" charset="-122"/>
                  <a:ea typeface="微软雅黑" panose="020B0503020204020204" pitchFamily="34" charset="-122"/>
                </a:rPr>
                <a:t>台，项目总计采用我司各型号电梯</a:t>
              </a:r>
              <a:r>
                <a:rPr lang="en-US" altLang="zh-CN" sz="1400" dirty="0" smtClean="0">
                  <a:solidFill>
                    <a:schemeClr val="tx1"/>
                  </a:solidFill>
                  <a:latin typeface="微软雅黑" panose="020B0503020204020204" pitchFamily="34" charset="-122"/>
                  <a:ea typeface="微软雅黑" panose="020B0503020204020204" pitchFamily="34" charset="-122"/>
                </a:rPr>
                <a:t>46</a:t>
              </a:r>
              <a:r>
                <a:rPr lang="zh-CN" altLang="en-US" sz="1400" dirty="0" smtClean="0">
                  <a:solidFill>
                    <a:schemeClr val="tx1"/>
                  </a:solidFill>
                  <a:latin typeface="微软雅黑" panose="020B0503020204020204" pitchFamily="34" charset="-122"/>
                  <a:ea typeface="微软雅黑" panose="020B0503020204020204" pitchFamily="34" charset="-122"/>
                </a:rPr>
                <a:t>台</a:t>
              </a:r>
              <a:endParaRPr lang="zh-CN" altLang="en-US" sz="1400" dirty="0">
                <a:solidFill>
                  <a:schemeClr val="tx1"/>
                </a:solidFill>
              </a:endParaRPr>
            </a:p>
          </p:txBody>
        </p:sp>
      </p:grpSp>
      <p:grpSp>
        <p:nvGrpSpPr>
          <p:cNvPr id="12" name="组合 11"/>
          <p:cNvGrpSpPr/>
          <p:nvPr/>
        </p:nvGrpSpPr>
        <p:grpSpPr>
          <a:xfrm>
            <a:off x="3590290" y="1109345"/>
            <a:ext cx="7595235" cy="4570730"/>
            <a:chOff x="3590290" y="1109345"/>
            <a:chExt cx="7595235" cy="4570730"/>
          </a:xfrm>
        </p:grpSpPr>
        <p:pic>
          <p:nvPicPr>
            <p:cNvPr id="14" name="Picture 2"/>
            <p:cNvPicPr>
              <a:picLocks noChangeAspect="1" noChangeArrowheads="1"/>
            </p:cNvPicPr>
            <p:nvPr/>
          </p:nvPicPr>
          <p:blipFill>
            <a:blip r:embed="rId2" cstate="print"/>
            <a:srcRect/>
            <a:stretch>
              <a:fillRect/>
            </a:stretch>
          </p:blipFill>
          <p:spPr bwMode="auto">
            <a:xfrm>
              <a:off x="3590290" y="3321685"/>
              <a:ext cx="2432685" cy="2358390"/>
            </a:xfrm>
            <a:prstGeom prst="rect">
              <a:avLst/>
            </a:prstGeom>
            <a:noFill/>
            <a:ln w="9525">
              <a:noFill/>
              <a:miter lim="800000"/>
              <a:headEnd/>
              <a:tailEnd/>
            </a:ln>
            <a:effectLst/>
          </p:spPr>
        </p:pic>
        <p:pic>
          <p:nvPicPr>
            <p:cNvPr id="18" name="Picture 2"/>
            <p:cNvPicPr>
              <a:picLocks noChangeAspect="1" noChangeArrowheads="1"/>
            </p:cNvPicPr>
            <p:nvPr/>
          </p:nvPicPr>
          <p:blipFill>
            <a:blip r:embed="rId3" cstate="print"/>
            <a:srcRect/>
            <a:stretch>
              <a:fillRect/>
            </a:stretch>
          </p:blipFill>
          <p:spPr bwMode="auto">
            <a:xfrm>
              <a:off x="6176010" y="3321685"/>
              <a:ext cx="2449195" cy="2358390"/>
            </a:xfrm>
            <a:prstGeom prst="rect">
              <a:avLst/>
            </a:prstGeom>
            <a:noFill/>
            <a:ln w="9525">
              <a:noFill/>
              <a:miter lim="800000"/>
              <a:headEnd/>
              <a:tailEnd/>
            </a:ln>
            <a:effectLst/>
          </p:spPr>
        </p:pic>
        <p:pic>
          <p:nvPicPr>
            <p:cNvPr id="20" name="Picture 4"/>
            <p:cNvPicPr>
              <a:picLocks noChangeAspect="1" noChangeArrowheads="1"/>
            </p:cNvPicPr>
            <p:nvPr/>
          </p:nvPicPr>
          <p:blipFill>
            <a:blip r:embed="rId4" cstate="print"/>
            <a:srcRect/>
            <a:stretch>
              <a:fillRect/>
            </a:stretch>
          </p:blipFill>
          <p:spPr bwMode="auto">
            <a:xfrm>
              <a:off x="8756650" y="1109345"/>
              <a:ext cx="2428875" cy="2114550"/>
            </a:xfrm>
            <a:prstGeom prst="rect">
              <a:avLst/>
            </a:prstGeom>
            <a:noFill/>
            <a:ln w="9525">
              <a:noFill/>
              <a:miter lim="800000"/>
              <a:headEnd/>
              <a:tailEnd/>
            </a:ln>
            <a:effectLst/>
          </p:spPr>
        </p:pic>
      </p:grpSp>
      <p:sp>
        <p:nvSpPr>
          <p:cNvPr id="11" name="TextBox 10"/>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sz="2400" b="1" dirty="0" smtClean="0">
              <a:latin typeface="微软雅黑" panose="020B0503020204020204" pitchFamily="34" charset="-122"/>
              <a:ea typeface="微软雅黑" panose="020B0503020204020204" pitchFamily="34" charset="-122"/>
            </a:endParaRPr>
          </a:p>
        </p:txBody>
      </p:sp>
    </p:spTree>
    <p:custDataLst>
      <p:tags r:id="rId5"/>
    </p:custDataLst>
  </p:cSld>
  <p:clrMapOvr>
    <a:masterClrMapping/>
  </p:clrMapOvr>
  <mc:AlternateContent xmlns:mc="http://schemas.openxmlformats.org/markup-compatibility/2006">
    <mc:Choice xmlns:p14="http://schemas.microsoft.com/office/powerpoint/2010/main" Requires="p14">
      <p:transition spd="slow" p14:dur="1300" advTm="3678">
        <p14:pan/>
      </p:transition>
    </mc:Choice>
    <mc:Fallback>
      <p:transition spd="slow" advTm="367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wipe(up)">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30" name="TextBox 29"/>
          <p:cNvSpPr txBox="1"/>
          <p:nvPr/>
        </p:nvSpPr>
        <p:spPr>
          <a:xfrm>
            <a:off x="2951934" y="2714620"/>
            <a:ext cx="6715172" cy="923330"/>
          </a:xfrm>
          <a:prstGeom prst="rect">
            <a:avLst/>
          </a:prstGeom>
          <a:noFill/>
        </p:spPr>
        <p:txBody>
          <a:bodyPr wrap="square" rtlCol="0" anchor="ctr">
            <a:spAutoFit/>
          </a:bodyPr>
          <a:lstStyle/>
          <a:p>
            <a:r>
              <a:rPr lang="zh-CN" altLang="en-US" sz="5400" dirty="0" smtClean="0">
                <a:solidFill>
                  <a:srgbClr val="C00000"/>
                </a:solidFill>
                <a:latin typeface="微软雅黑" panose="020B0503020204020204" pitchFamily="34" charset="-122"/>
                <a:ea typeface="微软雅黑" panose="020B0503020204020204" pitchFamily="34" charset="-122"/>
              </a:rPr>
              <a:t>日 立 知 多 少 </a:t>
            </a:r>
            <a:r>
              <a:rPr lang="en-US" altLang="zh-CN" sz="5400" dirty="0" smtClean="0">
                <a:solidFill>
                  <a:srgbClr val="C00000"/>
                </a:solidFill>
                <a:latin typeface="微软雅黑" panose="020B0503020204020204" pitchFamily="34" charset="-122"/>
                <a:ea typeface="微软雅黑" panose="020B0503020204020204" pitchFamily="34" charset="-122"/>
              </a:rPr>
              <a:t>……</a:t>
            </a:r>
            <a:endParaRPr lang="zh-CN" altLang="en-US" sz="5400" dirty="0" smtClean="0">
              <a:solidFill>
                <a:srgbClr val="C00000"/>
              </a:solidFill>
              <a:latin typeface="微软雅黑" panose="020B0503020204020204" pitchFamily="34" charset="-122"/>
              <a:ea typeface="微软雅黑" panose="020B0503020204020204" pitchFamily="34" charset="-122"/>
            </a:endParaRPr>
          </a:p>
        </p:txBody>
      </p:sp>
      <p:pic>
        <p:nvPicPr>
          <p:cNvPr id="6" name="图片 5" descr="6DDA8`3TKV5XVC[GKYHNVT3">
            <a:hlinkClick r:id="rId1" action="ppaction://hlinkfile"/>
          </p:cNvPr>
          <p:cNvPicPr>
            <a:picLocks noChangeAspect="1"/>
          </p:cNvPicPr>
          <p:nvPr/>
        </p:nvPicPr>
        <p:blipFill>
          <a:blip r:embed="rId2"/>
          <a:stretch>
            <a:fillRect/>
          </a:stretch>
        </p:blipFill>
        <p:spPr>
          <a:xfrm>
            <a:off x="11557635" y="6223000"/>
            <a:ext cx="628650" cy="628650"/>
          </a:xfrm>
          <a:prstGeom prst="rect">
            <a:avLst/>
          </a:prstGeom>
          <a:solidFill>
            <a:schemeClr val="accent1">
              <a:lumMod val="40000"/>
              <a:lumOff val="60000"/>
            </a:schemeClr>
          </a:solidFill>
        </p:spPr>
      </p:pic>
    </p:spTree>
  </p:cSld>
  <p:clrMapOvr>
    <a:masterClrMapping/>
  </p:clrMapOvr>
  <mc:AlternateContent xmlns:mc="http://schemas.openxmlformats.org/markup-compatibility/2006">
    <mc:Choice xmlns:p14="http://schemas.microsoft.com/office/powerpoint/2010/main" Requires="p14">
      <p:transition spd="slow" p14:dur="1300" advTm="3168">
        <p14:pan/>
      </p:transition>
    </mc:Choice>
    <mc:Fallback>
      <p:transition spd="slow" advTm="3168">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10"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p:cTn id="7" dur="1000" fill="hold"/>
                                        <p:tgtEl>
                                          <p:spTgt spid="30"/>
                                        </p:tgtEl>
                                        <p:attrNameLst>
                                          <p:attrName>ppt_w</p:attrName>
                                        </p:attrNameLst>
                                      </p:cBhvr>
                                      <p:tavLst>
                                        <p:tav tm="0">
                                          <p:val>
                                            <p:fltVal val="0"/>
                                          </p:val>
                                        </p:tav>
                                        <p:tav tm="100000">
                                          <p:val>
                                            <p:strVal val="#ppt_w"/>
                                          </p:val>
                                        </p:tav>
                                      </p:tavLst>
                                    </p:anim>
                                    <p:anim calcmode="lin" valueType="num">
                                      <p:cBhvr>
                                        <p:cTn id="8" dur="1000" fill="hold"/>
                                        <p:tgtEl>
                                          <p:spTgt spid="30"/>
                                        </p:tgtEl>
                                        <p:attrNameLst>
                                          <p:attrName>ppt_h</p:attrName>
                                        </p:attrNameLst>
                                      </p:cBhvr>
                                      <p:tavLst>
                                        <p:tav tm="0">
                                          <p:val>
                                            <p:fltVal val="0"/>
                                          </p:val>
                                        </p:tav>
                                        <p:tav tm="100000">
                                          <p:val>
                                            <p:strVal val="#ppt_h"/>
                                          </p:val>
                                        </p:tav>
                                      </p:tavLst>
                                    </p:anim>
                                    <p:anim calcmode="lin" valueType="num">
                                      <p:cBhvr>
                                        <p:cTn id="9" dur="1000" fill="hold"/>
                                        <p:tgtEl>
                                          <p:spTgt spid="30"/>
                                        </p:tgtEl>
                                        <p:attrNameLst>
                                          <p:attrName>style.rotation</p:attrName>
                                        </p:attrNameLst>
                                      </p:cBhvr>
                                      <p:tavLst>
                                        <p:tav tm="0">
                                          <p:val>
                                            <p:fltVal val="90"/>
                                          </p:val>
                                        </p:tav>
                                        <p:tav tm="100000">
                                          <p:val>
                                            <p:fltVal val="0"/>
                                          </p:val>
                                        </p:tav>
                                      </p:tavLst>
                                    </p:anim>
                                    <p:animEffect transition="in" filter="fade">
                                      <p:cBhvr>
                                        <p:cTn id="10"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0" grpId="1"/>
      <p:bldP spid="30" grpId="2"/>
      <p:bldP spid="30" grpId="3"/>
      <p:bldP spid="30" grpId="4"/>
      <p:bldP spid="30" grpId="5"/>
      <p:bldP spid="30" grpId="6"/>
      <p:bldP spid="30" grpId="7"/>
      <p:bldP spid="30" grpId="8"/>
      <p:bldP spid="30" grpId="9"/>
      <p:bldP spid="30" grpId="1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0" y="-1"/>
            <a:ext cx="1443043" cy="6858001"/>
            <a:chOff x="0" y="-1"/>
            <a:chExt cx="1443043" cy="6858001"/>
          </a:xfrm>
        </p:grpSpPr>
        <p:sp>
          <p:nvSpPr>
            <p:cNvPr id="3" name="任意多边形 2"/>
            <p:cNvSpPr/>
            <p:nvPr/>
          </p:nvSpPr>
          <p:spPr>
            <a:xfrm rot="16200000" flipV="1">
              <a:off x="-2408598" y="2408598"/>
              <a:ext cx="6260239" cy="1443042"/>
            </a:xfrm>
            <a:custGeom>
              <a:avLst/>
              <a:gdLst>
                <a:gd name="connsiteX0" fmla="*/ 6260239 w 6260239"/>
                <a:gd name="connsiteY0" fmla="*/ 1443042 h 1443042"/>
                <a:gd name="connsiteX1" fmla="*/ 6260239 w 6260239"/>
                <a:gd name="connsiteY1" fmla="*/ 1370077 h 1443042"/>
                <a:gd name="connsiteX2" fmla="*/ 3239468 w 6260239"/>
                <a:gd name="connsiteY2" fmla="*/ 0 h 1443042"/>
                <a:gd name="connsiteX3" fmla="*/ 0 w 6260239"/>
                <a:gd name="connsiteY3" fmla="*/ 1443042 h 1443042"/>
              </a:gdLst>
              <a:ahLst/>
              <a:cxnLst>
                <a:cxn ang="0">
                  <a:pos x="connsiteX0" y="connsiteY0"/>
                </a:cxn>
                <a:cxn ang="0">
                  <a:pos x="connsiteX1" y="connsiteY1"/>
                </a:cxn>
                <a:cxn ang="0">
                  <a:pos x="connsiteX2" y="connsiteY2"/>
                </a:cxn>
                <a:cxn ang="0">
                  <a:pos x="connsiteX3" y="connsiteY3"/>
                </a:cxn>
              </a:cxnLst>
              <a:rect l="l" t="t" r="r" b="b"/>
              <a:pathLst>
                <a:path w="6260239" h="1443042">
                  <a:moveTo>
                    <a:pt x="6260239" y="1443042"/>
                  </a:moveTo>
                  <a:lnTo>
                    <a:pt x="6260239" y="1370077"/>
                  </a:lnTo>
                  <a:lnTo>
                    <a:pt x="3239468" y="0"/>
                  </a:lnTo>
                  <a:lnTo>
                    <a:pt x="0" y="1443042"/>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任意多边形 1"/>
            <p:cNvSpPr/>
            <p:nvPr/>
          </p:nvSpPr>
          <p:spPr>
            <a:xfrm rot="16200000" flipV="1">
              <a:off x="-2476738" y="2938220"/>
              <a:ext cx="6396518" cy="1443041"/>
            </a:xfrm>
            <a:custGeom>
              <a:avLst/>
              <a:gdLst>
                <a:gd name="connsiteX0" fmla="*/ 6396518 w 6396518"/>
                <a:gd name="connsiteY0" fmla="*/ 1443041 h 1443041"/>
                <a:gd name="connsiteX1" fmla="*/ 3214875 w 6396518"/>
                <a:gd name="connsiteY1" fmla="*/ 0 h 1443041"/>
                <a:gd name="connsiteX2" fmla="*/ 0 w 6396518"/>
                <a:gd name="connsiteY2" fmla="*/ 1432086 h 1443041"/>
                <a:gd name="connsiteX3" fmla="*/ 0 w 6396518"/>
                <a:gd name="connsiteY3" fmla="*/ 1443041 h 1443041"/>
              </a:gdLst>
              <a:ahLst/>
              <a:cxnLst>
                <a:cxn ang="0">
                  <a:pos x="connsiteX0" y="connsiteY0"/>
                </a:cxn>
                <a:cxn ang="0">
                  <a:pos x="connsiteX1" y="connsiteY1"/>
                </a:cxn>
                <a:cxn ang="0">
                  <a:pos x="connsiteX2" y="connsiteY2"/>
                </a:cxn>
                <a:cxn ang="0">
                  <a:pos x="connsiteX3" y="connsiteY3"/>
                </a:cxn>
              </a:cxnLst>
              <a:rect l="l" t="t" r="r" b="b"/>
              <a:pathLst>
                <a:path w="6396518" h="1443041">
                  <a:moveTo>
                    <a:pt x="6396518" y="1443041"/>
                  </a:moveTo>
                  <a:lnTo>
                    <a:pt x="3214875" y="0"/>
                  </a:lnTo>
                  <a:lnTo>
                    <a:pt x="0" y="1432086"/>
                  </a:lnTo>
                  <a:lnTo>
                    <a:pt x="0" y="1443041"/>
                  </a:ln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 name="TextBox 4"/>
          <p:cNvSpPr txBox="1"/>
          <p:nvPr/>
        </p:nvSpPr>
        <p:spPr>
          <a:xfrm>
            <a:off x="1666050" y="2000240"/>
            <a:ext cx="8715436" cy="369332"/>
          </a:xfrm>
          <a:prstGeom prst="rect">
            <a:avLst/>
          </a:prstGeom>
          <a:noFill/>
        </p:spPr>
        <p:txBody>
          <a:bodyPr wrap="square" rtlCol="0" anchor="ctr">
            <a:spAutoFit/>
          </a:bodyPr>
          <a:lstStyle/>
          <a:p>
            <a:endParaRPr lang="zh-CN" altLang="en-US" dirty="0" smtClean="0">
              <a:latin typeface="微软雅黑" panose="020B0503020204020204" pitchFamily="34" charset="-122"/>
              <a:ea typeface="微软雅黑" panose="020B0503020204020204" pitchFamily="34" charset="-122"/>
            </a:endParaRPr>
          </a:p>
        </p:txBody>
      </p:sp>
      <p:sp>
        <p:nvSpPr>
          <p:cNvPr id="6" name="矩形 5"/>
          <p:cNvSpPr/>
          <p:nvPr/>
        </p:nvSpPr>
        <p:spPr>
          <a:xfrm>
            <a:off x="3594876" y="2285992"/>
            <a:ext cx="6429420" cy="2185214"/>
          </a:xfrm>
          <a:prstGeom prst="rect">
            <a:avLst/>
          </a:prstGeom>
        </p:spPr>
        <p:txBody>
          <a:bodyPr wrap="square">
            <a:spAutoFit/>
          </a:bodyPr>
          <a:lstStyle/>
          <a:p>
            <a:pPr lvl="0"/>
            <a:r>
              <a:rPr lang="en-US" altLang="x-none" sz="4800" dirty="0" smtClean="0">
                <a:latin typeface="微软雅黑" panose="020B0503020204020204" pitchFamily="34" charset="-122"/>
                <a:ea typeface="微软雅黑" panose="020B0503020204020204" pitchFamily="34" charset="-122"/>
              </a:rPr>
              <a:t>CHAPTER  </a:t>
            </a:r>
            <a:r>
              <a:rPr lang="en-US" altLang="zh-CN" sz="4800" dirty="0" smtClean="0">
                <a:latin typeface="微软雅黑" panose="020B0503020204020204" pitchFamily="34" charset="-122"/>
                <a:ea typeface="微软雅黑" panose="020B0503020204020204" pitchFamily="34" charset="-122"/>
              </a:rPr>
              <a:t>TWO</a:t>
            </a:r>
            <a:endParaRPr lang="en-US" altLang="x-none" sz="4800" dirty="0" smtClean="0">
              <a:latin typeface="微软雅黑" panose="020B0503020204020204" pitchFamily="34" charset="-122"/>
              <a:ea typeface="微软雅黑" panose="020B0503020204020204" pitchFamily="34" charset="-122"/>
            </a:endParaRPr>
          </a:p>
          <a:p>
            <a:pPr lvl="0"/>
            <a:endParaRPr lang="en-US" altLang="zh-CN" sz="4800" b="1" dirty="0" smtClean="0">
              <a:latin typeface="微软雅黑" panose="020B0503020204020204" pitchFamily="34" charset="-122"/>
              <a:ea typeface="微软雅黑" panose="020B0503020204020204" pitchFamily="34" charset="-122"/>
            </a:endParaRPr>
          </a:p>
          <a:p>
            <a:pPr lvl="0"/>
            <a:r>
              <a:rPr lang="zh-CN" altLang="en-US" sz="4000" dirty="0" smtClean="0">
                <a:latin typeface="Segoe UI Light" panose="020B0502040204020203" pitchFamily="2" charset="0"/>
                <a:ea typeface="微软雅黑" panose="020B0503020204020204" pitchFamily="34" charset="-122"/>
              </a:rPr>
              <a:t> 人才培养机制</a:t>
            </a:r>
            <a:endParaRPr lang="zh-CN" altLang="en-US" sz="4000" dirty="0">
              <a:latin typeface="Segoe UI Light" panose="020B0502040204020203" pitchFamily="2" charset="0"/>
              <a:ea typeface="微软雅黑" panose="020B0503020204020204" pitchFamily="34" charset="-122"/>
            </a:endParaRPr>
          </a:p>
        </p:txBody>
      </p:sp>
      <p:pic>
        <p:nvPicPr>
          <p:cNvPr id="4" name="图片 3" descr="6DDA8`3TKV5XVC[GKYHNVT3">
            <a:hlinkClick r:id="rId1" action="ppaction://hlinkfile"/>
          </p:cNvPr>
          <p:cNvPicPr>
            <a:picLocks noChangeAspect="1"/>
          </p:cNvPicPr>
          <p:nvPr/>
        </p:nvPicPr>
        <p:blipFill>
          <a:blip r:embed="rId2"/>
          <a:stretch>
            <a:fillRect/>
          </a:stretch>
        </p:blipFill>
        <p:spPr>
          <a:xfrm>
            <a:off x="11557635" y="6223000"/>
            <a:ext cx="628650" cy="628650"/>
          </a:xfrm>
          <a:prstGeom prst="rect">
            <a:avLst/>
          </a:prstGeom>
          <a:solidFill>
            <a:schemeClr val="accent1">
              <a:lumMod val="40000"/>
              <a:lumOff val="60000"/>
            </a:schemeClr>
          </a:solidFill>
        </p:spPr>
      </p:pic>
    </p:spTree>
  </p:cSld>
  <p:clrMapOvr>
    <a:masterClrMapping/>
  </p:clrMapOvr>
  <mc:AlternateContent xmlns:mc="http://schemas.openxmlformats.org/markup-compatibility/2006">
    <mc:Choice xmlns:p14="http://schemas.microsoft.com/office/powerpoint/2010/main" Requires="p14">
      <p:transition p14:dur="10" advClick="0" advTm="3178"/>
    </mc:Choice>
    <mc:Fallback>
      <p:transition advClick="0" advTm="31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3" name="三角形 7"/>
          <p:cNvSpPr/>
          <p:nvPr/>
        </p:nvSpPr>
        <p:spPr>
          <a:xfrm>
            <a:off x="-19050" y="980440"/>
            <a:ext cx="12192000" cy="935990"/>
          </a:xfrm>
          <a:prstGeom prst="triangle">
            <a:avLst/>
          </a:prstGeom>
          <a:gradFill>
            <a:gsLst>
              <a:gs pos="0">
                <a:srgbClr val="5E9EFF"/>
              </a:gs>
              <a:gs pos="39999">
                <a:srgbClr val="85C2FF"/>
              </a:gs>
              <a:gs pos="70000">
                <a:srgbClr val="C4D6EB"/>
              </a:gs>
              <a:gs pos="100000">
                <a:srgbClr val="FFEBFA"/>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kumimoji="1" lang="zh-CN" altLang="en-US" sz="2000" b="1" dirty="0" smtClean="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无所畏</a:t>
            </a:r>
            <a:r>
              <a:rPr kumimoji="1"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有所为</a:t>
            </a:r>
            <a:endParaRPr kumimoji="1" lang="en-US" altLang="zh-CN"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5" name="矩形 4"/>
          <p:cNvSpPr/>
          <p:nvPr/>
        </p:nvSpPr>
        <p:spPr>
          <a:xfrm>
            <a:off x="4175760" y="2132965"/>
            <a:ext cx="3744595" cy="504190"/>
          </a:xfrm>
          <a:prstGeom prst="rect">
            <a:avLst/>
          </a:prstGeom>
          <a:gradFill>
            <a:gsLst>
              <a:gs pos="0">
                <a:srgbClr val="5E9EFF"/>
              </a:gs>
              <a:gs pos="39999">
                <a:srgbClr val="85C2FF"/>
              </a:gs>
              <a:gs pos="70000">
                <a:srgbClr val="C4D6EB"/>
              </a:gs>
              <a:gs pos="100000">
                <a:srgbClr val="FFEBFA"/>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lnSpc>
                <a:spcPct val="150000"/>
              </a:lnSpc>
              <a:spcBef>
                <a:spcPts val="0"/>
              </a:spcBef>
              <a:spcAft>
                <a:spcPts val="0"/>
              </a:spcAft>
              <a:defRPr/>
            </a:pPr>
            <a:r>
              <a:rPr kumimoji="1"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家</a:t>
            </a:r>
            <a:endParaRPr kumimoji="1"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 name="矩形 5"/>
          <p:cNvSpPr/>
          <p:nvPr/>
        </p:nvSpPr>
        <p:spPr>
          <a:xfrm>
            <a:off x="73660" y="2132965"/>
            <a:ext cx="3784109" cy="510217"/>
          </a:xfrm>
          <a:prstGeom prst="rect">
            <a:avLst/>
          </a:prstGeom>
          <a:gradFill>
            <a:gsLst>
              <a:gs pos="0">
                <a:srgbClr val="5E9EFF"/>
              </a:gs>
              <a:gs pos="39999">
                <a:srgbClr val="85C2FF"/>
              </a:gs>
              <a:gs pos="70000">
                <a:srgbClr val="C4D6EB"/>
              </a:gs>
              <a:gs pos="100000">
                <a:srgbClr val="FFEBFA"/>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kumimoji="1"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平台</a:t>
            </a:r>
            <a:endParaRPr kumimoji="1"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7" name="矩形 6"/>
          <p:cNvSpPr/>
          <p:nvPr/>
        </p:nvSpPr>
        <p:spPr>
          <a:xfrm>
            <a:off x="8231505" y="2132965"/>
            <a:ext cx="3648710" cy="504190"/>
          </a:xfrm>
          <a:prstGeom prst="rect">
            <a:avLst/>
          </a:prstGeom>
          <a:gradFill>
            <a:gsLst>
              <a:gs pos="0">
                <a:srgbClr val="5E9EFF"/>
              </a:gs>
              <a:gs pos="39999">
                <a:srgbClr val="85C2FF"/>
              </a:gs>
              <a:gs pos="70000">
                <a:srgbClr val="C4D6EB"/>
              </a:gs>
              <a:gs pos="100000">
                <a:srgbClr val="FFEBFA"/>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kumimoji="1"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未来</a:t>
            </a:r>
            <a:endParaRPr kumimoji="1" lang="zh-CN" altLang="en-US" sz="20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文本框 17"/>
          <p:cNvSpPr txBox="1"/>
          <p:nvPr/>
        </p:nvSpPr>
        <p:spPr>
          <a:xfrm>
            <a:off x="4237818" y="2857496"/>
            <a:ext cx="3360420" cy="3708400"/>
          </a:xfrm>
          <a:prstGeom prst="rect">
            <a:avLst/>
          </a:prstGeom>
          <a:noFill/>
        </p:spPr>
        <p:txBody>
          <a:bodyPr wrap="square">
            <a:spAutoFit/>
          </a:bodyPr>
          <a:lstStyle/>
          <a:p>
            <a:pPr eaLnBrk="1" fontAlgn="auto" hangingPunct="1">
              <a:lnSpc>
                <a:spcPct val="150000"/>
              </a:lnSpc>
              <a:spcBef>
                <a:spcPts val="0"/>
              </a:spcBef>
              <a:spcAft>
                <a:spcPts val="0"/>
              </a:spcAft>
              <a:defRPr/>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信任和共担</a:t>
            </a:r>
            <a:endParaRPr kumimoji="1" lang="en-US" altLang="zh-CN" sz="1600" b="1"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r>
              <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rPr>
              <a:t>员工之间和各个单元之间互相协同。多元化的人才团队，可以相互学习。</a:t>
            </a: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r>
              <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rPr>
              <a:t>碰到困难挑战有公司、领导和伙伴一起来帮助解决。包容合理试错。</a:t>
            </a: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r>
              <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rPr>
              <a:t>没有阶级观念，互相尊重。每个人都有公平的机会。关爱员工和家人。</a:t>
            </a: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endParaRPr kumimoji="1" lang="zh-CN" altLang="en-US" sz="1600"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endParaRPr kumimoji="1" lang="zh-CN" altLang="en-US" b="1" dirty="0">
              <a:solidFill>
                <a:srgbClr val="C0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1" name="文本框 20"/>
          <p:cNvSpPr txBox="1"/>
          <p:nvPr/>
        </p:nvSpPr>
        <p:spPr>
          <a:xfrm>
            <a:off x="237290" y="2928934"/>
            <a:ext cx="3456305" cy="2923877"/>
          </a:xfrm>
          <a:prstGeom prst="rect">
            <a:avLst/>
          </a:prstGeom>
          <a:noFill/>
        </p:spPr>
        <p:txBody>
          <a:bodyPr wrap="square">
            <a:spAutoFit/>
          </a:bodyPr>
          <a:lstStyle/>
          <a:p>
            <a:pPr eaLnBrk="1" fontAlgn="auto" hangingPunct="1">
              <a:lnSpc>
                <a:spcPct val="150000"/>
              </a:lnSpc>
              <a:spcBef>
                <a:spcPts val="0"/>
              </a:spcBef>
              <a:spcAft>
                <a:spcPts val="0"/>
              </a:spcAft>
              <a:defRPr/>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开拓和创新</a:t>
            </a:r>
            <a:endParaRPr kumimoji="1" lang="en-US" altLang="zh-CN" sz="1600" b="1"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r>
              <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rPr>
              <a:t>在公司这个大平台上，有足够的资源、品牌、产品支持你实现理想。</a:t>
            </a: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eaLnBrk="1" fontAlgn="auto" hangingPunct="1">
              <a:spcBef>
                <a:spcPts val="0"/>
              </a:spcBef>
              <a:spcAft>
                <a:spcPts val="0"/>
              </a:spcAft>
              <a:defRPr/>
            </a:pP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r>
              <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rPr>
              <a:t>每个人的新创造都能获得相对应的回报。</a:t>
            </a: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eaLnBrk="1" fontAlgn="auto" hangingPunct="1">
              <a:spcBef>
                <a:spcPts val="0"/>
              </a:spcBef>
              <a:spcAft>
                <a:spcPts val="0"/>
              </a:spcAft>
              <a:defRPr/>
            </a:pP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每个人都有机会提出自己的想法，发现新的商机，获得公司资源的支持。</a:t>
            </a: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3" name="文本框 22"/>
          <p:cNvSpPr txBox="1"/>
          <p:nvPr/>
        </p:nvSpPr>
        <p:spPr>
          <a:xfrm>
            <a:off x="8208010" y="2924810"/>
            <a:ext cx="3695700" cy="2723515"/>
          </a:xfrm>
          <a:prstGeom prst="rect">
            <a:avLst/>
          </a:prstGeom>
          <a:noFill/>
        </p:spPr>
        <p:txBody>
          <a:bodyPr wrap="square">
            <a:spAutoFit/>
          </a:bodyPr>
          <a:lstStyle/>
          <a:p>
            <a:pPr eaLnBrk="1" fontAlgn="auto" hangingPunct="1">
              <a:lnSpc>
                <a:spcPct val="150000"/>
              </a:lnSpc>
              <a:spcBef>
                <a:spcPts val="0"/>
              </a:spcBef>
              <a:spcAft>
                <a:spcPts val="0"/>
              </a:spcAft>
              <a:defRPr/>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专业和成长</a:t>
            </a:r>
            <a:endParaRPr kumimoji="1" lang="en-US" altLang="zh-CN" sz="1600" b="1"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公司鼓励各方面的专业创新，并且辅助解决在创新过程中的问题。</a:t>
            </a: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eaLnBrk="1" fontAlgn="auto" hangingPunct="1">
              <a:spcBef>
                <a:spcPts val="0"/>
              </a:spcBef>
              <a:spcAft>
                <a:spcPts val="0"/>
              </a:spcAft>
              <a:defRPr/>
            </a:pP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r>
              <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rPr>
              <a:t>在这里，你有机会获得这个行业的话语权，体现自我价值。</a:t>
            </a: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eaLnBrk="1" fontAlgn="auto" hangingPunct="1">
              <a:spcBef>
                <a:spcPts val="0"/>
              </a:spcBef>
              <a:spcAft>
                <a:spcPts val="0"/>
              </a:spcAft>
              <a:defRPr/>
            </a:pP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eaLnBrk="1" fontAlgn="auto" hangingPunct="1">
              <a:spcBef>
                <a:spcPts val="0"/>
              </a:spcBef>
              <a:spcAft>
                <a:spcPts val="0"/>
              </a:spcAft>
              <a:buFont typeface="Arial" panose="020B0604020202020204" pitchFamily="34" charset="0"/>
              <a:buChar char="•"/>
              <a:defRP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在公司有很多专业的资料和经验的积累，并且注重分享。并提供专业和管理等培训的机会。</a:t>
            </a:r>
            <a:endParaRPr kumimoji="1"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4" name="TextBox 13"/>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sz="2400" b="1" dirty="0" smtClean="0">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800" advTm="4423">
        <p14:flythrough/>
      </p:transition>
    </mc:Choice>
    <mc:Fallback>
      <p:transition spd="slow" advTm="4423">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cxnSp>
        <p:nvCxnSpPr>
          <p:cNvPr id="37" name="Gerade Verbindung 39"/>
          <p:cNvCxnSpPr/>
          <p:nvPr/>
        </p:nvCxnSpPr>
        <p:spPr bwMode="gray">
          <a:xfrm>
            <a:off x="7925435" y="3106420"/>
            <a:ext cx="2488565" cy="0"/>
          </a:xfrm>
          <a:prstGeom prst="line">
            <a:avLst/>
          </a:prstGeom>
          <a:noFill/>
          <a:ln w="19050">
            <a:solidFill>
              <a:srgbClr val="969696"/>
            </a:solidFill>
            <a:prstDash val="sysDot"/>
            <a:round/>
          </a:ln>
        </p:spPr>
      </p:cxnSp>
      <p:cxnSp>
        <p:nvCxnSpPr>
          <p:cNvPr id="38" name="Gerade Verbindung 39"/>
          <p:cNvCxnSpPr/>
          <p:nvPr/>
        </p:nvCxnSpPr>
        <p:spPr bwMode="gray">
          <a:xfrm>
            <a:off x="1809750" y="3106420"/>
            <a:ext cx="2783840" cy="0"/>
          </a:xfrm>
          <a:prstGeom prst="line">
            <a:avLst/>
          </a:prstGeom>
          <a:noFill/>
          <a:ln w="19050">
            <a:solidFill>
              <a:srgbClr val="969696"/>
            </a:solidFill>
            <a:prstDash val="sysDot"/>
            <a:round/>
          </a:ln>
        </p:spPr>
      </p:cxnSp>
      <p:sp>
        <p:nvSpPr>
          <p:cNvPr id="39" name="文本框 2"/>
          <p:cNvSpPr txBox="1"/>
          <p:nvPr/>
        </p:nvSpPr>
        <p:spPr>
          <a:xfrm>
            <a:off x="2092960" y="1431290"/>
            <a:ext cx="2665095" cy="369570"/>
          </a:xfrm>
          <a:prstGeom prst="rect">
            <a:avLst/>
          </a:prstGeom>
          <a:noFill/>
        </p:spPr>
        <p:txBody>
          <a:bodyPr wrap="square" rtlCol="0">
            <a:spAutoFit/>
          </a:bodyPr>
          <a:lstStyle/>
          <a:p>
            <a:r>
              <a:rPr lang="zh-CN" altLang="en-US" b="1" dirty="0">
                <a:solidFill>
                  <a:srgbClr val="FF0000"/>
                </a:solidFill>
                <a:latin typeface="微软雅黑" panose="020B0503020204020204" pitchFamily="34" charset="-122"/>
                <a:ea typeface="微软雅黑" panose="020B0503020204020204" pitchFamily="34" charset="-122"/>
              </a:rPr>
              <a:t>直面市场与客户</a:t>
            </a:r>
            <a:endParaRPr lang="zh-CN" altLang="en-US" b="1" dirty="0">
              <a:solidFill>
                <a:srgbClr val="FF0000"/>
              </a:solidFill>
              <a:latin typeface="微软雅黑" panose="020B0503020204020204" pitchFamily="34" charset="-122"/>
              <a:ea typeface="微软雅黑" panose="020B0503020204020204" pitchFamily="34" charset="-122"/>
            </a:endParaRPr>
          </a:p>
        </p:txBody>
      </p:sp>
      <p:sp>
        <p:nvSpPr>
          <p:cNvPr id="40" name="文本框 40"/>
          <p:cNvSpPr txBox="1"/>
          <p:nvPr/>
        </p:nvSpPr>
        <p:spPr>
          <a:xfrm>
            <a:off x="7776210" y="1431290"/>
            <a:ext cx="3081655" cy="369570"/>
          </a:xfrm>
          <a:prstGeom prst="rect">
            <a:avLst/>
          </a:prstGeom>
          <a:noFill/>
        </p:spPr>
        <p:txBody>
          <a:bodyPr wrap="square" rtlCol="0">
            <a:spAutoFit/>
          </a:bodyPr>
          <a:lstStyle/>
          <a:p>
            <a:r>
              <a:rPr lang="zh-CN" altLang="en-US" b="1" dirty="0" smtClean="0">
                <a:solidFill>
                  <a:srgbClr val="FF0000"/>
                </a:solidFill>
                <a:latin typeface="微软雅黑" panose="020B0503020204020204" pitchFamily="34" charset="-122"/>
                <a:ea typeface="微软雅黑" panose="020B0503020204020204" pitchFamily="34" charset="-122"/>
              </a:rPr>
              <a:t>背靠</a:t>
            </a:r>
            <a:r>
              <a:rPr lang="zh-CN" altLang="en-US" b="1" dirty="0">
                <a:solidFill>
                  <a:srgbClr val="FF0000"/>
                </a:solidFill>
                <a:latin typeface="微软雅黑" panose="020B0503020204020204" pitchFamily="34" charset="-122"/>
                <a:ea typeface="微软雅黑" panose="020B0503020204020204" pitchFamily="34" charset="-122"/>
              </a:rPr>
              <a:t>完善的培养体系</a:t>
            </a:r>
            <a:endParaRPr lang="zh-CN" altLang="en-US" b="1" dirty="0">
              <a:solidFill>
                <a:srgbClr val="FF0000"/>
              </a:solidFill>
              <a:latin typeface="微软雅黑" panose="020B0503020204020204" pitchFamily="34" charset="-122"/>
              <a:ea typeface="微软雅黑" panose="020B0503020204020204" pitchFamily="34" charset="-122"/>
            </a:endParaRPr>
          </a:p>
        </p:txBody>
      </p:sp>
      <p:sp>
        <p:nvSpPr>
          <p:cNvPr id="41" name="TextBox 61"/>
          <p:cNvSpPr txBox="1"/>
          <p:nvPr/>
        </p:nvSpPr>
        <p:spPr>
          <a:xfrm>
            <a:off x="7776210" y="1960880"/>
            <a:ext cx="3985260" cy="1060450"/>
          </a:xfrm>
          <a:prstGeom prst="rect">
            <a:avLst/>
          </a:prstGeom>
          <a:noFill/>
        </p:spPr>
        <p:txBody>
          <a:bodyPr wrap="square" rtlCol="0">
            <a:spAutoFit/>
          </a:bodyPr>
          <a:lstStyle/>
          <a:p>
            <a:pPr algn="just">
              <a:lnSpc>
                <a:spcPct val="150000"/>
              </a:lnSpc>
            </a:pPr>
            <a:r>
              <a:rPr lang="zh-CN" altLang="en-US" sz="1400" dirty="0">
                <a:latin typeface="微软雅黑" panose="020B0503020204020204" pitchFamily="34" charset="-122"/>
                <a:ea typeface="微软雅黑" panose="020B0503020204020204" pitchFamily="34" charset="-122"/>
              </a:rPr>
              <a:t>无论你是营业员、工程师</a:t>
            </a:r>
            <a:r>
              <a:rPr lang="zh-CN" altLang="en-US" sz="1400" dirty="0" smtClean="0">
                <a:latin typeface="微软雅黑" panose="020B0503020204020204" pitchFamily="34" charset="-122"/>
                <a:ea typeface="微软雅黑" panose="020B0503020204020204" pitchFamily="34" charset="-122"/>
              </a:rPr>
              <a:t>，</a:t>
            </a:r>
            <a:endParaRPr lang="zh-CN" altLang="en-US" sz="1400" dirty="0" smtClean="0">
              <a:latin typeface="微软雅黑" panose="020B0503020204020204" pitchFamily="34" charset="-122"/>
              <a:ea typeface="微软雅黑" panose="020B0503020204020204" pitchFamily="34" charset="-122"/>
            </a:endParaRPr>
          </a:p>
          <a:p>
            <a:pPr algn="just">
              <a:lnSpc>
                <a:spcPct val="150000"/>
              </a:lnSpc>
            </a:pPr>
            <a:r>
              <a:rPr lang="zh-CN" altLang="en-US" sz="1400" dirty="0" smtClean="0">
                <a:latin typeface="微软雅黑" panose="020B0503020204020204" pitchFamily="34" charset="-122"/>
                <a:ea typeface="微软雅黑" panose="020B0503020204020204" pitchFamily="34" charset="-122"/>
              </a:rPr>
              <a:t>还是</a:t>
            </a:r>
            <a:r>
              <a:rPr lang="zh-CN" altLang="en-US" sz="1400" dirty="0">
                <a:latin typeface="微软雅黑" panose="020B0503020204020204" pitchFamily="34" charset="-122"/>
                <a:ea typeface="微软雅黑" panose="020B0503020204020204" pitchFamily="34" charset="-122"/>
              </a:rPr>
              <a:t>销售经理，工程副总，</a:t>
            </a:r>
            <a:endParaRPr lang="zh-CN" altLang="en-US" sz="1400" dirty="0">
              <a:latin typeface="微软雅黑" panose="020B0503020204020204" pitchFamily="34" charset="-122"/>
              <a:ea typeface="微软雅黑" panose="020B0503020204020204" pitchFamily="34" charset="-122"/>
            </a:endParaRPr>
          </a:p>
          <a:p>
            <a:pPr algn="just">
              <a:lnSpc>
                <a:spcPct val="150000"/>
              </a:lnSpc>
            </a:pPr>
            <a:r>
              <a:rPr lang="zh-CN" altLang="en-US" sz="1400" dirty="0">
                <a:latin typeface="微软雅黑" panose="020B0503020204020204" pitchFamily="34" charset="-122"/>
                <a:ea typeface="微软雅黑" panose="020B0503020204020204" pitchFamily="34" charset="-122"/>
              </a:rPr>
              <a:t>在这里，我们都为你提供全方位，多层次的培训</a:t>
            </a:r>
            <a:r>
              <a:rPr lang="zh-CN" altLang="en-US" sz="1400" dirty="0">
                <a:solidFill>
                  <a:schemeClr val="bg1"/>
                </a:solidFill>
                <a:latin typeface="微软雅黑" panose="020B0503020204020204" pitchFamily="34" charset="-122"/>
                <a:ea typeface="微软雅黑" panose="020B0503020204020204" pitchFamily="34" charset="-122"/>
              </a:rPr>
              <a:t>。</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45" name="TextBox 61"/>
          <p:cNvSpPr txBox="1"/>
          <p:nvPr/>
        </p:nvSpPr>
        <p:spPr>
          <a:xfrm>
            <a:off x="4523570" y="5143512"/>
            <a:ext cx="4320540" cy="1060450"/>
          </a:xfrm>
          <a:prstGeom prst="rect">
            <a:avLst/>
          </a:prstGeom>
          <a:noFill/>
        </p:spPr>
        <p:txBody>
          <a:bodyPr wrap="square" rtlCol="0">
            <a:spAutoFit/>
          </a:bodyPr>
          <a:lstStyle/>
          <a:p>
            <a:pPr algn="just">
              <a:lnSpc>
                <a:spcPct val="150000"/>
              </a:lnSpc>
            </a:pPr>
            <a:r>
              <a:rPr lang="zh-CN" altLang="en-US" sz="1400" dirty="0">
                <a:latin typeface="微软雅黑" panose="020B0503020204020204" pitchFamily="34" charset="-122"/>
                <a:ea typeface="微软雅黑" panose="020B0503020204020204" pitchFamily="34" charset="-122"/>
              </a:rPr>
              <a:t>无论你想成为销售精英、技术大牛</a:t>
            </a:r>
            <a:r>
              <a:rPr lang="zh-CN" altLang="en-US" sz="1400" dirty="0" smtClean="0">
                <a:latin typeface="微软雅黑" panose="020B0503020204020204" pitchFamily="34" charset="-122"/>
                <a:ea typeface="微软雅黑" panose="020B0503020204020204" pitchFamily="34" charset="-122"/>
              </a:rPr>
              <a:t>；</a:t>
            </a:r>
            <a:endParaRPr lang="zh-CN" altLang="en-US" sz="1400" dirty="0" smtClean="0">
              <a:latin typeface="微软雅黑" panose="020B0503020204020204" pitchFamily="34" charset="-122"/>
              <a:ea typeface="微软雅黑" panose="020B0503020204020204" pitchFamily="34" charset="-122"/>
            </a:endParaRPr>
          </a:p>
          <a:p>
            <a:pPr algn="just">
              <a:lnSpc>
                <a:spcPct val="150000"/>
              </a:lnSpc>
            </a:pPr>
            <a:r>
              <a:rPr lang="zh-CN" altLang="en-US" sz="1400" dirty="0" smtClean="0">
                <a:latin typeface="微软雅黑" panose="020B0503020204020204" pitchFamily="34" charset="-122"/>
                <a:ea typeface="微软雅黑" panose="020B0503020204020204" pitchFamily="34" charset="-122"/>
              </a:rPr>
              <a:t>还是</a:t>
            </a:r>
            <a:r>
              <a:rPr lang="zh-CN" altLang="en-US" sz="1400" dirty="0">
                <a:latin typeface="微软雅黑" panose="020B0503020204020204" pitchFamily="34" charset="-122"/>
                <a:ea typeface="微软雅黑" panose="020B0503020204020204" pitchFamily="34" charset="-122"/>
              </a:rPr>
              <a:t>想成为独当一面的管理者，</a:t>
            </a:r>
            <a:endParaRPr lang="zh-CN" altLang="en-US" sz="1400" dirty="0">
              <a:latin typeface="微软雅黑" panose="020B0503020204020204" pitchFamily="34" charset="-122"/>
              <a:ea typeface="微软雅黑" panose="020B0503020204020204" pitchFamily="34" charset="-122"/>
            </a:endParaRPr>
          </a:p>
          <a:p>
            <a:pPr algn="just">
              <a:lnSpc>
                <a:spcPct val="150000"/>
              </a:lnSpc>
            </a:pPr>
            <a:r>
              <a:rPr lang="zh-CN" altLang="en-US" sz="1400" dirty="0" smtClean="0">
                <a:latin typeface="微软雅黑" panose="020B0503020204020204" pitchFamily="34" charset="-122"/>
                <a:ea typeface="微软雅黑" panose="020B0503020204020204" pitchFamily="34" charset="-122"/>
              </a:rPr>
              <a:t>在</a:t>
            </a:r>
            <a:r>
              <a:rPr lang="zh-CN" altLang="en-US" sz="1400" dirty="0">
                <a:latin typeface="微软雅黑" panose="020B0503020204020204" pitchFamily="34" charset="-122"/>
                <a:ea typeface="微软雅黑" panose="020B0503020204020204" pitchFamily="34" charset="-122"/>
              </a:rPr>
              <a:t>这里，机遇和挑战让你职业</a:t>
            </a:r>
            <a:r>
              <a:rPr lang="zh-CN" altLang="en-US" sz="1400" dirty="0" smtClean="0">
                <a:latin typeface="微软雅黑" panose="020B0503020204020204" pitchFamily="34" charset="-122"/>
                <a:ea typeface="微软雅黑" panose="020B0503020204020204" pitchFamily="34" charset="-122"/>
              </a:rPr>
              <a:t>发展</a:t>
            </a:r>
            <a:r>
              <a:rPr lang="en-US" altLang="zh-CN" sz="1400" dirty="0" err="1" smtClean="0">
                <a:latin typeface="微软雅黑" panose="020B0503020204020204" pitchFamily="34" charset="-122"/>
                <a:ea typeface="微软雅黑" panose="020B0503020204020204" pitchFamily="34" charset="-122"/>
              </a:rPr>
              <a:t>UpUpUp</a:t>
            </a:r>
            <a:r>
              <a:rPr lang="en-US" altLang="zh-CN" sz="1400" dirty="0" smtClean="0">
                <a:latin typeface="微软雅黑" panose="020B0503020204020204" pitchFamily="34" charset="-122"/>
                <a:ea typeface="微软雅黑" panose="020B0503020204020204" pitchFamily="34" charset="-122"/>
              </a:rPr>
              <a:t> !</a:t>
            </a:r>
            <a:endParaRPr lang="en-US" altLang="zh-CN" sz="1400" dirty="0" smtClean="0">
              <a:latin typeface="微软雅黑" panose="020B0503020204020204" pitchFamily="34" charset="-122"/>
              <a:ea typeface="微软雅黑" panose="020B0503020204020204" pitchFamily="34" charset="-122"/>
            </a:endParaRPr>
          </a:p>
        </p:txBody>
      </p:sp>
      <p:sp>
        <p:nvSpPr>
          <p:cNvPr id="83" name="TextBox 61"/>
          <p:cNvSpPr txBox="1"/>
          <p:nvPr/>
        </p:nvSpPr>
        <p:spPr>
          <a:xfrm>
            <a:off x="782955" y="1949450"/>
            <a:ext cx="3493135" cy="1060450"/>
          </a:xfrm>
          <a:prstGeom prst="rect">
            <a:avLst/>
          </a:prstGeom>
          <a:noFill/>
        </p:spPr>
        <p:txBody>
          <a:bodyPr wrap="square" rtlCol="0">
            <a:spAutoFit/>
          </a:bodyPr>
          <a:lstStyle/>
          <a:p>
            <a:pPr algn="r">
              <a:lnSpc>
                <a:spcPct val="150000"/>
              </a:lnSpc>
            </a:pPr>
            <a:r>
              <a:rPr lang="zh-CN" altLang="en-US" sz="1400" dirty="0">
                <a:latin typeface="微软雅黑" panose="020B0503020204020204" pitchFamily="34" charset="-122"/>
                <a:ea typeface="微软雅黑" panose="020B0503020204020204" pitchFamily="34" charset="-122"/>
              </a:rPr>
              <a:t>无论是开拓空白市场，</a:t>
            </a:r>
            <a:endParaRPr lang="zh-CN" altLang="en-US" sz="1400" dirty="0">
              <a:latin typeface="微软雅黑" panose="020B0503020204020204" pitchFamily="34" charset="-122"/>
              <a:ea typeface="微软雅黑" panose="020B0503020204020204" pitchFamily="34" charset="-122"/>
            </a:endParaRPr>
          </a:p>
          <a:p>
            <a:pPr algn="r">
              <a:lnSpc>
                <a:spcPct val="150000"/>
              </a:lnSpc>
            </a:pPr>
            <a:r>
              <a:rPr lang="zh-CN" altLang="en-US" sz="1400" dirty="0">
                <a:latin typeface="微软雅黑" panose="020B0503020204020204" pitchFamily="34" charset="-122"/>
                <a:ea typeface="微软雅黑" panose="020B0503020204020204" pitchFamily="34" charset="-122"/>
              </a:rPr>
              <a:t>还是统筹工程现场管理问题，</a:t>
            </a:r>
            <a:endParaRPr lang="zh-CN" altLang="en-US" sz="1400" dirty="0">
              <a:latin typeface="微软雅黑" panose="020B0503020204020204" pitchFamily="34" charset="-122"/>
              <a:ea typeface="微软雅黑" panose="020B0503020204020204" pitchFamily="34" charset="-122"/>
            </a:endParaRPr>
          </a:p>
          <a:p>
            <a:pPr algn="r">
              <a:lnSpc>
                <a:spcPct val="150000"/>
              </a:lnSpc>
            </a:pPr>
            <a:r>
              <a:rPr lang="zh-CN" altLang="en-US" sz="1400" dirty="0">
                <a:latin typeface="微软雅黑" panose="020B0503020204020204" pitchFamily="34" charset="-122"/>
                <a:ea typeface="微软雅黑" panose="020B0503020204020204" pitchFamily="34" charset="-122"/>
              </a:rPr>
              <a:t>在这里，你将直面来自市场与客户的挑战</a:t>
            </a:r>
            <a:r>
              <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rPr>
              <a:t>。</a:t>
            </a:r>
            <a:endParaRPr lang="zh-CN" altLang="en-US" sz="12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cxnSp>
        <p:nvCxnSpPr>
          <p:cNvPr id="2" name="Gerade Verbindung 39"/>
          <p:cNvCxnSpPr/>
          <p:nvPr/>
        </p:nvCxnSpPr>
        <p:spPr bwMode="gray">
          <a:xfrm>
            <a:off x="4880760" y="5000636"/>
            <a:ext cx="2488565" cy="0"/>
          </a:xfrm>
          <a:prstGeom prst="line">
            <a:avLst/>
          </a:prstGeom>
          <a:noFill/>
          <a:ln w="19050">
            <a:solidFill>
              <a:srgbClr val="969696"/>
            </a:solidFill>
            <a:prstDash val="sysDot"/>
            <a:round/>
          </a:ln>
        </p:spPr>
      </p:cxnSp>
      <p:sp>
        <p:nvSpPr>
          <p:cNvPr id="6" name="文本框 40"/>
          <p:cNvSpPr txBox="1"/>
          <p:nvPr/>
        </p:nvSpPr>
        <p:spPr>
          <a:xfrm>
            <a:off x="5095074" y="4429132"/>
            <a:ext cx="2154555" cy="368300"/>
          </a:xfrm>
          <a:prstGeom prst="rect">
            <a:avLst/>
          </a:prstGeom>
          <a:noFill/>
        </p:spPr>
        <p:txBody>
          <a:bodyPr wrap="square" rtlCol="0">
            <a:spAutoFit/>
          </a:bodyPr>
          <a:lstStyle/>
          <a:p>
            <a:r>
              <a:rPr lang="zh-CN" altLang="en-US" b="1" dirty="0">
                <a:solidFill>
                  <a:srgbClr val="FF0000"/>
                </a:solidFill>
                <a:latin typeface="微软雅黑" panose="020B0503020204020204" pitchFamily="34" charset="-122"/>
                <a:ea typeface="微软雅黑" panose="020B0503020204020204" pitchFamily="34" charset="-122"/>
              </a:rPr>
              <a:t>拥抱广阔视野舞台</a:t>
            </a:r>
            <a:endParaRPr lang="zh-CN" altLang="en-US" b="1" dirty="0">
              <a:solidFill>
                <a:srgbClr val="FF0000"/>
              </a:solidFill>
              <a:latin typeface="微软雅黑" panose="020B0503020204020204" pitchFamily="34" charset="-122"/>
              <a:ea typeface="微软雅黑" panose="020B0503020204020204" pitchFamily="34" charset="-122"/>
            </a:endParaRPr>
          </a:p>
        </p:txBody>
      </p:sp>
      <p:grpSp>
        <p:nvGrpSpPr>
          <p:cNvPr id="21" name="组合 20"/>
          <p:cNvGrpSpPr/>
          <p:nvPr/>
        </p:nvGrpSpPr>
        <p:grpSpPr>
          <a:xfrm>
            <a:off x="4478655" y="1614170"/>
            <a:ext cx="3145155" cy="2411095"/>
            <a:chOff x="4478655" y="1614170"/>
            <a:chExt cx="3145155" cy="2411095"/>
          </a:xfrm>
        </p:grpSpPr>
        <p:sp>
          <p:nvSpPr>
            <p:cNvPr id="48" name="Freeform 16" descr="© INSCALE GmbH, 26.05.2010&#10;http://www.presentationload.com/"/>
            <p:cNvSpPr/>
            <p:nvPr>
              <p:custDataLst>
                <p:tags r:id="rId1"/>
              </p:custDataLst>
            </p:nvPr>
          </p:nvSpPr>
          <p:spPr bwMode="gray">
            <a:xfrm>
              <a:off x="4478655" y="1618615"/>
              <a:ext cx="1663700" cy="1791335"/>
            </a:xfrm>
            <a:custGeom>
              <a:avLst/>
              <a:gdLst/>
              <a:ahLst/>
              <a:cxnLst>
                <a:cxn ang="0">
                  <a:pos x="124" y="397"/>
                </a:cxn>
                <a:cxn ang="0">
                  <a:pos x="121" y="193"/>
                </a:cxn>
                <a:cxn ang="0">
                  <a:pos x="268" y="95"/>
                </a:cxn>
                <a:cxn ang="0">
                  <a:pos x="310" y="47"/>
                </a:cxn>
                <a:cxn ang="0">
                  <a:pos x="269" y="0"/>
                </a:cxn>
                <a:cxn ang="0">
                  <a:pos x="0" y="292"/>
                </a:cxn>
                <a:cxn ang="0">
                  <a:pos x="43" y="445"/>
                </a:cxn>
                <a:cxn ang="0">
                  <a:pos x="64" y="385"/>
                </a:cxn>
                <a:cxn ang="0">
                  <a:pos x="124" y="397"/>
                </a:cxn>
              </a:cxnLst>
              <a:rect l="0" t="0" r="r" b="b"/>
              <a:pathLst>
                <a:path w="310" h="445">
                  <a:moveTo>
                    <a:pt x="124" y="397"/>
                  </a:moveTo>
                  <a:cubicBezTo>
                    <a:pt x="87" y="337"/>
                    <a:pt x="83" y="259"/>
                    <a:pt x="121" y="193"/>
                  </a:cubicBezTo>
                  <a:cubicBezTo>
                    <a:pt x="153" y="137"/>
                    <a:pt x="208" y="103"/>
                    <a:pt x="268" y="95"/>
                  </a:cubicBezTo>
                  <a:cubicBezTo>
                    <a:pt x="310" y="47"/>
                    <a:pt x="310" y="47"/>
                    <a:pt x="310" y="47"/>
                  </a:cubicBezTo>
                  <a:cubicBezTo>
                    <a:pt x="269" y="0"/>
                    <a:pt x="269" y="0"/>
                    <a:pt x="269" y="0"/>
                  </a:cubicBezTo>
                  <a:cubicBezTo>
                    <a:pt x="119" y="13"/>
                    <a:pt x="0" y="139"/>
                    <a:pt x="0" y="292"/>
                  </a:cubicBezTo>
                  <a:cubicBezTo>
                    <a:pt x="0" y="348"/>
                    <a:pt x="16" y="401"/>
                    <a:pt x="43" y="445"/>
                  </a:cubicBezTo>
                  <a:cubicBezTo>
                    <a:pt x="64" y="385"/>
                    <a:pt x="64" y="385"/>
                    <a:pt x="64" y="385"/>
                  </a:cubicBezTo>
                  <a:lnTo>
                    <a:pt x="124" y="397"/>
                  </a:lnTo>
                  <a:close/>
                </a:path>
              </a:pathLst>
            </a:custGeom>
            <a:solidFill>
              <a:schemeClr val="tx2">
                <a:lumMod val="40000"/>
                <a:lumOff val="60000"/>
              </a:schemeClr>
            </a:solidFill>
            <a:ln>
              <a:noFill/>
            </a:ln>
            <a:scene3d>
              <a:camera prst="orthographicFront"/>
              <a:lightRig rig="balanced" dir="t"/>
            </a:scene3d>
          </p:spPr>
          <p:txBody>
            <a:bodyPr vert="horz" wrap="square" lIns="91440" tIns="45720" rIns="91440" bIns="45720" numCol="1" anchor="t" anchorCtr="0" compatLnSpc="1"/>
            <a:lstStyle/>
            <a:p>
              <a:endParaRPr lang="en-US"/>
            </a:p>
          </p:txBody>
        </p:sp>
        <p:sp>
          <p:nvSpPr>
            <p:cNvPr id="49" name="Freeform 17" descr="© INSCALE GmbH, 26.05.2010&#10;http://www.presentationload.com/"/>
            <p:cNvSpPr/>
            <p:nvPr>
              <p:custDataLst>
                <p:tags r:id="rId2"/>
              </p:custDataLst>
            </p:nvPr>
          </p:nvSpPr>
          <p:spPr bwMode="gray">
            <a:xfrm>
              <a:off x="6012815" y="1614170"/>
              <a:ext cx="1610995" cy="1730375"/>
            </a:xfrm>
            <a:custGeom>
              <a:avLst/>
              <a:gdLst/>
              <a:ahLst/>
              <a:cxnLst>
                <a:cxn ang="0">
                  <a:pos x="0" y="95"/>
                </a:cxn>
                <a:cxn ang="0">
                  <a:pos x="106" y="121"/>
                </a:cxn>
                <a:cxn ang="0">
                  <a:pos x="191" y="369"/>
                </a:cxn>
                <a:cxn ang="0">
                  <a:pos x="211" y="430"/>
                </a:cxn>
                <a:cxn ang="0">
                  <a:pos x="272" y="418"/>
                </a:cxn>
                <a:cxn ang="0">
                  <a:pos x="300" y="293"/>
                </a:cxn>
                <a:cxn ang="0">
                  <a:pos x="7" y="0"/>
                </a:cxn>
                <a:cxn ang="0">
                  <a:pos x="0" y="1"/>
                </a:cxn>
                <a:cxn ang="0">
                  <a:pos x="42" y="48"/>
                </a:cxn>
                <a:cxn ang="0">
                  <a:pos x="0" y="95"/>
                </a:cxn>
              </a:cxnLst>
              <a:rect l="0" t="0" r="r" b="b"/>
              <a:pathLst>
                <a:path w="300" h="430">
                  <a:moveTo>
                    <a:pt x="0" y="95"/>
                  </a:moveTo>
                  <a:cubicBezTo>
                    <a:pt x="36" y="94"/>
                    <a:pt x="73" y="102"/>
                    <a:pt x="106" y="121"/>
                  </a:cubicBezTo>
                  <a:cubicBezTo>
                    <a:pt x="193" y="172"/>
                    <a:pt x="228" y="278"/>
                    <a:pt x="191" y="369"/>
                  </a:cubicBezTo>
                  <a:cubicBezTo>
                    <a:pt x="211" y="430"/>
                    <a:pt x="211" y="430"/>
                    <a:pt x="211" y="430"/>
                  </a:cubicBezTo>
                  <a:cubicBezTo>
                    <a:pt x="272" y="418"/>
                    <a:pt x="272" y="418"/>
                    <a:pt x="272" y="418"/>
                  </a:cubicBezTo>
                  <a:cubicBezTo>
                    <a:pt x="290" y="380"/>
                    <a:pt x="300" y="338"/>
                    <a:pt x="300" y="293"/>
                  </a:cubicBezTo>
                  <a:cubicBezTo>
                    <a:pt x="300" y="132"/>
                    <a:pt x="169" y="0"/>
                    <a:pt x="7" y="0"/>
                  </a:cubicBezTo>
                  <a:cubicBezTo>
                    <a:pt x="5" y="0"/>
                    <a:pt x="2" y="1"/>
                    <a:pt x="0" y="1"/>
                  </a:cubicBezTo>
                  <a:cubicBezTo>
                    <a:pt x="42" y="48"/>
                    <a:pt x="42" y="48"/>
                    <a:pt x="42" y="48"/>
                  </a:cubicBezTo>
                  <a:lnTo>
                    <a:pt x="0" y="95"/>
                  </a:lnTo>
                  <a:close/>
                </a:path>
              </a:pathLst>
            </a:custGeom>
            <a:solidFill>
              <a:schemeClr val="tx2">
                <a:lumMod val="60000"/>
                <a:lumOff val="40000"/>
              </a:schemeClr>
            </a:solidFill>
            <a:ln w="19050">
              <a:noFill/>
              <a:round/>
            </a:ln>
            <a:scene3d>
              <a:camera prst="orthographicFront"/>
              <a:lightRig rig="balanced" dir="t"/>
            </a:scene3d>
            <a:sp3d extrusionH="127000"/>
          </p:spPr>
          <p:txBody>
            <a:bodyPr/>
            <a:lstStyle/>
            <a:p>
              <a:endParaRPr lang="en-US"/>
            </a:p>
          </p:txBody>
        </p:sp>
        <p:sp>
          <p:nvSpPr>
            <p:cNvPr id="47" name="Freeform 15" descr="© INSCALE GmbH, 26.05.2010&#10;http://www.presentationload.com/"/>
            <p:cNvSpPr/>
            <p:nvPr>
              <p:custDataLst>
                <p:tags r:id="rId3"/>
              </p:custDataLst>
            </p:nvPr>
          </p:nvSpPr>
          <p:spPr bwMode="gray">
            <a:xfrm>
              <a:off x="4758055" y="3167380"/>
              <a:ext cx="2672715" cy="805815"/>
            </a:xfrm>
            <a:custGeom>
              <a:avLst/>
              <a:gdLst/>
              <a:ahLst/>
              <a:cxnLst>
                <a:cxn ang="0">
                  <a:pos x="417" y="0"/>
                </a:cxn>
                <a:cxn ang="0">
                  <a:pos x="413" y="6"/>
                </a:cxn>
                <a:cxn ang="0">
                  <a:pos x="142" y="79"/>
                </a:cxn>
                <a:cxn ang="0">
                  <a:pos x="83" y="27"/>
                </a:cxn>
                <a:cxn ang="0">
                  <a:pos x="20" y="15"/>
                </a:cxn>
                <a:cxn ang="0">
                  <a:pos x="0" y="74"/>
                </a:cxn>
                <a:cxn ang="0">
                  <a:pos x="241" y="200"/>
                </a:cxn>
                <a:cxn ang="0">
                  <a:pos x="498" y="47"/>
                </a:cxn>
                <a:cxn ang="0">
                  <a:pos x="437" y="60"/>
                </a:cxn>
                <a:cxn ang="0">
                  <a:pos x="417" y="0"/>
                </a:cxn>
              </a:cxnLst>
              <a:rect l="0" t="0" r="r" b="b"/>
              <a:pathLst>
                <a:path w="498" h="200">
                  <a:moveTo>
                    <a:pt x="417" y="0"/>
                  </a:moveTo>
                  <a:cubicBezTo>
                    <a:pt x="415" y="2"/>
                    <a:pt x="414" y="4"/>
                    <a:pt x="413" y="6"/>
                  </a:cubicBezTo>
                  <a:cubicBezTo>
                    <a:pt x="358" y="101"/>
                    <a:pt x="237" y="134"/>
                    <a:pt x="142" y="79"/>
                  </a:cubicBezTo>
                  <a:cubicBezTo>
                    <a:pt x="118" y="66"/>
                    <a:pt x="99" y="48"/>
                    <a:pt x="83" y="27"/>
                  </a:cubicBezTo>
                  <a:cubicBezTo>
                    <a:pt x="20" y="15"/>
                    <a:pt x="20" y="15"/>
                    <a:pt x="20" y="15"/>
                  </a:cubicBezTo>
                  <a:cubicBezTo>
                    <a:pt x="0" y="74"/>
                    <a:pt x="0" y="74"/>
                    <a:pt x="0" y="74"/>
                  </a:cubicBezTo>
                  <a:cubicBezTo>
                    <a:pt x="53" y="150"/>
                    <a:pt x="141" y="200"/>
                    <a:pt x="241" y="200"/>
                  </a:cubicBezTo>
                  <a:cubicBezTo>
                    <a:pt x="352" y="200"/>
                    <a:pt x="449" y="138"/>
                    <a:pt x="498" y="47"/>
                  </a:cubicBezTo>
                  <a:cubicBezTo>
                    <a:pt x="437" y="60"/>
                    <a:pt x="437" y="60"/>
                    <a:pt x="437" y="60"/>
                  </a:cubicBezTo>
                  <a:lnTo>
                    <a:pt x="417" y="0"/>
                  </a:lnTo>
                  <a:close/>
                </a:path>
              </a:pathLst>
            </a:custGeom>
            <a:solidFill>
              <a:schemeClr val="accent5">
                <a:lumMod val="60000"/>
                <a:lumOff val="40000"/>
              </a:schemeClr>
            </a:solidFill>
            <a:ln>
              <a:noFill/>
            </a:ln>
            <a:scene3d>
              <a:camera prst="orthographicFront"/>
              <a:lightRig rig="balanced" dir="t"/>
            </a:scene3d>
          </p:spPr>
          <p:txBody>
            <a:bodyPr vert="horz" wrap="square" lIns="91440" tIns="45720" rIns="91440" bIns="45720" numCol="1" anchor="t" anchorCtr="0" compatLnSpc="1"/>
            <a:lstStyle/>
            <a:p>
              <a:endParaRPr lang="en-US"/>
            </a:p>
          </p:txBody>
        </p:sp>
        <p:sp>
          <p:nvSpPr>
            <p:cNvPr id="7" name="文本框 6"/>
            <p:cNvSpPr txBox="1"/>
            <p:nvPr/>
          </p:nvSpPr>
          <p:spPr>
            <a:xfrm>
              <a:off x="4717415" y="2105025"/>
              <a:ext cx="299720" cy="460375"/>
            </a:xfrm>
            <a:prstGeom prst="rect">
              <a:avLst/>
            </a:prstGeom>
            <a:noFill/>
          </p:spPr>
          <p:txBody>
            <a:bodyPr wrap="square" rtlCol="0" anchor="ctr">
              <a:spAutoFit/>
            </a:bodyPr>
            <a:lstStyle/>
            <a:p>
              <a:r>
                <a:rPr lang="en-US" altLang="zh-CN" sz="2400" b="1" dirty="0" smtClean="0">
                  <a:latin typeface="微软雅黑" panose="020B0503020204020204" pitchFamily="34" charset="-122"/>
                  <a:ea typeface="微软雅黑" panose="020B0503020204020204" pitchFamily="34" charset="-122"/>
                </a:rPr>
                <a:t>1</a:t>
              </a:r>
              <a:endParaRPr lang="en-US" altLang="zh-CN" sz="2400" b="1" dirty="0" smtClean="0">
                <a:latin typeface="微软雅黑" panose="020B0503020204020204" pitchFamily="34" charset="-122"/>
                <a:ea typeface="微软雅黑" panose="020B0503020204020204" pitchFamily="34" charset="-122"/>
              </a:endParaRPr>
            </a:p>
          </p:txBody>
        </p:sp>
        <p:sp>
          <p:nvSpPr>
            <p:cNvPr id="8" name="文本框 7"/>
            <p:cNvSpPr txBox="1"/>
            <p:nvPr/>
          </p:nvSpPr>
          <p:spPr>
            <a:xfrm>
              <a:off x="7053580" y="2105025"/>
              <a:ext cx="299720" cy="460375"/>
            </a:xfrm>
            <a:prstGeom prst="rect">
              <a:avLst/>
            </a:prstGeom>
            <a:noFill/>
          </p:spPr>
          <p:txBody>
            <a:bodyPr wrap="square" rtlCol="0" anchor="ctr">
              <a:spAutoFit/>
            </a:bodyPr>
            <a:lstStyle/>
            <a:p>
              <a:r>
                <a:rPr lang="en-US" altLang="zh-CN" sz="2400" b="1" dirty="0" smtClean="0">
                  <a:latin typeface="微软雅黑" panose="020B0503020204020204" pitchFamily="34" charset="-122"/>
                  <a:ea typeface="微软雅黑" panose="020B0503020204020204" pitchFamily="34" charset="-122"/>
                </a:rPr>
                <a:t>2</a:t>
              </a:r>
              <a:endParaRPr lang="en-US" altLang="zh-CN" sz="2400" b="1" dirty="0" smtClean="0">
                <a:latin typeface="微软雅黑" panose="020B0503020204020204" pitchFamily="34" charset="-122"/>
                <a:ea typeface="微软雅黑" panose="020B0503020204020204" pitchFamily="34" charset="-122"/>
              </a:endParaRPr>
            </a:p>
          </p:txBody>
        </p:sp>
        <p:sp>
          <p:nvSpPr>
            <p:cNvPr id="9" name="文本框 8"/>
            <p:cNvSpPr txBox="1"/>
            <p:nvPr/>
          </p:nvSpPr>
          <p:spPr>
            <a:xfrm>
              <a:off x="5862320" y="3564890"/>
              <a:ext cx="464185" cy="460375"/>
            </a:xfrm>
            <a:prstGeom prst="rect">
              <a:avLst/>
            </a:prstGeom>
            <a:noFill/>
          </p:spPr>
          <p:txBody>
            <a:bodyPr wrap="square" rtlCol="0" anchor="ctr">
              <a:spAutoFit/>
            </a:bodyPr>
            <a:lstStyle/>
            <a:p>
              <a:r>
                <a:rPr lang="en-US" altLang="zh-CN" sz="2400" b="1" dirty="0" smtClean="0">
                  <a:latin typeface="微软雅黑" panose="020B0503020204020204" pitchFamily="34" charset="-122"/>
                  <a:ea typeface="微软雅黑" panose="020B0503020204020204" pitchFamily="34" charset="-122"/>
                </a:rPr>
                <a:t>3</a:t>
              </a:r>
              <a:endParaRPr lang="en-US" altLang="zh-CN" sz="2400" b="1" dirty="0" smtClean="0">
                <a:latin typeface="微软雅黑" panose="020B0503020204020204" pitchFamily="34" charset="-122"/>
                <a:ea typeface="微软雅黑" panose="020B0503020204020204" pitchFamily="34" charset="-122"/>
              </a:endParaRPr>
            </a:p>
          </p:txBody>
        </p:sp>
      </p:grpSp>
      <p:sp>
        <p:nvSpPr>
          <p:cNvPr id="19" name="TextBox 18"/>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人才培养机制</a:t>
            </a:r>
            <a:endParaRPr lang="zh-CN" altLang="en-US" sz="2400" b="1" dirty="0" smtClean="0">
              <a:latin typeface="微软雅黑" panose="020B0503020204020204" pitchFamily="34" charset="-122"/>
              <a:ea typeface="微软雅黑" panose="020B0503020204020204" pitchFamily="34" charset="-122"/>
            </a:endParaRPr>
          </a:p>
        </p:txBody>
      </p:sp>
    </p:spTree>
    <p:custDataLst>
      <p:tags r:id="rId4"/>
    </p:custDataLst>
  </p:cSld>
  <p:clrMapOvr>
    <a:masterClrMapping/>
  </p:clrMapOvr>
  <mc:AlternateContent xmlns:mc="http://schemas.openxmlformats.org/markup-compatibility/2006">
    <mc:Choice xmlns:p14="http://schemas.microsoft.com/office/powerpoint/2010/main" Requires="p14">
      <p:transition spd="slow" p14:dur="800" advTm="4423">
        <p14:flythrough/>
      </p:transition>
    </mc:Choice>
    <mc:Fallback>
      <p:transition spd="slow" advTm="4423">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9653" name="Freeform 471"/>
          <p:cNvSpPr>
            <a:spLocks noEditPoints="1"/>
          </p:cNvSpPr>
          <p:nvPr/>
        </p:nvSpPr>
        <p:spPr bwMode="auto">
          <a:xfrm>
            <a:off x="6543252" y="3706266"/>
            <a:ext cx="967236" cy="738967"/>
          </a:xfrm>
          <a:custGeom>
            <a:avLst/>
            <a:gdLst>
              <a:gd name="T0" fmla="*/ 103 w 106"/>
              <a:gd name="T1" fmla="*/ 44 h 81"/>
              <a:gd name="T2" fmla="*/ 85 w 106"/>
              <a:gd name="T3" fmla="*/ 26 h 81"/>
              <a:gd name="T4" fmla="*/ 66 w 106"/>
              <a:gd name="T5" fmla="*/ 7 h 81"/>
              <a:gd name="T6" fmla="*/ 47 w 106"/>
              <a:gd name="T7" fmla="*/ 26 h 81"/>
              <a:gd name="T8" fmla="*/ 29 w 106"/>
              <a:gd name="T9" fmla="*/ 44 h 81"/>
              <a:gd name="T10" fmla="*/ 4 w 106"/>
              <a:gd name="T11" fmla="*/ 44 h 81"/>
              <a:gd name="T12" fmla="*/ 4 w 106"/>
              <a:gd name="T13" fmla="*/ 81 h 81"/>
              <a:gd name="T14" fmla="*/ 66 w 106"/>
              <a:gd name="T15" fmla="*/ 81 h 81"/>
              <a:gd name="T16" fmla="*/ 66 w 106"/>
              <a:gd name="T17" fmla="*/ 53 h 81"/>
              <a:gd name="T18" fmla="*/ 84 w 106"/>
              <a:gd name="T19" fmla="*/ 53 h 81"/>
              <a:gd name="T20" fmla="*/ 84 w 106"/>
              <a:gd name="T21" fmla="*/ 81 h 81"/>
              <a:gd name="T22" fmla="*/ 103 w 106"/>
              <a:gd name="T23" fmla="*/ 81 h 81"/>
              <a:gd name="T24" fmla="*/ 103 w 106"/>
              <a:gd name="T25" fmla="*/ 44 h 81"/>
              <a:gd name="T26" fmla="*/ 25 w 106"/>
              <a:gd name="T27" fmla="*/ 66 h 81"/>
              <a:gd name="T28" fmla="*/ 11 w 106"/>
              <a:gd name="T29" fmla="*/ 66 h 81"/>
              <a:gd name="T30" fmla="*/ 11 w 106"/>
              <a:gd name="T31" fmla="*/ 52 h 81"/>
              <a:gd name="T32" fmla="*/ 25 w 106"/>
              <a:gd name="T33" fmla="*/ 52 h 81"/>
              <a:gd name="T34" fmla="*/ 25 w 106"/>
              <a:gd name="T35" fmla="*/ 66 h 81"/>
              <a:gd name="T36" fmla="*/ 47 w 106"/>
              <a:gd name="T37" fmla="*/ 66 h 81"/>
              <a:gd name="T38" fmla="*/ 33 w 106"/>
              <a:gd name="T39" fmla="*/ 66 h 81"/>
              <a:gd name="T40" fmla="*/ 33 w 106"/>
              <a:gd name="T41" fmla="*/ 52 h 81"/>
              <a:gd name="T42" fmla="*/ 47 w 106"/>
              <a:gd name="T43" fmla="*/ 52 h 81"/>
              <a:gd name="T44" fmla="*/ 47 w 106"/>
              <a:gd name="T45" fmla="*/ 66 h 81"/>
              <a:gd name="T46" fmla="*/ 63 w 106"/>
              <a:gd name="T47" fmla="*/ 38 h 81"/>
              <a:gd name="T48" fmla="*/ 56 w 106"/>
              <a:gd name="T49" fmla="*/ 31 h 81"/>
              <a:gd name="T50" fmla="*/ 63 w 106"/>
              <a:gd name="T51" fmla="*/ 25 h 81"/>
              <a:gd name="T52" fmla="*/ 70 w 106"/>
              <a:gd name="T53" fmla="*/ 31 h 81"/>
              <a:gd name="T54" fmla="*/ 63 w 106"/>
              <a:gd name="T55" fmla="*/ 38 h 81"/>
              <a:gd name="T56" fmla="*/ 106 w 106"/>
              <a:gd name="T57" fmla="*/ 40 h 81"/>
              <a:gd name="T58" fmla="*/ 104 w 106"/>
              <a:gd name="T59" fmla="*/ 42 h 81"/>
              <a:gd name="T60" fmla="*/ 66 w 106"/>
              <a:gd name="T61" fmla="*/ 3 h 81"/>
              <a:gd name="T62" fmla="*/ 28 w 106"/>
              <a:gd name="T63" fmla="*/ 41 h 81"/>
              <a:gd name="T64" fmla="*/ 28 w 106"/>
              <a:gd name="T65" fmla="*/ 42 h 81"/>
              <a:gd name="T66" fmla="*/ 0 w 106"/>
              <a:gd name="T67" fmla="*/ 42 h 81"/>
              <a:gd name="T68" fmla="*/ 21 w 106"/>
              <a:gd name="T69" fmla="*/ 20 h 81"/>
              <a:gd name="T70" fmla="*/ 47 w 106"/>
              <a:gd name="T71" fmla="*/ 20 h 81"/>
              <a:gd name="T72" fmla="*/ 66 w 106"/>
              <a:gd name="T73" fmla="*/ 0 h 81"/>
              <a:gd name="T74" fmla="*/ 87 w 106"/>
              <a:gd name="T75" fmla="*/ 21 h 81"/>
              <a:gd name="T76" fmla="*/ 87 w 106"/>
              <a:gd name="T77" fmla="*/ 9 h 81"/>
              <a:gd name="T78" fmla="*/ 95 w 106"/>
              <a:gd name="T79" fmla="*/ 9 h 81"/>
              <a:gd name="T80" fmla="*/ 95 w 106"/>
              <a:gd name="T81" fmla="*/ 30 h 81"/>
              <a:gd name="T82" fmla="*/ 106 w 106"/>
              <a:gd name="T83" fmla="*/ 4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81">
                <a:moveTo>
                  <a:pt x="103" y="44"/>
                </a:moveTo>
                <a:cubicBezTo>
                  <a:pt x="85" y="26"/>
                  <a:pt x="85" y="26"/>
                  <a:pt x="85" y="26"/>
                </a:cubicBezTo>
                <a:cubicBezTo>
                  <a:pt x="66" y="7"/>
                  <a:pt x="66" y="7"/>
                  <a:pt x="66" y="7"/>
                </a:cubicBezTo>
                <a:cubicBezTo>
                  <a:pt x="47" y="26"/>
                  <a:pt x="47" y="26"/>
                  <a:pt x="47" y="26"/>
                </a:cubicBezTo>
                <a:cubicBezTo>
                  <a:pt x="29" y="44"/>
                  <a:pt x="29" y="44"/>
                  <a:pt x="29" y="44"/>
                </a:cubicBezTo>
                <a:cubicBezTo>
                  <a:pt x="4" y="44"/>
                  <a:pt x="4" y="44"/>
                  <a:pt x="4" y="44"/>
                </a:cubicBezTo>
                <a:cubicBezTo>
                  <a:pt x="4" y="81"/>
                  <a:pt x="4" y="81"/>
                  <a:pt x="4" y="81"/>
                </a:cubicBezTo>
                <a:cubicBezTo>
                  <a:pt x="66" y="81"/>
                  <a:pt x="66" y="81"/>
                  <a:pt x="66" y="81"/>
                </a:cubicBezTo>
                <a:cubicBezTo>
                  <a:pt x="66" y="53"/>
                  <a:pt x="66" y="53"/>
                  <a:pt x="66" y="53"/>
                </a:cubicBezTo>
                <a:cubicBezTo>
                  <a:pt x="84" y="53"/>
                  <a:pt x="84" y="53"/>
                  <a:pt x="84" y="53"/>
                </a:cubicBezTo>
                <a:cubicBezTo>
                  <a:pt x="84" y="81"/>
                  <a:pt x="84" y="81"/>
                  <a:pt x="84" y="81"/>
                </a:cubicBezTo>
                <a:cubicBezTo>
                  <a:pt x="103" y="81"/>
                  <a:pt x="103" y="81"/>
                  <a:pt x="103" y="81"/>
                </a:cubicBezTo>
                <a:cubicBezTo>
                  <a:pt x="103" y="44"/>
                  <a:pt x="103" y="44"/>
                  <a:pt x="103" y="44"/>
                </a:cubicBezTo>
                <a:close/>
                <a:moveTo>
                  <a:pt x="25" y="66"/>
                </a:moveTo>
                <a:cubicBezTo>
                  <a:pt x="11" y="66"/>
                  <a:pt x="11" y="66"/>
                  <a:pt x="11" y="66"/>
                </a:cubicBezTo>
                <a:cubicBezTo>
                  <a:pt x="11" y="52"/>
                  <a:pt x="11" y="52"/>
                  <a:pt x="11" y="52"/>
                </a:cubicBezTo>
                <a:cubicBezTo>
                  <a:pt x="25" y="52"/>
                  <a:pt x="25" y="52"/>
                  <a:pt x="25" y="52"/>
                </a:cubicBezTo>
                <a:lnTo>
                  <a:pt x="25" y="66"/>
                </a:lnTo>
                <a:close/>
                <a:moveTo>
                  <a:pt x="47" y="66"/>
                </a:moveTo>
                <a:cubicBezTo>
                  <a:pt x="33" y="66"/>
                  <a:pt x="33" y="66"/>
                  <a:pt x="33" y="66"/>
                </a:cubicBezTo>
                <a:cubicBezTo>
                  <a:pt x="33" y="52"/>
                  <a:pt x="33" y="52"/>
                  <a:pt x="33" y="52"/>
                </a:cubicBezTo>
                <a:cubicBezTo>
                  <a:pt x="47" y="52"/>
                  <a:pt x="47" y="52"/>
                  <a:pt x="47" y="52"/>
                </a:cubicBezTo>
                <a:lnTo>
                  <a:pt x="47" y="66"/>
                </a:lnTo>
                <a:close/>
                <a:moveTo>
                  <a:pt x="63" y="38"/>
                </a:moveTo>
                <a:cubicBezTo>
                  <a:pt x="59" y="38"/>
                  <a:pt x="56" y="35"/>
                  <a:pt x="56" y="31"/>
                </a:cubicBezTo>
                <a:cubicBezTo>
                  <a:pt x="56" y="28"/>
                  <a:pt x="59" y="25"/>
                  <a:pt x="63" y="25"/>
                </a:cubicBezTo>
                <a:cubicBezTo>
                  <a:pt x="67" y="25"/>
                  <a:pt x="70" y="28"/>
                  <a:pt x="70" y="31"/>
                </a:cubicBezTo>
                <a:cubicBezTo>
                  <a:pt x="70" y="35"/>
                  <a:pt x="67" y="38"/>
                  <a:pt x="63" y="38"/>
                </a:cubicBezTo>
                <a:close/>
                <a:moveTo>
                  <a:pt x="106" y="40"/>
                </a:moveTo>
                <a:cubicBezTo>
                  <a:pt x="104" y="42"/>
                  <a:pt x="104" y="42"/>
                  <a:pt x="104" y="42"/>
                </a:cubicBezTo>
                <a:cubicBezTo>
                  <a:pt x="66" y="3"/>
                  <a:pt x="66" y="3"/>
                  <a:pt x="66" y="3"/>
                </a:cubicBezTo>
                <a:cubicBezTo>
                  <a:pt x="28" y="41"/>
                  <a:pt x="28" y="41"/>
                  <a:pt x="28" y="41"/>
                </a:cubicBezTo>
                <a:cubicBezTo>
                  <a:pt x="28" y="42"/>
                  <a:pt x="28" y="42"/>
                  <a:pt x="28" y="42"/>
                </a:cubicBezTo>
                <a:cubicBezTo>
                  <a:pt x="0" y="42"/>
                  <a:pt x="0" y="42"/>
                  <a:pt x="0" y="42"/>
                </a:cubicBezTo>
                <a:cubicBezTo>
                  <a:pt x="21" y="20"/>
                  <a:pt x="21" y="20"/>
                  <a:pt x="21" y="20"/>
                </a:cubicBezTo>
                <a:cubicBezTo>
                  <a:pt x="47" y="20"/>
                  <a:pt x="47" y="20"/>
                  <a:pt x="47" y="20"/>
                </a:cubicBezTo>
                <a:cubicBezTo>
                  <a:pt x="66" y="0"/>
                  <a:pt x="66" y="0"/>
                  <a:pt x="66" y="0"/>
                </a:cubicBezTo>
                <a:cubicBezTo>
                  <a:pt x="87" y="21"/>
                  <a:pt x="87" y="21"/>
                  <a:pt x="87" y="21"/>
                </a:cubicBezTo>
                <a:cubicBezTo>
                  <a:pt x="87" y="9"/>
                  <a:pt x="87" y="9"/>
                  <a:pt x="87" y="9"/>
                </a:cubicBezTo>
                <a:cubicBezTo>
                  <a:pt x="95" y="9"/>
                  <a:pt x="95" y="9"/>
                  <a:pt x="95" y="9"/>
                </a:cubicBezTo>
                <a:cubicBezTo>
                  <a:pt x="95" y="30"/>
                  <a:pt x="95" y="30"/>
                  <a:pt x="95" y="30"/>
                </a:cubicBezTo>
                <a:lnTo>
                  <a:pt x="106" y="40"/>
                </a:lnTo>
                <a:close/>
              </a:path>
            </a:pathLst>
          </a:custGeom>
          <a:solidFill>
            <a:srgbClr val="41A0DA"/>
          </a:solid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9656" name="Freeform 476"/>
          <p:cNvSpPr>
            <a:spLocks noEditPoints="1"/>
          </p:cNvSpPr>
          <p:nvPr/>
        </p:nvSpPr>
        <p:spPr bwMode="auto">
          <a:xfrm>
            <a:off x="1611918" y="1363868"/>
            <a:ext cx="1294138" cy="754547"/>
          </a:xfrm>
          <a:custGeom>
            <a:avLst/>
            <a:gdLst>
              <a:gd name="T0" fmla="*/ 125 w 125"/>
              <a:gd name="T1" fmla="*/ 71 h 73"/>
              <a:gd name="T2" fmla="*/ 124 w 125"/>
              <a:gd name="T3" fmla="*/ 73 h 73"/>
              <a:gd name="T4" fmla="*/ 2 w 125"/>
              <a:gd name="T5" fmla="*/ 73 h 73"/>
              <a:gd name="T6" fmla="*/ 0 w 125"/>
              <a:gd name="T7" fmla="*/ 71 h 73"/>
              <a:gd name="T8" fmla="*/ 0 w 125"/>
              <a:gd name="T9" fmla="*/ 68 h 73"/>
              <a:gd name="T10" fmla="*/ 2 w 125"/>
              <a:gd name="T11" fmla="*/ 66 h 73"/>
              <a:gd name="T12" fmla="*/ 124 w 125"/>
              <a:gd name="T13" fmla="*/ 66 h 73"/>
              <a:gd name="T14" fmla="*/ 125 w 125"/>
              <a:gd name="T15" fmla="*/ 68 h 73"/>
              <a:gd name="T16" fmla="*/ 125 w 125"/>
              <a:gd name="T17" fmla="*/ 71 h 73"/>
              <a:gd name="T18" fmla="*/ 118 w 125"/>
              <a:gd name="T19" fmla="*/ 5 h 73"/>
              <a:gd name="T20" fmla="*/ 118 w 125"/>
              <a:gd name="T21" fmla="*/ 58 h 73"/>
              <a:gd name="T22" fmla="*/ 113 w 125"/>
              <a:gd name="T23" fmla="*/ 63 h 73"/>
              <a:gd name="T24" fmla="*/ 12 w 125"/>
              <a:gd name="T25" fmla="*/ 63 h 73"/>
              <a:gd name="T26" fmla="*/ 7 w 125"/>
              <a:gd name="T27" fmla="*/ 58 h 73"/>
              <a:gd name="T28" fmla="*/ 7 w 125"/>
              <a:gd name="T29" fmla="*/ 5 h 73"/>
              <a:gd name="T30" fmla="*/ 12 w 125"/>
              <a:gd name="T31" fmla="*/ 0 h 73"/>
              <a:gd name="T32" fmla="*/ 113 w 125"/>
              <a:gd name="T33" fmla="*/ 0 h 73"/>
              <a:gd name="T34" fmla="*/ 118 w 125"/>
              <a:gd name="T35" fmla="*/ 5 h 73"/>
              <a:gd name="T36" fmla="*/ 113 w 125"/>
              <a:gd name="T37" fmla="*/ 6 h 73"/>
              <a:gd name="T38" fmla="*/ 12 w 125"/>
              <a:gd name="T39" fmla="*/ 6 h 73"/>
              <a:gd name="T40" fmla="*/ 12 w 125"/>
              <a:gd name="T41" fmla="*/ 59 h 73"/>
              <a:gd name="T42" fmla="*/ 113 w 125"/>
              <a:gd name="T43" fmla="*/ 59 h 73"/>
              <a:gd name="T44" fmla="*/ 113 w 125"/>
              <a:gd name="T45" fmla="*/ 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73">
                <a:moveTo>
                  <a:pt x="125" y="71"/>
                </a:moveTo>
                <a:cubicBezTo>
                  <a:pt x="125" y="72"/>
                  <a:pt x="124" y="73"/>
                  <a:pt x="124" y="73"/>
                </a:cubicBezTo>
                <a:cubicBezTo>
                  <a:pt x="2" y="73"/>
                  <a:pt x="2" y="73"/>
                  <a:pt x="2" y="73"/>
                </a:cubicBezTo>
                <a:cubicBezTo>
                  <a:pt x="1" y="73"/>
                  <a:pt x="0" y="72"/>
                  <a:pt x="0" y="71"/>
                </a:cubicBezTo>
                <a:cubicBezTo>
                  <a:pt x="0" y="68"/>
                  <a:pt x="0" y="68"/>
                  <a:pt x="0" y="68"/>
                </a:cubicBezTo>
                <a:cubicBezTo>
                  <a:pt x="0" y="67"/>
                  <a:pt x="1" y="66"/>
                  <a:pt x="2" y="66"/>
                </a:cubicBezTo>
                <a:cubicBezTo>
                  <a:pt x="124" y="66"/>
                  <a:pt x="124" y="66"/>
                  <a:pt x="124" y="66"/>
                </a:cubicBezTo>
                <a:cubicBezTo>
                  <a:pt x="124" y="66"/>
                  <a:pt x="125" y="67"/>
                  <a:pt x="125" y="68"/>
                </a:cubicBezTo>
                <a:lnTo>
                  <a:pt x="125" y="71"/>
                </a:lnTo>
                <a:close/>
                <a:moveTo>
                  <a:pt x="118" y="5"/>
                </a:moveTo>
                <a:cubicBezTo>
                  <a:pt x="118" y="58"/>
                  <a:pt x="118" y="58"/>
                  <a:pt x="118" y="58"/>
                </a:cubicBezTo>
                <a:cubicBezTo>
                  <a:pt x="118" y="61"/>
                  <a:pt x="116" y="63"/>
                  <a:pt x="113" y="63"/>
                </a:cubicBezTo>
                <a:cubicBezTo>
                  <a:pt x="12" y="63"/>
                  <a:pt x="12" y="63"/>
                  <a:pt x="12" y="63"/>
                </a:cubicBezTo>
                <a:cubicBezTo>
                  <a:pt x="9" y="63"/>
                  <a:pt x="7" y="61"/>
                  <a:pt x="7" y="58"/>
                </a:cubicBezTo>
                <a:cubicBezTo>
                  <a:pt x="7" y="5"/>
                  <a:pt x="7" y="5"/>
                  <a:pt x="7" y="5"/>
                </a:cubicBezTo>
                <a:cubicBezTo>
                  <a:pt x="7" y="2"/>
                  <a:pt x="9" y="0"/>
                  <a:pt x="12" y="0"/>
                </a:cubicBezTo>
                <a:cubicBezTo>
                  <a:pt x="113" y="0"/>
                  <a:pt x="113" y="0"/>
                  <a:pt x="113" y="0"/>
                </a:cubicBezTo>
                <a:cubicBezTo>
                  <a:pt x="116" y="0"/>
                  <a:pt x="118" y="2"/>
                  <a:pt x="118" y="5"/>
                </a:cubicBezTo>
                <a:close/>
                <a:moveTo>
                  <a:pt x="113" y="6"/>
                </a:moveTo>
                <a:cubicBezTo>
                  <a:pt x="12" y="6"/>
                  <a:pt x="12" y="6"/>
                  <a:pt x="12" y="6"/>
                </a:cubicBezTo>
                <a:cubicBezTo>
                  <a:pt x="12" y="59"/>
                  <a:pt x="12" y="59"/>
                  <a:pt x="12" y="59"/>
                </a:cubicBezTo>
                <a:cubicBezTo>
                  <a:pt x="113" y="59"/>
                  <a:pt x="113" y="59"/>
                  <a:pt x="113" y="59"/>
                </a:cubicBezTo>
                <a:lnTo>
                  <a:pt x="113" y="6"/>
                </a:lnTo>
                <a:close/>
              </a:path>
            </a:pathLst>
          </a:custGeom>
          <a:solidFill>
            <a:srgbClr val="41A0DA"/>
          </a:solid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9666" name="Oval 493"/>
          <p:cNvSpPr>
            <a:spLocks noChangeArrowheads="1"/>
          </p:cNvSpPr>
          <p:nvPr/>
        </p:nvSpPr>
        <p:spPr bwMode="auto">
          <a:xfrm>
            <a:off x="1611918" y="3744409"/>
            <a:ext cx="730404" cy="662682"/>
          </a:xfrm>
          <a:custGeom>
            <a:avLst/>
            <a:gdLst/>
            <a:ahLst/>
            <a:cxnLst/>
            <a:rect l="l" t="t" r="r" b="b"/>
            <a:pathLst>
              <a:path w="239713" h="217487">
                <a:moveTo>
                  <a:pt x="67420" y="131762"/>
                </a:moveTo>
                <a:lnTo>
                  <a:pt x="71346" y="131762"/>
                </a:lnTo>
                <a:lnTo>
                  <a:pt x="80061" y="131762"/>
                </a:lnTo>
                <a:lnTo>
                  <a:pt x="80262" y="131762"/>
                </a:lnTo>
                <a:lnTo>
                  <a:pt x="97384" y="131762"/>
                </a:lnTo>
                <a:lnTo>
                  <a:pt x="100603" y="131762"/>
                </a:lnTo>
                <a:lnTo>
                  <a:pt x="101129" y="131762"/>
                </a:lnTo>
                <a:lnTo>
                  <a:pt x="102183" y="131762"/>
                </a:lnTo>
                <a:lnTo>
                  <a:pt x="109088" y="131762"/>
                </a:lnTo>
                <a:lnTo>
                  <a:pt x="109557" y="131762"/>
                </a:lnTo>
                <a:lnTo>
                  <a:pt x="129513" y="131762"/>
                </a:lnTo>
                <a:lnTo>
                  <a:pt x="129572" y="131762"/>
                </a:lnTo>
                <a:lnTo>
                  <a:pt x="168548" y="131762"/>
                </a:lnTo>
                <a:lnTo>
                  <a:pt x="195469" y="137003"/>
                </a:lnTo>
                <a:lnTo>
                  <a:pt x="218177" y="151330"/>
                </a:lnTo>
                <a:lnTo>
                  <a:pt x="233861" y="172645"/>
                </a:lnTo>
                <a:lnTo>
                  <a:pt x="239713" y="198851"/>
                </a:lnTo>
                <a:lnTo>
                  <a:pt x="239713" y="201181"/>
                </a:lnTo>
                <a:lnTo>
                  <a:pt x="239713" y="201181"/>
                </a:lnTo>
                <a:lnTo>
                  <a:pt x="239713" y="217487"/>
                </a:lnTo>
                <a:lnTo>
                  <a:pt x="0" y="217487"/>
                </a:lnTo>
                <a:cubicBezTo>
                  <a:pt x="0" y="217487"/>
                  <a:pt x="0" y="217487"/>
                  <a:pt x="0" y="215158"/>
                </a:cubicBezTo>
                <a:lnTo>
                  <a:pt x="0" y="198851"/>
                </a:lnTo>
                <a:cubicBezTo>
                  <a:pt x="0" y="161580"/>
                  <a:pt x="29964" y="131762"/>
                  <a:pt x="67420" y="131762"/>
                </a:cubicBezTo>
                <a:close/>
                <a:moveTo>
                  <a:pt x="119063" y="0"/>
                </a:moveTo>
                <a:lnTo>
                  <a:pt x="142545" y="4741"/>
                </a:lnTo>
                <a:lnTo>
                  <a:pt x="161720" y="17669"/>
                </a:lnTo>
                <a:lnTo>
                  <a:pt x="174648" y="36844"/>
                </a:lnTo>
                <a:lnTo>
                  <a:pt x="179388" y="60325"/>
                </a:lnTo>
                <a:lnTo>
                  <a:pt x="174648" y="83807"/>
                </a:lnTo>
                <a:lnTo>
                  <a:pt x="161720" y="102981"/>
                </a:lnTo>
                <a:lnTo>
                  <a:pt x="142545" y="115910"/>
                </a:lnTo>
                <a:cubicBezTo>
                  <a:pt x="135327" y="118962"/>
                  <a:pt x="127393" y="120650"/>
                  <a:pt x="119063" y="120650"/>
                </a:cubicBezTo>
                <a:cubicBezTo>
                  <a:pt x="102405" y="120650"/>
                  <a:pt x="87323" y="113898"/>
                  <a:pt x="76407" y="102981"/>
                </a:cubicBezTo>
                <a:cubicBezTo>
                  <a:pt x="70949" y="97523"/>
                  <a:pt x="66531" y="91024"/>
                  <a:pt x="63479" y="83807"/>
                </a:cubicBezTo>
                <a:cubicBezTo>
                  <a:pt x="60426" y="76589"/>
                  <a:pt x="58738" y="68654"/>
                  <a:pt x="58738" y="60325"/>
                </a:cubicBezTo>
                <a:cubicBezTo>
                  <a:pt x="58738" y="43667"/>
                  <a:pt x="65490" y="28585"/>
                  <a:pt x="76407" y="17669"/>
                </a:cubicBezTo>
                <a:cubicBezTo>
                  <a:pt x="81865" y="12210"/>
                  <a:pt x="88365" y="7793"/>
                  <a:pt x="95582" y="4741"/>
                </a:cubicBezTo>
                <a:cubicBezTo>
                  <a:pt x="102799" y="1688"/>
                  <a:pt x="110734" y="0"/>
                  <a:pt x="119063" y="0"/>
                </a:cubicBezTo>
                <a:close/>
              </a:path>
            </a:pathLst>
          </a:custGeom>
          <a:solidFill>
            <a:srgbClr val="41A0DA"/>
          </a:solid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9670" name="Freeform 497"/>
          <p:cNvSpPr>
            <a:spLocks noEditPoints="1"/>
          </p:cNvSpPr>
          <p:nvPr/>
        </p:nvSpPr>
        <p:spPr bwMode="auto">
          <a:xfrm>
            <a:off x="6543252" y="1363868"/>
            <a:ext cx="605709" cy="835598"/>
          </a:xfrm>
          <a:custGeom>
            <a:avLst/>
            <a:gdLst>
              <a:gd name="T0" fmla="*/ 125 w 128"/>
              <a:gd name="T1" fmla="*/ 83 h 177"/>
              <a:gd name="T2" fmla="*/ 64 w 128"/>
              <a:gd name="T3" fmla="*/ 177 h 177"/>
              <a:gd name="T4" fmla="*/ 0 w 128"/>
              <a:gd name="T5" fmla="*/ 71 h 177"/>
              <a:gd name="T6" fmla="*/ 0 w 128"/>
              <a:gd name="T7" fmla="*/ 70 h 177"/>
              <a:gd name="T8" fmla="*/ 0 w 128"/>
              <a:gd name="T9" fmla="*/ 64 h 177"/>
              <a:gd name="T10" fmla="*/ 64 w 128"/>
              <a:gd name="T11" fmla="*/ 0 h 177"/>
              <a:gd name="T12" fmla="*/ 128 w 128"/>
              <a:gd name="T13" fmla="*/ 64 h 177"/>
              <a:gd name="T14" fmla="*/ 127 w 128"/>
              <a:gd name="T15" fmla="*/ 68 h 177"/>
              <a:gd name="T16" fmla="*/ 125 w 128"/>
              <a:gd name="T17" fmla="*/ 83 h 177"/>
              <a:gd name="T18" fmla="*/ 64 w 128"/>
              <a:gd name="T19" fmla="*/ 20 h 177"/>
              <a:gd name="T20" fmla="*/ 22 w 128"/>
              <a:gd name="T21" fmla="*/ 62 h 177"/>
              <a:gd name="T22" fmla="*/ 64 w 128"/>
              <a:gd name="T23" fmla="*/ 104 h 177"/>
              <a:gd name="T24" fmla="*/ 106 w 128"/>
              <a:gd name="T25" fmla="*/ 62 h 177"/>
              <a:gd name="T26" fmla="*/ 64 w 128"/>
              <a:gd name="T27" fmla="*/ 20 h 177"/>
              <a:gd name="T28" fmla="*/ 64 w 128"/>
              <a:gd name="T29" fmla="*/ 40 h 177"/>
              <a:gd name="T30" fmla="*/ 44 w 128"/>
              <a:gd name="T31" fmla="*/ 60 h 177"/>
              <a:gd name="T32" fmla="*/ 64 w 128"/>
              <a:gd name="T33" fmla="*/ 80 h 177"/>
              <a:gd name="T34" fmla="*/ 84 w 128"/>
              <a:gd name="T35" fmla="*/ 60 h 177"/>
              <a:gd name="T36" fmla="*/ 64 w 128"/>
              <a:gd name="T37" fmla="*/ 4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177">
                <a:moveTo>
                  <a:pt x="125" y="83"/>
                </a:moveTo>
                <a:cubicBezTo>
                  <a:pt x="120" y="104"/>
                  <a:pt x="105" y="138"/>
                  <a:pt x="64" y="177"/>
                </a:cubicBezTo>
                <a:cubicBezTo>
                  <a:pt x="64" y="177"/>
                  <a:pt x="5" y="122"/>
                  <a:pt x="0" y="71"/>
                </a:cubicBezTo>
                <a:cubicBezTo>
                  <a:pt x="0" y="71"/>
                  <a:pt x="0" y="70"/>
                  <a:pt x="0" y="70"/>
                </a:cubicBezTo>
                <a:cubicBezTo>
                  <a:pt x="0" y="68"/>
                  <a:pt x="0" y="66"/>
                  <a:pt x="0" y="64"/>
                </a:cubicBezTo>
                <a:cubicBezTo>
                  <a:pt x="0" y="29"/>
                  <a:pt x="28" y="0"/>
                  <a:pt x="64" y="0"/>
                </a:cubicBezTo>
                <a:cubicBezTo>
                  <a:pt x="99" y="0"/>
                  <a:pt x="128" y="29"/>
                  <a:pt x="128" y="64"/>
                </a:cubicBezTo>
                <a:cubicBezTo>
                  <a:pt x="128" y="64"/>
                  <a:pt x="128" y="65"/>
                  <a:pt x="127" y="68"/>
                </a:cubicBezTo>
                <a:cubicBezTo>
                  <a:pt x="127" y="73"/>
                  <a:pt x="126" y="78"/>
                  <a:pt x="125" y="83"/>
                </a:cubicBezTo>
                <a:close/>
                <a:moveTo>
                  <a:pt x="64" y="20"/>
                </a:moveTo>
                <a:cubicBezTo>
                  <a:pt x="40" y="20"/>
                  <a:pt x="22" y="39"/>
                  <a:pt x="22" y="62"/>
                </a:cubicBezTo>
                <a:cubicBezTo>
                  <a:pt x="22" y="85"/>
                  <a:pt x="40" y="104"/>
                  <a:pt x="64" y="104"/>
                </a:cubicBezTo>
                <a:cubicBezTo>
                  <a:pt x="87" y="104"/>
                  <a:pt x="106" y="85"/>
                  <a:pt x="106" y="62"/>
                </a:cubicBezTo>
                <a:cubicBezTo>
                  <a:pt x="106" y="39"/>
                  <a:pt x="87" y="20"/>
                  <a:pt x="64" y="20"/>
                </a:cubicBezTo>
                <a:close/>
                <a:moveTo>
                  <a:pt x="64" y="40"/>
                </a:moveTo>
                <a:cubicBezTo>
                  <a:pt x="53" y="40"/>
                  <a:pt x="44" y="49"/>
                  <a:pt x="44" y="60"/>
                </a:cubicBezTo>
                <a:cubicBezTo>
                  <a:pt x="44" y="71"/>
                  <a:pt x="53" y="80"/>
                  <a:pt x="64" y="80"/>
                </a:cubicBezTo>
                <a:cubicBezTo>
                  <a:pt x="75" y="80"/>
                  <a:pt x="84" y="71"/>
                  <a:pt x="84" y="60"/>
                </a:cubicBezTo>
                <a:cubicBezTo>
                  <a:pt x="84" y="49"/>
                  <a:pt x="75" y="40"/>
                  <a:pt x="64" y="40"/>
                </a:cubicBezTo>
                <a:close/>
              </a:path>
            </a:pathLst>
          </a:custGeom>
          <a:solidFill>
            <a:srgbClr val="41A0DA"/>
          </a:solid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cxnSp>
        <p:nvCxnSpPr>
          <p:cNvPr id="9672" name="直接连接符 9671"/>
          <p:cNvCxnSpPr/>
          <p:nvPr/>
        </p:nvCxnSpPr>
        <p:spPr>
          <a:xfrm>
            <a:off x="1611918" y="2248790"/>
            <a:ext cx="3960000" cy="0"/>
          </a:xfrm>
          <a:prstGeom prst="line">
            <a:avLst/>
          </a:prstGeom>
          <a:ln w="254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6" name="直接连接符 495"/>
          <p:cNvCxnSpPr/>
          <p:nvPr/>
        </p:nvCxnSpPr>
        <p:spPr>
          <a:xfrm>
            <a:off x="6543252" y="2248790"/>
            <a:ext cx="3960000" cy="0"/>
          </a:xfrm>
          <a:prstGeom prst="line">
            <a:avLst/>
          </a:prstGeom>
          <a:ln w="254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7" name="直接连接符 496"/>
          <p:cNvCxnSpPr/>
          <p:nvPr/>
        </p:nvCxnSpPr>
        <p:spPr>
          <a:xfrm>
            <a:off x="1611918" y="4604228"/>
            <a:ext cx="3960000" cy="0"/>
          </a:xfrm>
          <a:prstGeom prst="line">
            <a:avLst/>
          </a:prstGeom>
          <a:ln w="254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8" name="直接连接符 497"/>
          <p:cNvCxnSpPr/>
          <p:nvPr/>
        </p:nvCxnSpPr>
        <p:spPr>
          <a:xfrm>
            <a:off x="6543252" y="4604228"/>
            <a:ext cx="3960000" cy="0"/>
          </a:xfrm>
          <a:prstGeom prst="line">
            <a:avLst/>
          </a:prstGeom>
          <a:ln w="254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99" name="TextBox 498"/>
          <p:cNvSpPr txBox="1"/>
          <p:nvPr/>
        </p:nvSpPr>
        <p:spPr>
          <a:xfrm>
            <a:off x="3452000" y="1500174"/>
            <a:ext cx="1317990" cy="369332"/>
          </a:xfrm>
          <a:prstGeom prst="rect">
            <a:avLst/>
          </a:prstGeom>
          <a:noFill/>
        </p:spPr>
        <p:txBody>
          <a:bodyPr wrap="none" rtlCol="0" anchor="ctr">
            <a:spAutoFit/>
          </a:bodyPr>
          <a:lstStyle/>
          <a:p>
            <a:pPr lvl="0" algn="ctr"/>
            <a:r>
              <a:rPr lang="zh-CN" altLang="en-US"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课程</a:t>
            </a:r>
            <a:r>
              <a:rPr lang="en-US" altLang="zh-CN"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amp;</a:t>
            </a:r>
            <a:r>
              <a:rPr lang="zh-CN" altLang="en-US"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轮岗</a:t>
            </a:r>
            <a:endParaRPr lang="zh-CN" altLang="en-US" b="1" dirty="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endParaRPr>
          </a:p>
        </p:txBody>
      </p:sp>
      <p:sp>
        <p:nvSpPr>
          <p:cNvPr id="500" name="TextBox 499"/>
          <p:cNvSpPr txBox="1"/>
          <p:nvPr/>
        </p:nvSpPr>
        <p:spPr>
          <a:xfrm>
            <a:off x="7738280" y="1571612"/>
            <a:ext cx="1539204" cy="369332"/>
          </a:xfrm>
          <a:prstGeom prst="rect">
            <a:avLst/>
          </a:prstGeom>
          <a:noFill/>
        </p:spPr>
        <p:txBody>
          <a:bodyPr wrap="none" rtlCol="0" anchor="ctr">
            <a:spAutoFit/>
          </a:bodyPr>
          <a:lstStyle/>
          <a:p>
            <a:pPr lvl="0" algn="ctr"/>
            <a:r>
              <a:rPr lang="zh-CN" altLang="en-US"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导师</a:t>
            </a:r>
            <a:r>
              <a:rPr lang="en-US" altLang="zh-CN"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amp;</a:t>
            </a:r>
            <a:r>
              <a:rPr lang="zh-CN" altLang="en-US"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班主任</a:t>
            </a:r>
            <a:endParaRPr lang="zh-CN" altLang="en-US" b="1" dirty="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endParaRPr>
          </a:p>
        </p:txBody>
      </p:sp>
      <p:sp>
        <p:nvSpPr>
          <p:cNvPr id="501" name="TextBox 500"/>
          <p:cNvSpPr txBox="1"/>
          <p:nvPr/>
        </p:nvSpPr>
        <p:spPr>
          <a:xfrm>
            <a:off x="3237686" y="3857628"/>
            <a:ext cx="1770036" cy="369332"/>
          </a:xfrm>
          <a:prstGeom prst="rect">
            <a:avLst/>
          </a:prstGeom>
          <a:noFill/>
        </p:spPr>
        <p:txBody>
          <a:bodyPr wrap="none" rtlCol="0" anchor="ctr">
            <a:spAutoFit/>
          </a:bodyPr>
          <a:lstStyle/>
          <a:p>
            <a:pPr lvl="0" algn="ctr"/>
            <a:r>
              <a:rPr lang="zh-CN" altLang="en-US"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高层对话</a:t>
            </a:r>
            <a:r>
              <a:rPr lang="en-US" altLang="zh-CN"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amp;</a:t>
            </a:r>
            <a:r>
              <a:rPr lang="zh-CN" altLang="en-US"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分享</a:t>
            </a:r>
            <a:endParaRPr lang="zh-CN" altLang="en-US" b="1" dirty="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endParaRPr>
          </a:p>
        </p:txBody>
      </p:sp>
      <p:sp>
        <p:nvSpPr>
          <p:cNvPr id="502" name="TextBox 501"/>
          <p:cNvSpPr txBox="1"/>
          <p:nvPr/>
        </p:nvSpPr>
        <p:spPr>
          <a:xfrm>
            <a:off x="8095470" y="3857628"/>
            <a:ext cx="1308371" cy="369332"/>
          </a:xfrm>
          <a:prstGeom prst="rect">
            <a:avLst/>
          </a:prstGeom>
          <a:noFill/>
        </p:spPr>
        <p:txBody>
          <a:bodyPr wrap="none" rtlCol="0" anchor="ctr">
            <a:spAutoFit/>
          </a:bodyPr>
          <a:lstStyle/>
          <a:p>
            <a:pPr lvl="0" algn="ctr"/>
            <a:r>
              <a:rPr lang="zh-CN" altLang="en-US"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平台</a:t>
            </a:r>
            <a:r>
              <a:rPr lang="en-US" altLang="zh-CN"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amp;</a:t>
            </a:r>
            <a:r>
              <a:rPr lang="zh-CN" altLang="en-US"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rPr>
              <a:t>团队</a:t>
            </a:r>
            <a:endParaRPr lang="zh-CN" altLang="en-US" b="1" dirty="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cs typeface="UKIJ Qolyazma" panose="02020603050405020304" pitchFamily="18" charset="0"/>
            </a:endParaRPr>
          </a:p>
        </p:txBody>
      </p:sp>
      <p:sp>
        <p:nvSpPr>
          <p:cNvPr id="504" name="TextBox 503"/>
          <p:cNvSpPr txBox="1"/>
          <p:nvPr/>
        </p:nvSpPr>
        <p:spPr>
          <a:xfrm>
            <a:off x="2951934" y="2428868"/>
            <a:ext cx="2679686" cy="625171"/>
          </a:xfrm>
          <a:prstGeom prst="rect">
            <a:avLst/>
          </a:prstGeom>
          <a:noFill/>
        </p:spPr>
        <p:txBody>
          <a:bodyPr wrap="square" rtlCol="0">
            <a:spAutoFit/>
          </a:bodyPr>
          <a:lstStyle/>
          <a:p>
            <a:pPr>
              <a:lnSpc>
                <a:spcPct val="130000"/>
              </a:lnSpc>
            </a:pPr>
            <a:r>
              <a:rPr lang="zh-CN" altLang="en-US" sz="1400" dirty="0" smtClean="0">
                <a:latin typeface="微软雅黑" panose="020B0503020204020204" pitchFamily="34" charset="-122"/>
                <a:ea typeface="微软雅黑" panose="020B0503020204020204" pitchFamily="34" charset="-122"/>
              </a:rPr>
              <a:t>精心制定的培训课程</a:t>
            </a:r>
            <a:endParaRPr lang="en-US" altLang="zh-CN" sz="1400" dirty="0" smtClean="0">
              <a:latin typeface="微软雅黑" panose="020B0503020204020204" pitchFamily="34" charset="-122"/>
              <a:ea typeface="微软雅黑" panose="020B0503020204020204" pitchFamily="34" charset="-122"/>
            </a:endParaRPr>
          </a:p>
          <a:p>
            <a:pPr>
              <a:lnSpc>
                <a:spcPct val="130000"/>
              </a:lnSpc>
            </a:pPr>
            <a:r>
              <a:rPr lang="zh-CN" altLang="en-US" sz="1400" dirty="0" smtClean="0">
                <a:latin typeface="微软雅黑" panose="020B0503020204020204" pitchFamily="34" charset="-122"/>
                <a:ea typeface="微软雅黑" panose="020B0503020204020204" pitchFamily="34" charset="-122"/>
              </a:rPr>
              <a:t>覆盖主营业务的岗位培养</a:t>
            </a:r>
            <a:endParaRPr lang="zh-CN" altLang="en-US" sz="1400" dirty="0">
              <a:latin typeface="微软雅黑" panose="020B0503020204020204" pitchFamily="34" charset="-122"/>
              <a:ea typeface="微软雅黑" panose="020B0503020204020204" pitchFamily="34" charset="-122"/>
            </a:endParaRPr>
          </a:p>
        </p:txBody>
      </p:sp>
      <p:sp>
        <p:nvSpPr>
          <p:cNvPr id="505" name="TextBox 504"/>
          <p:cNvSpPr txBox="1"/>
          <p:nvPr/>
        </p:nvSpPr>
        <p:spPr>
          <a:xfrm>
            <a:off x="7738280" y="2357430"/>
            <a:ext cx="2011007" cy="625171"/>
          </a:xfrm>
          <a:prstGeom prst="rect">
            <a:avLst/>
          </a:prstGeom>
          <a:noFill/>
        </p:spPr>
        <p:txBody>
          <a:bodyPr wrap="square" rtlCol="0">
            <a:spAutoFit/>
          </a:bodyPr>
          <a:lstStyle/>
          <a:p>
            <a:pPr>
              <a:lnSpc>
                <a:spcPct val="130000"/>
              </a:lnSpc>
            </a:pPr>
            <a:r>
              <a:rPr lang="zh-CN" altLang="en-US" sz="1400" dirty="0" smtClean="0">
                <a:latin typeface="微软雅黑" panose="020B0503020204020204" pitchFamily="34" charset="-122"/>
                <a:ea typeface="微软雅黑" panose="020B0503020204020204" pitchFamily="34" charset="-122"/>
              </a:rPr>
              <a:t>大牛导师贴心相伴</a:t>
            </a:r>
            <a:endParaRPr lang="en-US" altLang="zh-CN" sz="1400" dirty="0" smtClean="0">
              <a:latin typeface="微软雅黑" panose="020B0503020204020204" pitchFamily="34" charset="-122"/>
              <a:ea typeface="微软雅黑" panose="020B0503020204020204" pitchFamily="34" charset="-122"/>
            </a:endParaRPr>
          </a:p>
          <a:p>
            <a:pPr>
              <a:lnSpc>
                <a:spcPct val="130000"/>
              </a:lnSpc>
            </a:pPr>
            <a:r>
              <a:rPr lang="zh-CN" altLang="en-US" sz="1400" dirty="0" smtClean="0">
                <a:latin typeface="微软雅黑" panose="020B0503020204020204" pitchFamily="34" charset="-122"/>
                <a:ea typeface="微软雅黑" panose="020B0503020204020204" pitchFamily="34" charset="-122"/>
              </a:rPr>
              <a:t>班主任贴心指导</a:t>
            </a:r>
            <a:endParaRPr lang="zh-CN" altLang="en-US" sz="1400" dirty="0">
              <a:latin typeface="微软雅黑" panose="020B0503020204020204" pitchFamily="34" charset="-122"/>
              <a:ea typeface="微软雅黑" panose="020B0503020204020204" pitchFamily="34" charset="-122"/>
            </a:endParaRPr>
          </a:p>
        </p:txBody>
      </p:sp>
      <p:sp>
        <p:nvSpPr>
          <p:cNvPr id="506" name="TextBox 505"/>
          <p:cNvSpPr txBox="1"/>
          <p:nvPr/>
        </p:nvSpPr>
        <p:spPr>
          <a:xfrm>
            <a:off x="1808926" y="4714884"/>
            <a:ext cx="4165743" cy="738664"/>
          </a:xfrm>
          <a:prstGeom prst="rect">
            <a:avLst/>
          </a:prstGeom>
          <a:noFill/>
        </p:spPr>
        <p:txBody>
          <a:bodyPr wrap="square" rtlCol="0">
            <a:spAutoFit/>
          </a:bodyPr>
          <a:lstStyle/>
          <a:p>
            <a:pPr algn="ctr">
              <a:lnSpc>
                <a:spcPct val="150000"/>
              </a:lnSpc>
            </a:pPr>
            <a:r>
              <a:rPr lang="zh-CN" altLang="en-US" sz="1400" dirty="0" smtClean="0">
                <a:latin typeface="微软雅黑" panose="020B0503020204020204" pitchFamily="34" charset="-122"/>
                <a:ea typeface="微软雅黑" panose="020B0503020204020204" pitchFamily="34" charset="-122"/>
              </a:rPr>
              <a:t>总结分享</a:t>
            </a:r>
            <a:endParaRPr lang="zh-CN" altLang="en-US" sz="1400" dirty="0" smtClean="0">
              <a:latin typeface="微软雅黑" panose="020B0503020204020204" pitchFamily="34" charset="-122"/>
              <a:ea typeface="微软雅黑" panose="020B0503020204020204" pitchFamily="34" charset="-122"/>
            </a:endParaRPr>
          </a:p>
          <a:p>
            <a:pPr algn="ctr">
              <a:lnSpc>
                <a:spcPct val="150000"/>
              </a:lnSpc>
            </a:pPr>
            <a:r>
              <a:rPr lang="zh-CN" altLang="en-US" sz="1400" dirty="0" smtClean="0">
                <a:latin typeface="微软雅黑" panose="020B0503020204020204" pitchFamily="34" charset="-122"/>
                <a:ea typeface="微软雅黑" panose="020B0503020204020204" pitchFamily="34" charset="-122"/>
              </a:rPr>
              <a:t>高层领导平等对话交流</a:t>
            </a:r>
            <a:endParaRPr lang="zh-CN" altLang="en-US" sz="1400" dirty="0">
              <a:latin typeface="微软雅黑" panose="020B0503020204020204" pitchFamily="34" charset="-122"/>
              <a:ea typeface="微软雅黑" panose="020B0503020204020204" pitchFamily="34" charset="-122"/>
            </a:endParaRPr>
          </a:p>
        </p:txBody>
      </p:sp>
      <p:sp>
        <p:nvSpPr>
          <p:cNvPr id="507" name="TextBox 506"/>
          <p:cNvSpPr txBox="1"/>
          <p:nvPr/>
        </p:nvSpPr>
        <p:spPr>
          <a:xfrm>
            <a:off x="7309652" y="4786322"/>
            <a:ext cx="3225453" cy="700576"/>
          </a:xfrm>
          <a:prstGeom prst="rect">
            <a:avLst/>
          </a:prstGeom>
          <a:noFill/>
        </p:spPr>
        <p:txBody>
          <a:bodyPr wrap="square" rtlCol="0">
            <a:spAutoFit/>
          </a:bodyPr>
          <a:lstStyle/>
          <a:p>
            <a:pPr algn="ctr">
              <a:lnSpc>
                <a:spcPct val="150000"/>
              </a:lnSpc>
            </a:pPr>
            <a:r>
              <a:rPr lang="zh-CN" altLang="en-US" sz="1400" dirty="0" smtClean="0">
                <a:latin typeface="微软雅黑" panose="020B0503020204020204" pitchFamily="34" charset="-122"/>
                <a:ea typeface="微软雅黑" panose="020B0503020204020204" pitchFamily="34" charset="-122"/>
              </a:rPr>
              <a:t>最广阔的发展平台</a:t>
            </a:r>
            <a:endParaRPr lang="en-US" altLang="zh-CN" sz="1400" dirty="0" smtClean="0">
              <a:latin typeface="微软雅黑" panose="020B0503020204020204" pitchFamily="34" charset="-122"/>
              <a:ea typeface="微软雅黑" panose="020B0503020204020204" pitchFamily="34" charset="-122"/>
            </a:endParaRPr>
          </a:p>
          <a:p>
            <a:pPr algn="ctr">
              <a:lnSpc>
                <a:spcPct val="150000"/>
              </a:lnSpc>
            </a:pPr>
            <a:r>
              <a:rPr lang="zh-CN" altLang="en-US" sz="1400" dirty="0" smtClean="0">
                <a:latin typeface="微软雅黑" panose="020B0503020204020204" pitchFamily="34" charset="-122"/>
                <a:ea typeface="微软雅黑" panose="020B0503020204020204" pitchFamily="34" charset="-122"/>
              </a:rPr>
              <a:t>在团队氛围中接受挑战</a:t>
            </a:r>
            <a:endParaRPr lang="zh-CN" altLang="en-US" sz="1400" dirty="0">
              <a:latin typeface="微软雅黑" panose="020B0503020204020204" pitchFamily="34" charset="-122"/>
              <a:ea typeface="微软雅黑" panose="020B0503020204020204" pitchFamily="34" charset="-122"/>
            </a:endParaRPr>
          </a:p>
        </p:txBody>
      </p:sp>
      <p:sp>
        <p:nvSpPr>
          <p:cNvPr id="20" name="TextBox 19"/>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人才培养机制</a:t>
            </a:r>
            <a:endParaRPr lang="zh-CN" altLang="en-US" sz="2400" b="1" dirty="0" smtClean="0">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300" advTm="4519">
        <p14:pan/>
      </p:transition>
    </mc:Choice>
    <mc:Fallback>
      <p:transition spd="slow" advTm="451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672"/>
                                        </p:tgtEl>
                                        <p:attrNameLst>
                                          <p:attrName>style.visibility</p:attrName>
                                        </p:attrNameLst>
                                      </p:cBhvr>
                                      <p:to>
                                        <p:strVal val="visible"/>
                                      </p:to>
                                    </p:set>
                                    <p:animEffect transition="in" filter="wipe(left)">
                                      <p:cBhvr>
                                        <p:cTn id="7" dur="500"/>
                                        <p:tgtEl>
                                          <p:spTgt spid="9672"/>
                                        </p:tgtEl>
                                      </p:cBhvr>
                                    </p:animEffect>
                                  </p:childTnLst>
                                </p:cTn>
                              </p:par>
                              <p:par>
                                <p:cTn id="8" presetID="22" presetClass="entr" presetSubtype="8" fill="hold" nodeType="withEffect">
                                  <p:stCondLst>
                                    <p:cond delay="0"/>
                                  </p:stCondLst>
                                  <p:childTnLst>
                                    <p:set>
                                      <p:cBhvr>
                                        <p:cTn id="9" dur="1" fill="hold">
                                          <p:stCondLst>
                                            <p:cond delay="0"/>
                                          </p:stCondLst>
                                        </p:cTn>
                                        <p:tgtEl>
                                          <p:spTgt spid="496"/>
                                        </p:tgtEl>
                                        <p:attrNameLst>
                                          <p:attrName>style.visibility</p:attrName>
                                        </p:attrNameLst>
                                      </p:cBhvr>
                                      <p:to>
                                        <p:strVal val="visible"/>
                                      </p:to>
                                    </p:set>
                                    <p:animEffect transition="in" filter="wipe(left)">
                                      <p:cBhvr>
                                        <p:cTn id="10" dur="500"/>
                                        <p:tgtEl>
                                          <p:spTgt spid="496"/>
                                        </p:tgtEl>
                                      </p:cBhvr>
                                    </p:animEffect>
                                  </p:childTnLst>
                                </p:cTn>
                              </p:par>
                              <p:par>
                                <p:cTn id="11" presetID="22" presetClass="entr" presetSubtype="8" fill="hold" nodeType="withEffect">
                                  <p:stCondLst>
                                    <p:cond delay="0"/>
                                  </p:stCondLst>
                                  <p:childTnLst>
                                    <p:set>
                                      <p:cBhvr>
                                        <p:cTn id="12" dur="1" fill="hold">
                                          <p:stCondLst>
                                            <p:cond delay="0"/>
                                          </p:stCondLst>
                                        </p:cTn>
                                        <p:tgtEl>
                                          <p:spTgt spid="497"/>
                                        </p:tgtEl>
                                        <p:attrNameLst>
                                          <p:attrName>style.visibility</p:attrName>
                                        </p:attrNameLst>
                                      </p:cBhvr>
                                      <p:to>
                                        <p:strVal val="visible"/>
                                      </p:to>
                                    </p:set>
                                    <p:animEffect transition="in" filter="wipe(left)">
                                      <p:cBhvr>
                                        <p:cTn id="13" dur="500"/>
                                        <p:tgtEl>
                                          <p:spTgt spid="497"/>
                                        </p:tgtEl>
                                      </p:cBhvr>
                                    </p:animEffect>
                                  </p:childTnLst>
                                </p:cTn>
                              </p:par>
                              <p:par>
                                <p:cTn id="14" presetID="22" presetClass="entr" presetSubtype="8" fill="hold" nodeType="withEffect">
                                  <p:stCondLst>
                                    <p:cond delay="0"/>
                                  </p:stCondLst>
                                  <p:childTnLst>
                                    <p:set>
                                      <p:cBhvr>
                                        <p:cTn id="15" dur="1" fill="hold">
                                          <p:stCondLst>
                                            <p:cond delay="0"/>
                                          </p:stCondLst>
                                        </p:cTn>
                                        <p:tgtEl>
                                          <p:spTgt spid="498"/>
                                        </p:tgtEl>
                                        <p:attrNameLst>
                                          <p:attrName>style.visibility</p:attrName>
                                        </p:attrNameLst>
                                      </p:cBhvr>
                                      <p:to>
                                        <p:strVal val="visible"/>
                                      </p:to>
                                    </p:set>
                                    <p:animEffect transition="in" filter="wipe(left)">
                                      <p:cBhvr>
                                        <p:cTn id="16" dur="500"/>
                                        <p:tgtEl>
                                          <p:spTgt spid="498"/>
                                        </p:tgtEl>
                                      </p:cBhvr>
                                    </p:animEffect>
                                  </p:childTnLst>
                                </p:cTn>
                              </p:par>
                            </p:childTnLst>
                          </p:cTn>
                        </p:par>
                        <p:par>
                          <p:cTn id="17" fill="hold">
                            <p:stCondLst>
                              <p:cond delay="500"/>
                            </p:stCondLst>
                            <p:childTnLst>
                              <p:par>
                                <p:cTn id="18" presetID="12" presetClass="entr" presetSubtype="4" fill="hold" grpId="0" nodeType="afterEffect">
                                  <p:stCondLst>
                                    <p:cond delay="0"/>
                                  </p:stCondLst>
                                  <p:iterate type="lt">
                                    <p:tmPct val="50000"/>
                                  </p:iterate>
                                  <p:childTnLst>
                                    <p:set>
                                      <p:cBhvr>
                                        <p:cTn id="19" dur="1" fill="hold">
                                          <p:stCondLst>
                                            <p:cond delay="0"/>
                                          </p:stCondLst>
                                        </p:cTn>
                                        <p:tgtEl>
                                          <p:spTgt spid="499"/>
                                        </p:tgtEl>
                                        <p:attrNameLst>
                                          <p:attrName>style.visibility</p:attrName>
                                        </p:attrNameLst>
                                      </p:cBhvr>
                                      <p:to>
                                        <p:strVal val="visible"/>
                                      </p:to>
                                    </p:set>
                                    <p:anim calcmode="lin" valueType="num">
                                      <p:cBhvr additive="base">
                                        <p:cTn id="20" dur="300"/>
                                        <p:tgtEl>
                                          <p:spTgt spid="499"/>
                                        </p:tgtEl>
                                        <p:attrNameLst>
                                          <p:attrName>ppt_y</p:attrName>
                                        </p:attrNameLst>
                                      </p:cBhvr>
                                      <p:tavLst>
                                        <p:tav tm="0">
                                          <p:val>
                                            <p:strVal val="#ppt_y+#ppt_h*1.125000"/>
                                          </p:val>
                                        </p:tav>
                                        <p:tav tm="100000">
                                          <p:val>
                                            <p:strVal val="#ppt_y"/>
                                          </p:val>
                                        </p:tav>
                                      </p:tavLst>
                                    </p:anim>
                                    <p:animEffect transition="in" filter="wipe(up)">
                                      <p:cBhvr>
                                        <p:cTn id="21" dur="300"/>
                                        <p:tgtEl>
                                          <p:spTgt spid="499"/>
                                        </p:tgtEl>
                                      </p:cBhvr>
                                    </p:animEffect>
                                  </p:childTnLst>
                                </p:cTn>
                              </p:par>
                              <p:par>
                                <p:cTn id="22" presetID="12" presetClass="entr" presetSubtype="4" fill="hold" grpId="0" nodeType="withEffect">
                                  <p:stCondLst>
                                    <p:cond delay="0"/>
                                  </p:stCondLst>
                                  <p:iterate type="lt">
                                    <p:tmPct val="50000"/>
                                  </p:iterate>
                                  <p:childTnLst>
                                    <p:set>
                                      <p:cBhvr>
                                        <p:cTn id="23" dur="1" fill="hold">
                                          <p:stCondLst>
                                            <p:cond delay="0"/>
                                          </p:stCondLst>
                                        </p:cTn>
                                        <p:tgtEl>
                                          <p:spTgt spid="500"/>
                                        </p:tgtEl>
                                        <p:attrNameLst>
                                          <p:attrName>style.visibility</p:attrName>
                                        </p:attrNameLst>
                                      </p:cBhvr>
                                      <p:to>
                                        <p:strVal val="visible"/>
                                      </p:to>
                                    </p:set>
                                    <p:anim calcmode="lin" valueType="num">
                                      <p:cBhvr additive="base">
                                        <p:cTn id="24" dur="300"/>
                                        <p:tgtEl>
                                          <p:spTgt spid="500"/>
                                        </p:tgtEl>
                                        <p:attrNameLst>
                                          <p:attrName>ppt_y</p:attrName>
                                        </p:attrNameLst>
                                      </p:cBhvr>
                                      <p:tavLst>
                                        <p:tav tm="0">
                                          <p:val>
                                            <p:strVal val="#ppt_y+#ppt_h*1.125000"/>
                                          </p:val>
                                        </p:tav>
                                        <p:tav tm="100000">
                                          <p:val>
                                            <p:strVal val="#ppt_y"/>
                                          </p:val>
                                        </p:tav>
                                      </p:tavLst>
                                    </p:anim>
                                    <p:animEffect transition="in" filter="wipe(up)">
                                      <p:cBhvr>
                                        <p:cTn id="25" dur="300"/>
                                        <p:tgtEl>
                                          <p:spTgt spid="500"/>
                                        </p:tgtEl>
                                      </p:cBhvr>
                                    </p:animEffect>
                                  </p:childTnLst>
                                </p:cTn>
                              </p:par>
                              <p:par>
                                <p:cTn id="26" presetID="12" presetClass="entr" presetSubtype="4" fill="hold" grpId="0" nodeType="withEffect">
                                  <p:stCondLst>
                                    <p:cond delay="0"/>
                                  </p:stCondLst>
                                  <p:iterate type="lt">
                                    <p:tmPct val="50000"/>
                                  </p:iterate>
                                  <p:childTnLst>
                                    <p:set>
                                      <p:cBhvr>
                                        <p:cTn id="27" dur="1" fill="hold">
                                          <p:stCondLst>
                                            <p:cond delay="0"/>
                                          </p:stCondLst>
                                        </p:cTn>
                                        <p:tgtEl>
                                          <p:spTgt spid="501"/>
                                        </p:tgtEl>
                                        <p:attrNameLst>
                                          <p:attrName>style.visibility</p:attrName>
                                        </p:attrNameLst>
                                      </p:cBhvr>
                                      <p:to>
                                        <p:strVal val="visible"/>
                                      </p:to>
                                    </p:set>
                                    <p:anim calcmode="lin" valueType="num">
                                      <p:cBhvr additive="base">
                                        <p:cTn id="28" dur="300"/>
                                        <p:tgtEl>
                                          <p:spTgt spid="501"/>
                                        </p:tgtEl>
                                        <p:attrNameLst>
                                          <p:attrName>ppt_y</p:attrName>
                                        </p:attrNameLst>
                                      </p:cBhvr>
                                      <p:tavLst>
                                        <p:tav tm="0">
                                          <p:val>
                                            <p:strVal val="#ppt_y+#ppt_h*1.125000"/>
                                          </p:val>
                                        </p:tav>
                                        <p:tav tm="100000">
                                          <p:val>
                                            <p:strVal val="#ppt_y"/>
                                          </p:val>
                                        </p:tav>
                                      </p:tavLst>
                                    </p:anim>
                                    <p:animEffect transition="in" filter="wipe(up)">
                                      <p:cBhvr>
                                        <p:cTn id="29" dur="300"/>
                                        <p:tgtEl>
                                          <p:spTgt spid="501"/>
                                        </p:tgtEl>
                                      </p:cBhvr>
                                    </p:animEffect>
                                  </p:childTnLst>
                                </p:cTn>
                              </p:par>
                              <p:par>
                                <p:cTn id="30" presetID="12" presetClass="entr" presetSubtype="4" fill="hold" grpId="0" nodeType="withEffect">
                                  <p:stCondLst>
                                    <p:cond delay="0"/>
                                  </p:stCondLst>
                                  <p:iterate type="lt">
                                    <p:tmPct val="50000"/>
                                  </p:iterate>
                                  <p:childTnLst>
                                    <p:set>
                                      <p:cBhvr>
                                        <p:cTn id="31" dur="1" fill="hold">
                                          <p:stCondLst>
                                            <p:cond delay="0"/>
                                          </p:stCondLst>
                                        </p:cTn>
                                        <p:tgtEl>
                                          <p:spTgt spid="502"/>
                                        </p:tgtEl>
                                        <p:attrNameLst>
                                          <p:attrName>style.visibility</p:attrName>
                                        </p:attrNameLst>
                                      </p:cBhvr>
                                      <p:to>
                                        <p:strVal val="visible"/>
                                      </p:to>
                                    </p:set>
                                    <p:anim calcmode="lin" valueType="num">
                                      <p:cBhvr additive="base">
                                        <p:cTn id="32" dur="300"/>
                                        <p:tgtEl>
                                          <p:spTgt spid="502"/>
                                        </p:tgtEl>
                                        <p:attrNameLst>
                                          <p:attrName>ppt_y</p:attrName>
                                        </p:attrNameLst>
                                      </p:cBhvr>
                                      <p:tavLst>
                                        <p:tav tm="0">
                                          <p:val>
                                            <p:strVal val="#ppt_y+#ppt_h*1.125000"/>
                                          </p:val>
                                        </p:tav>
                                        <p:tav tm="100000">
                                          <p:val>
                                            <p:strVal val="#ppt_y"/>
                                          </p:val>
                                        </p:tav>
                                      </p:tavLst>
                                    </p:anim>
                                    <p:animEffect transition="in" filter="wipe(up)">
                                      <p:cBhvr>
                                        <p:cTn id="33" dur="300"/>
                                        <p:tgtEl>
                                          <p:spTgt spid="502"/>
                                        </p:tgtEl>
                                      </p:cBhvr>
                                    </p:animEffect>
                                  </p:childTnLst>
                                </p:cTn>
                              </p:par>
                              <p:par>
                                <p:cTn id="34" presetID="10" presetClass="entr" presetSubtype="0" fill="hold" grpId="0" nodeType="withEffect">
                                  <p:stCondLst>
                                    <p:cond delay="1000"/>
                                  </p:stCondLst>
                                  <p:iterate type="lt">
                                    <p:tmPct val="10000"/>
                                  </p:iterate>
                                  <p:childTnLst>
                                    <p:set>
                                      <p:cBhvr>
                                        <p:cTn id="35" dur="1" fill="hold">
                                          <p:stCondLst>
                                            <p:cond delay="0"/>
                                          </p:stCondLst>
                                        </p:cTn>
                                        <p:tgtEl>
                                          <p:spTgt spid="504"/>
                                        </p:tgtEl>
                                        <p:attrNameLst>
                                          <p:attrName>style.visibility</p:attrName>
                                        </p:attrNameLst>
                                      </p:cBhvr>
                                      <p:to>
                                        <p:strVal val="visible"/>
                                      </p:to>
                                    </p:set>
                                    <p:animEffect transition="in" filter="fade">
                                      <p:cBhvr>
                                        <p:cTn id="36" dur="100"/>
                                        <p:tgtEl>
                                          <p:spTgt spid="504"/>
                                        </p:tgtEl>
                                      </p:cBhvr>
                                    </p:animEffect>
                                  </p:childTnLst>
                                </p:cTn>
                              </p:par>
                              <p:par>
                                <p:cTn id="37" presetID="10" presetClass="entr" presetSubtype="0" fill="hold" grpId="0" nodeType="withEffect">
                                  <p:stCondLst>
                                    <p:cond delay="1000"/>
                                  </p:stCondLst>
                                  <p:iterate type="lt">
                                    <p:tmPct val="10000"/>
                                  </p:iterate>
                                  <p:childTnLst>
                                    <p:set>
                                      <p:cBhvr>
                                        <p:cTn id="38" dur="1" fill="hold">
                                          <p:stCondLst>
                                            <p:cond delay="0"/>
                                          </p:stCondLst>
                                        </p:cTn>
                                        <p:tgtEl>
                                          <p:spTgt spid="505"/>
                                        </p:tgtEl>
                                        <p:attrNameLst>
                                          <p:attrName>style.visibility</p:attrName>
                                        </p:attrNameLst>
                                      </p:cBhvr>
                                      <p:to>
                                        <p:strVal val="visible"/>
                                      </p:to>
                                    </p:set>
                                    <p:animEffect transition="in" filter="fade">
                                      <p:cBhvr>
                                        <p:cTn id="39" dur="100"/>
                                        <p:tgtEl>
                                          <p:spTgt spid="505"/>
                                        </p:tgtEl>
                                      </p:cBhvr>
                                    </p:animEffect>
                                  </p:childTnLst>
                                </p:cTn>
                              </p:par>
                              <p:par>
                                <p:cTn id="40" presetID="10" presetClass="entr" presetSubtype="0" fill="hold" grpId="0" nodeType="withEffect">
                                  <p:stCondLst>
                                    <p:cond delay="1000"/>
                                  </p:stCondLst>
                                  <p:iterate type="lt">
                                    <p:tmPct val="10000"/>
                                  </p:iterate>
                                  <p:childTnLst>
                                    <p:set>
                                      <p:cBhvr>
                                        <p:cTn id="41" dur="1" fill="hold">
                                          <p:stCondLst>
                                            <p:cond delay="0"/>
                                          </p:stCondLst>
                                        </p:cTn>
                                        <p:tgtEl>
                                          <p:spTgt spid="506"/>
                                        </p:tgtEl>
                                        <p:attrNameLst>
                                          <p:attrName>style.visibility</p:attrName>
                                        </p:attrNameLst>
                                      </p:cBhvr>
                                      <p:to>
                                        <p:strVal val="visible"/>
                                      </p:to>
                                    </p:set>
                                    <p:animEffect transition="in" filter="fade">
                                      <p:cBhvr>
                                        <p:cTn id="42" dur="100"/>
                                        <p:tgtEl>
                                          <p:spTgt spid="506"/>
                                        </p:tgtEl>
                                      </p:cBhvr>
                                    </p:animEffect>
                                  </p:childTnLst>
                                </p:cTn>
                              </p:par>
                              <p:par>
                                <p:cTn id="43" presetID="10" presetClass="entr" presetSubtype="0" fill="hold" grpId="0" nodeType="withEffect">
                                  <p:stCondLst>
                                    <p:cond delay="1000"/>
                                  </p:stCondLst>
                                  <p:iterate type="lt">
                                    <p:tmPct val="10000"/>
                                  </p:iterate>
                                  <p:childTnLst>
                                    <p:set>
                                      <p:cBhvr>
                                        <p:cTn id="44" dur="1" fill="hold">
                                          <p:stCondLst>
                                            <p:cond delay="0"/>
                                          </p:stCondLst>
                                        </p:cTn>
                                        <p:tgtEl>
                                          <p:spTgt spid="507"/>
                                        </p:tgtEl>
                                        <p:attrNameLst>
                                          <p:attrName>style.visibility</p:attrName>
                                        </p:attrNameLst>
                                      </p:cBhvr>
                                      <p:to>
                                        <p:strVal val="visible"/>
                                      </p:to>
                                    </p:set>
                                    <p:animEffect transition="in" filter="fade">
                                      <p:cBhvr>
                                        <p:cTn id="45" dur="100"/>
                                        <p:tgtEl>
                                          <p:spTgt spid="5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9" grpId="0"/>
      <p:bldP spid="500" grpId="0"/>
      <p:bldP spid="501" grpId="0"/>
      <p:bldP spid="502" grpId="0"/>
      <p:bldP spid="504" grpId="0"/>
      <p:bldP spid="505" grpId="0"/>
      <p:bldP spid="506" grpId="0"/>
      <p:bldP spid="50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rot="16200000" flipV="1">
            <a:off x="-2408598" y="2408598"/>
            <a:ext cx="6260239" cy="1443042"/>
          </a:xfrm>
          <a:custGeom>
            <a:avLst/>
            <a:gdLst>
              <a:gd name="connsiteX0" fmla="*/ 6260239 w 6260239"/>
              <a:gd name="connsiteY0" fmla="*/ 1443042 h 1443042"/>
              <a:gd name="connsiteX1" fmla="*/ 6260239 w 6260239"/>
              <a:gd name="connsiteY1" fmla="*/ 1370077 h 1443042"/>
              <a:gd name="connsiteX2" fmla="*/ 3239468 w 6260239"/>
              <a:gd name="connsiteY2" fmla="*/ 0 h 1443042"/>
              <a:gd name="connsiteX3" fmla="*/ 0 w 6260239"/>
              <a:gd name="connsiteY3" fmla="*/ 1443042 h 1443042"/>
            </a:gdLst>
            <a:ahLst/>
            <a:cxnLst>
              <a:cxn ang="0">
                <a:pos x="connsiteX0" y="connsiteY0"/>
              </a:cxn>
              <a:cxn ang="0">
                <a:pos x="connsiteX1" y="connsiteY1"/>
              </a:cxn>
              <a:cxn ang="0">
                <a:pos x="connsiteX2" y="connsiteY2"/>
              </a:cxn>
              <a:cxn ang="0">
                <a:pos x="connsiteX3" y="connsiteY3"/>
              </a:cxn>
            </a:cxnLst>
            <a:rect l="l" t="t" r="r" b="b"/>
            <a:pathLst>
              <a:path w="6260239" h="1443042">
                <a:moveTo>
                  <a:pt x="6260239" y="1443042"/>
                </a:moveTo>
                <a:lnTo>
                  <a:pt x="6260239" y="1370077"/>
                </a:lnTo>
                <a:lnTo>
                  <a:pt x="3239468" y="0"/>
                </a:lnTo>
                <a:lnTo>
                  <a:pt x="0" y="1443042"/>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任意多边形 1"/>
          <p:cNvSpPr/>
          <p:nvPr/>
        </p:nvSpPr>
        <p:spPr>
          <a:xfrm rot="16200000" flipV="1">
            <a:off x="-2476738" y="2938220"/>
            <a:ext cx="6396518" cy="1443041"/>
          </a:xfrm>
          <a:custGeom>
            <a:avLst/>
            <a:gdLst>
              <a:gd name="connsiteX0" fmla="*/ 6396518 w 6396518"/>
              <a:gd name="connsiteY0" fmla="*/ 1443041 h 1443041"/>
              <a:gd name="connsiteX1" fmla="*/ 3214875 w 6396518"/>
              <a:gd name="connsiteY1" fmla="*/ 0 h 1443041"/>
              <a:gd name="connsiteX2" fmla="*/ 0 w 6396518"/>
              <a:gd name="connsiteY2" fmla="*/ 1432086 h 1443041"/>
              <a:gd name="connsiteX3" fmla="*/ 0 w 6396518"/>
              <a:gd name="connsiteY3" fmla="*/ 1443041 h 1443041"/>
            </a:gdLst>
            <a:ahLst/>
            <a:cxnLst>
              <a:cxn ang="0">
                <a:pos x="connsiteX0" y="connsiteY0"/>
              </a:cxn>
              <a:cxn ang="0">
                <a:pos x="connsiteX1" y="connsiteY1"/>
              </a:cxn>
              <a:cxn ang="0">
                <a:pos x="connsiteX2" y="connsiteY2"/>
              </a:cxn>
              <a:cxn ang="0">
                <a:pos x="connsiteX3" y="connsiteY3"/>
              </a:cxn>
            </a:cxnLst>
            <a:rect l="l" t="t" r="r" b="b"/>
            <a:pathLst>
              <a:path w="6396518" h="1443041">
                <a:moveTo>
                  <a:pt x="6396518" y="1443041"/>
                </a:moveTo>
                <a:lnTo>
                  <a:pt x="3214875" y="0"/>
                </a:lnTo>
                <a:lnTo>
                  <a:pt x="0" y="1432086"/>
                </a:lnTo>
                <a:lnTo>
                  <a:pt x="0" y="1443041"/>
                </a:ln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4"/>
          <p:cNvSpPr txBox="1"/>
          <p:nvPr/>
        </p:nvSpPr>
        <p:spPr>
          <a:xfrm>
            <a:off x="1666050" y="2000240"/>
            <a:ext cx="8715436" cy="369332"/>
          </a:xfrm>
          <a:prstGeom prst="rect">
            <a:avLst/>
          </a:prstGeom>
          <a:noFill/>
        </p:spPr>
        <p:txBody>
          <a:bodyPr wrap="square" rtlCol="0" anchor="ctr">
            <a:spAutoFit/>
          </a:bodyPr>
          <a:lstStyle/>
          <a:p>
            <a:endParaRPr lang="zh-CN" altLang="en-US" dirty="0" smtClean="0">
              <a:latin typeface="微软雅黑" panose="020B0503020204020204" pitchFamily="34" charset="-122"/>
              <a:ea typeface="微软雅黑" panose="020B0503020204020204" pitchFamily="34" charset="-122"/>
            </a:endParaRPr>
          </a:p>
        </p:txBody>
      </p:sp>
      <p:sp>
        <p:nvSpPr>
          <p:cNvPr id="6" name="矩形 5"/>
          <p:cNvSpPr/>
          <p:nvPr/>
        </p:nvSpPr>
        <p:spPr>
          <a:xfrm>
            <a:off x="3594876" y="2285992"/>
            <a:ext cx="6429420" cy="2185214"/>
          </a:xfrm>
          <a:prstGeom prst="rect">
            <a:avLst/>
          </a:prstGeom>
        </p:spPr>
        <p:txBody>
          <a:bodyPr wrap="square">
            <a:spAutoFit/>
          </a:bodyPr>
          <a:lstStyle/>
          <a:p>
            <a:pPr lvl="0"/>
            <a:r>
              <a:rPr lang="en-US" altLang="x-none" sz="4800" dirty="0" smtClean="0">
                <a:latin typeface="微软雅黑" panose="020B0503020204020204" pitchFamily="34" charset="-122"/>
                <a:ea typeface="微软雅黑" panose="020B0503020204020204" pitchFamily="34" charset="-122"/>
              </a:rPr>
              <a:t>CHAPTER  </a:t>
            </a:r>
            <a:r>
              <a:rPr lang="en-US" altLang="zh-CN" sz="4800" dirty="0" smtClean="0">
                <a:latin typeface="微软雅黑" panose="020B0503020204020204" pitchFamily="34" charset="-122"/>
                <a:ea typeface="微软雅黑" panose="020B0503020204020204" pitchFamily="34" charset="-122"/>
              </a:rPr>
              <a:t>THREE</a:t>
            </a:r>
            <a:endParaRPr lang="en-US" altLang="x-none" sz="4800" dirty="0" smtClean="0">
              <a:latin typeface="微软雅黑" panose="020B0503020204020204" pitchFamily="34" charset="-122"/>
              <a:ea typeface="微软雅黑" panose="020B0503020204020204" pitchFamily="34" charset="-122"/>
            </a:endParaRPr>
          </a:p>
          <a:p>
            <a:pPr lvl="0"/>
            <a:endParaRPr lang="en-US" altLang="zh-CN" sz="4800" b="1" dirty="0" smtClean="0">
              <a:latin typeface="微软雅黑" panose="020B0503020204020204" pitchFamily="34" charset="-122"/>
              <a:ea typeface="微软雅黑" panose="020B0503020204020204" pitchFamily="34" charset="-122"/>
            </a:endParaRPr>
          </a:p>
          <a:p>
            <a:pPr lvl="0"/>
            <a:r>
              <a:rPr lang="zh-CN" altLang="en-US" sz="4000" dirty="0" smtClean="0">
                <a:latin typeface="Segoe UI Light" panose="020B0502040204020203" pitchFamily="2" charset="0"/>
                <a:ea typeface="微软雅黑" panose="020B0503020204020204" pitchFamily="34" charset="-122"/>
              </a:rPr>
              <a:t> 成长</a:t>
            </a:r>
            <a:r>
              <a:rPr lang="en-US" altLang="zh-CN" sz="4000" dirty="0" smtClean="0">
                <a:latin typeface="Segoe UI Light" panose="020B0502040204020203" pitchFamily="2" charset="0"/>
                <a:ea typeface="微软雅黑" panose="020B0503020204020204" pitchFamily="34" charset="-122"/>
              </a:rPr>
              <a:t>&amp;</a:t>
            </a:r>
            <a:r>
              <a:rPr lang="zh-CN" altLang="en-US" sz="4000" dirty="0" smtClean="0">
                <a:latin typeface="Segoe UI Light" panose="020B0502040204020203" pitchFamily="2" charset="0"/>
                <a:ea typeface="微软雅黑" panose="020B0503020204020204" pitchFamily="34" charset="-122"/>
              </a:rPr>
              <a:t>收获</a:t>
            </a:r>
            <a:endParaRPr lang="zh-CN" altLang="en-US" sz="4000" dirty="0">
              <a:latin typeface="Segoe UI Light" panose="020B0502040204020203" pitchFamily="2" charset="0"/>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10" advClick="0" advTm="3178"/>
    </mc:Choice>
    <mc:Fallback>
      <p:transition advClick="0" advTm="31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 grpId="0" animBg="1"/>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矩形 79"/>
          <p:cNvSpPr/>
          <p:nvPr/>
        </p:nvSpPr>
        <p:spPr>
          <a:xfrm>
            <a:off x="1666050" y="5500702"/>
            <a:ext cx="8572560" cy="43198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33" name="TextBox 32"/>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人才培养机制</a:t>
            </a:r>
            <a:endParaRPr lang="zh-CN" altLang="en-US" sz="2400" b="1" dirty="0" smtClean="0">
              <a:latin typeface="微软雅黑" panose="020B0503020204020204" pitchFamily="34" charset="-122"/>
              <a:ea typeface="微软雅黑" panose="020B0503020204020204" pitchFamily="34" charset="-122"/>
            </a:endParaRPr>
          </a:p>
        </p:txBody>
      </p:sp>
      <p:sp>
        <p:nvSpPr>
          <p:cNvPr id="40" name="TextBox 39"/>
          <p:cNvSpPr txBox="1"/>
          <p:nvPr/>
        </p:nvSpPr>
        <p:spPr>
          <a:xfrm>
            <a:off x="1237422" y="857232"/>
            <a:ext cx="4357718" cy="400110"/>
          </a:xfrm>
          <a:prstGeom prst="rect">
            <a:avLst/>
          </a:prstGeom>
          <a:noFill/>
        </p:spPr>
        <p:txBody>
          <a:bodyPr wrap="square" rtlCol="0" anchor="ctr">
            <a:spAutoFit/>
          </a:bodyPr>
          <a:lstStyle/>
          <a:p>
            <a:r>
              <a:rPr lang="zh-CN" altLang="en-US" sz="2000" b="1" dirty="0" smtClean="0">
                <a:latin typeface="微软雅黑" panose="020B0503020204020204" pitchFamily="34" charset="-122"/>
                <a:ea typeface="微软雅黑" panose="020B0503020204020204" pitchFamily="34" charset="-122"/>
              </a:rPr>
              <a:t>完善的员工职业发展通道</a:t>
            </a:r>
            <a:endParaRPr lang="zh-CN" altLang="en-US" sz="2000" b="1" dirty="0" smtClean="0">
              <a:latin typeface="微软雅黑" panose="020B0503020204020204" pitchFamily="34" charset="-122"/>
              <a:ea typeface="微软雅黑" panose="020B0503020204020204" pitchFamily="34" charset="-122"/>
            </a:endParaRPr>
          </a:p>
        </p:txBody>
      </p:sp>
      <p:grpSp>
        <p:nvGrpSpPr>
          <p:cNvPr id="24" name="组合 23"/>
          <p:cNvGrpSpPr/>
          <p:nvPr/>
        </p:nvGrpSpPr>
        <p:grpSpPr>
          <a:xfrm>
            <a:off x="1808926" y="5286388"/>
            <a:ext cx="1713203" cy="635205"/>
            <a:chOff x="1528815" y="5778817"/>
            <a:chExt cx="2419934" cy="635205"/>
          </a:xfrm>
          <a:solidFill>
            <a:schemeClr val="accent1">
              <a:lumMod val="60000"/>
              <a:lumOff val="40000"/>
            </a:schemeClr>
          </a:solidFill>
        </p:grpSpPr>
        <p:sp>
          <p:nvSpPr>
            <p:cNvPr id="77" name="矩形 3"/>
            <p:cNvSpPr/>
            <p:nvPr/>
          </p:nvSpPr>
          <p:spPr>
            <a:xfrm>
              <a:off x="1528815" y="5982022"/>
              <a:ext cx="2232962" cy="43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技术发展通道</a:t>
              </a: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78" name="等腰三角形 4"/>
            <p:cNvSpPr/>
            <p:nvPr/>
          </p:nvSpPr>
          <p:spPr>
            <a:xfrm>
              <a:off x="1587686" y="5778817"/>
              <a:ext cx="2361063" cy="216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5" name="组合 5"/>
          <p:cNvGrpSpPr/>
          <p:nvPr/>
        </p:nvGrpSpPr>
        <p:grpSpPr>
          <a:xfrm>
            <a:off x="5095074" y="5286388"/>
            <a:ext cx="1675994" cy="648000"/>
            <a:chOff x="1587686" y="5778817"/>
            <a:chExt cx="2367376" cy="648000"/>
          </a:xfrm>
          <a:solidFill>
            <a:srgbClr val="F3343C"/>
          </a:solidFill>
        </p:grpSpPr>
        <p:sp>
          <p:nvSpPr>
            <p:cNvPr id="75" name="矩形 74"/>
            <p:cNvSpPr/>
            <p:nvPr/>
          </p:nvSpPr>
          <p:spPr>
            <a:xfrm>
              <a:off x="1594000" y="5994817"/>
              <a:ext cx="2361062"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管理发展通道</a:t>
              </a: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76" name="等腰三角形 75"/>
            <p:cNvSpPr/>
            <p:nvPr/>
          </p:nvSpPr>
          <p:spPr>
            <a:xfrm>
              <a:off x="1587686" y="5778817"/>
              <a:ext cx="2361063" cy="216000"/>
            </a:xfrm>
            <a:prstGeom prst="triangl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0" name="组合 8"/>
          <p:cNvGrpSpPr/>
          <p:nvPr/>
        </p:nvGrpSpPr>
        <p:grpSpPr>
          <a:xfrm>
            <a:off x="8452660" y="5286388"/>
            <a:ext cx="1715722" cy="648000"/>
            <a:chOff x="1436361" y="5778798"/>
            <a:chExt cx="2423492" cy="648000"/>
          </a:xfrm>
          <a:solidFill>
            <a:schemeClr val="accent1">
              <a:lumMod val="60000"/>
              <a:lumOff val="40000"/>
            </a:schemeClr>
          </a:solidFill>
        </p:grpSpPr>
        <p:sp>
          <p:nvSpPr>
            <p:cNvPr id="73" name="矩形 72"/>
            <p:cNvSpPr/>
            <p:nvPr/>
          </p:nvSpPr>
          <p:spPr>
            <a:xfrm>
              <a:off x="1650115" y="5994798"/>
              <a:ext cx="2209738" cy="432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latin typeface="微软雅黑" panose="020B0503020204020204" pitchFamily="34" charset="-122"/>
                  <a:ea typeface="微软雅黑" panose="020B0503020204020204" pitchFamily="34" charset="-122"/>
                </a:rPr>
                <a:t>专业发展通道</a:t>
              </a:r>
              <a:endParaRPr lang="zh-CN" altLang="en-US" sz="1600" b="1" dirty="0">
                <a:solidFill>
                  <a:schemeClr val="tx1"/>
                </a:solidFill>
                <a:latin typeface="微软雅黑" panose="020B0503020204020204" pitchFamily="34" charset="-122"/>
                <a:ea typeface="微软雅黑" panose="020B0503020204020204" pitchFamily="34" charset="-122"/>
              </a:endParaRPr>
            </a:p>
          </p:txBody>
        </p:sp>
        <p:sp>
          <p:nvSpPr>
            <p:cNvPr id="74" name="等腰三角形 73"/>
            <p:cNvSpPr/>
            <p:nvPr/>
          </p:nvSpPr>
          <p:spPr>
            <a:xfrm>
              <a:off x="1436361" y="5778798"/>
              <a:ext cx="2361063" cy="21600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1" name="组合 11"/>
          <p:cNvGrpSpPr/>
          <p:nvPr/>
        </p:nvGrpSpPr>
        <p:grpSpPr>
          <a:xfrm>
            <a:off x="1666050" y="2000240"/>
            <a:ext cx="8530882" cy="3286286"/>
            <a:chOff x="1605958" y="2370965"/>
            <a:chExt cx="5915642" cy="3150922"/>
          </a:xfrm>
          <a:solidFill>
            <a:schemeClr val="accent5">
              <a:lumMod val="40000"/>
              <a:lumOff val="60000"/>
            </a:schemeClr>
          </a:solidFill>
        </p:grpSpPr>
        <p:sp>
          <p:nvSpPr>
            <p:cNvPr id="44" name="圆角矩形 35"/>
            <p:cNvSpPr/>
            <p:nvPr/>
          </p:nvSpPr>
          <p:spPr>
            <a:xfrm>
              <a:off x="1605958" y="5121188"/>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助理工程师</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45" name="圆角矩形 36"/>
            <p:cNvSpPr/>
            <p:nvPr/>
          </p:nvSpPr>
          <p:spPr>
            <a:xfrm>
              <a:off x="1605958" y="4571174"/>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工程师</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46" name="圆角矩形 37"/>
            <p:cNvSpPr/>
            <p:nvPr/>
          </p:nvSpPr>
          <p:spPr>
            <a:xfrm>
              <a:off x="1605958" y="4021160"/>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项目工程师</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47" name="圆角矩形 38"/>
            <p:cNvSpPr/>
            <p:nvPr/>
          </p:nvSpPr>
          <p:spPr>
            <a:xfrm>
              <a:off x="1605958" y="3471146"/>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担当主任工程师</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48" name="圆角矩形 39"/>
            <p:cNvSpPr/>
            <p:nvPr/>
          </p:nvSpPr>
          <p:spPr>
            <a:xfrm>
              <a:off x="1605958" y="2921132"/>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主任工程师</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49" name="圆角矩形 40"/>
            <p:cNvSpPr/>
            <p:nvPr/>
          </p:nvSpPr>
          <p:spPr>
            <a:xfrm>
              <a:off x="1605958" y="2371118"/>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高级主任工程师</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0" name="圆角矩形 41"/>
            <p:cNvSpPr/>
            <p:nvPr/>
          </p:nvSpPr>
          <p:spPr>
            <a:xfrm>
              <a:off x="3833005" y="5121188"/>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主管</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1" name="圆角矩形 42"/>
            <p:cNvSpPr/>
            <p:nvPr/>
          </p:nvSpPr>
          <p:spPr>
            <a:xfrm>
              <a:off x="3833005" y="4433633"/>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科长</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2" name="圆角矩形 43"/>
            <p:cNvSpPr/>
            <p:nvPr/>
          </p:nvSpPr>
          <p:spPr>
            <a:xfrm>
              <a:off x="3833005" y="3746077"/>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部长</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3" name="圆角矩形 44"/>
            <p:cNvSpPr/>
            <p:nvPr/>
          </p:nvSpPr>
          <p:spPr>
            <a:xfrm>
              <a:off x="3833005" y="3058521"/>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tx1"/>
                  </a:solidFill>
                  <a:latin typeface="微软雅黑" panose="020B0503020204020204" pitchFamily="34" charset="-122"/>
                  <a:ea typeface="微软雅黑" panose="020B0503020204020204" pitchFamily="34" charset="-122"/>
                </a:rPr>
                <a:t>总监</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4" name="圆角矩形 45"/>
            <p:cNvSpPr/>
            <p:nvPr/>
          </p:nvSpPr>
          <p:spPr>
            <a:xfrm>
              <a:off x="3833005" y="2370965"/>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tx1"/>
                  </a:solidFill>
                  <a:latin typeface="微软雅黑" panose="020B0503020204020204" pitchFamily="34" charset="-122"/>
                  <a:ea typeface="微软雅黑" panose="020B0503020204020204" pitchFamily="34" charset="-122"/>
                </a:rPr>
                <a:t>总经理</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5" name="圆角矩形 27"/>
            <p:cNvSpPr/>
            <p:nvPr/>
          </p:nvSpPr>
          <p:spPr>
            <a:xfrm>
              <a:off x="6045600" y="5161887"/>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初级</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6" name="圆角矩形 28"/>
            <p:cNvSpPr/>
            <p:nvPr/>
          </p:nvSpPr>
          <p:spPr>
            <a:xfrm>
              <a:off x="6045600" y="4464157"/>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中级</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7" name="圆角矩形 29"/>
            <p:cNvSpPr/>
            <p:nvPr/>
          </p:nvSpPr>
          <p:spPr>
            <a:xfrm>
              <a:off x="6045600" y="3766426"/>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高级</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8" name="圆角矩形 30"/>
            <p:cNvSpPr/>
            <p:nvPr/>
          </p:nvSpPr>
          <p:spPr>
            <a:xfrm>
              <a:off x="6045600" y="3068695"/>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资深级</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59" name="圆角矩形 31"/>
            <p:cNvSpPr/>
            <p:nvPr/>
          </p:nvSpPr>
          <p:spPr>
            <a:xfrm>
              <a:off x="6045600" y="2370965"/>
              <a:ext cx="1476000" cy="360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tx1"/>
                  </a:solidFill>
                  <a:latin typeface="微软雅黑" panose="020B0503020204020204" pitchFamily="34" charset="-122"/>
                  <a:ea typeface="微软雅黑" panose="020B0503020204020204" pitchFamily="34" charset="-122"/>
                </a:rPr>
                <a:t>专家级</a:t>
              </a:r>
              <a:endParaRPr lang="zh-CN" altLang="en-US" sz="1400" dirty="0">
                <a:solidFill>
                  <a:schemeClr val="tx1"/>
                </a:solidFill>
                <a:latin typeface="微软雅黑" panose="020B0503020204020204" pitchFamily="34" charset="-122"/>
                <a:ea typeface="微软雅黑" panose="020B0503020204020204" pitchFamily="34" charset="-122"/>
              </a:endParaRPr>
            </a:p>
          </p:txBody>
        </p:sp>
        <p:sp>
          <p:nvSpPr>
            <p:cNvPr id="60" name="燕尾形 73"/>
            <p:cNvSpPr/>
            <p:nvPr/>
          </p:nvSpPr>
          <p:spPr>
            <a:xfrm rot="16200000">
              <a:off x="4506825" y="4874104"/>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1" name="燕尾形 74"/>
            <p:cNvSpPr/>
            <p:nvPr/>
          </p:nvSpPr>
          <p:spPr>
            <a:xfrm rot="16200000">
              <a:off x="2285055" y="4384824"/>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2" name="燕尾形 75"/>
            <p:cNvSpPr/>
            <p:nvPr/>
          </p:nvSpPr>
          <p:spPr>
            <a:xfrm rot="16200000">
              <a:off x="2285055" y="3835835"/>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3" name="燕尾形 76"/>
            <p:cNvSpPr/>
            <p:nvPr/>
          </p:nvSpPr>
          <p:spPr>
            <a:xfrm rot="16200000">
              <a:off x="2285055" y="3286846"/>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4" name="燕尾形 77"/>
            <p:cNvSpPr/>
            <p:nvPr/>
          </p:nvSpPr>
          <p:spPr>
            <a:xfrm rot="16200000">
              <a:off x="2285055" y="2737857"/>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5" name="燕尾形 78"/>
            <p:cNvSpPr/>
            <p:nvPr/>
          </p:nvSpPr>
          <p:spPr>
            <a:xfrm rot="16200000">
              <a:off x="6714328" y="4967337"/>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6" name="燕尾形 79"/>
            <p:cNvSpPr/>
            <p:nvPr/>
          </p:nvSpPr>
          <p:spPr>
            <a:xfrm rot="16200000">
              <a:off x="6714328" y="4257200"/>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7" name="燕尾形 80"/>
            <p:cNvSpPr/>
            <p:nvPr/>
          </p:nvSpPr>
          <p:spPr>
            <a:xfrm rot="16200000">
              <a:off x="6714328" y="3547062"/>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8" name="燕尾形 81"/>
            <p:cNvSpPr/>
            <p:nvPr/>
          </p:nvSpPr>
          <p:spPr>
            <a:xfrm rot="16200000">
              <a:off x="6714328" y="2836924"/>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69" name="燕尾形 82"/>
            <p:cNvSpPr/>
            <p:nvPr/>
          </p:nvSpPr>
          <p:spPr>
            <a:xfrm rot="16200000">
              <a:off x="4506825" y="3515984"/>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70" name="燕尾形 83"/>
            <p:cNvSpPr/>
            <p:nvPr/>
          </p:nvSpPr>
          <p:spPr>
            <a:xfrm rot="16200000">
              <a:off x="4506825" y="4195044"/>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71" name="燕尾形 84"/>
            <p:cNvSpPr/>
            <p:nvPr/>
          </p:nvSpPr>
          <p:spPr>
            <a:xfrm rot="16200000">
              <a:off x="4506825" y="2836924"/>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72" name="燕尾形 85"/>
            <p:cNvSpPr/>
            <p:nvPr/>
          </p:nvSpPr>
          <p:spPr>
            <a:xfrm rot="16200000">
              <a:off x="2285055" y="4933812"/>
              <a:ext cx="139287" cy="168414"/>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32" name="TextBox 31"/>
          <p:cNvSpPr txBox="1"/>
          <p:nvPr/>
        </p:nvSpPr>
        <p:spPr>
          <a:xfrm>
            <a:off x="2094678" y="1428736"/>
            <a:ext cx="1384483" cy="400110"/>
          </a:xfrm>
          <a:prstGeom prst="rect">
            <a:avLst/>
          </a:prstGeom>
          <a:noFill/>
        </p:spPr>
        <p:txBody>
          <a:bodyPr wrap="square" rtlCol="0">
            <a:spAutoFit/>
          </a:bodyPr>
          <a:lstStyle/>
          <a:p>
            <a:pPr algn="ctr"/>
            <a:r>
              <a:rPr lang="zh-CN" altLang="en-US" sz="2000" b="1" dirty="0" smtClean="0">
                <a:solidFill>
                  <a:srgbClr val="F3343C"/>
                </a:solidFill>
                <a:latin typeface="微软雅黑" panose="020B0503020204020204" pitchFamily="34" charset="-122"/>
                <a:ea typeface="微软雅黑" panose="020B0503020204020204" pitchFamily="34" charset="-122"/>
              </a:rPr>
              <a:t>技术大牛</a:t>
            </a:r>
            <a:endParaRPr lang="zh-CN" altLang="en-US" sz="2000" b="1" dirty="0">
              <a:solidFill>
                <a:srgbClr val="F3343C"/>
              </a:solidFill>
              <a:latin typeface="微软雅黑" panose="020B0503020204020204" pitchFamily="34" charset="-122"/>
              <a:ea typeface="微软雅黑" panose="020B0503020204020204" pitchFamily="34" charset="-122"/>
            </a:endParaRPr>
          </a:p>
        </p:txBody>
      </p:sp>
      <p:sp>
        <p:nvSpPr>
          <p:cNvPr id="42" name="TextBox 41"/>
          <p:cNvSpPr txBox="1"/>
          <p:nvPr/>
        </p:nvSpPr>
        <p:spPr>
          <a:xfrm>
            <a:off x="5237950" y="1428736"/>
            <a:ext cx="1384483" cy="400110"/>
          </a:xfrm>
          <a:prstGeom prst="rect">
            <a:avLst/>
          </a:prstGeom>
          <a:noFill/>
        </p:spPr>
        <p:txBody>
          <a:bodyPr wrap="square" rtlCol="0">
            <a:spAutoFit/>
          </a:bodyPr>
          <a:lstStyle/>
          <a:p>
            <a:pPr algn="ctr"/>
            <a:r>
              <a:rPr lang="zh-CN" altLang="en-US" sz="2000" b="1" dirty="0" smtClean="0">
                <a:solidFill>
                  <a:srgbClr val="F3343C"/>
                </a:solidFill>
                <a:latin typeface="微软雅黑" panose="020B0503020204020204" pitchFamily="34" charset="-122"/>
                <a:ea typeface="微软雅黑" panose="020B0503020204020204" pitchFamily="34" charset="-122"/>
              </a:rPr>
              <a:t>精明帅才</a:t>
            </a:r>
            <a:endParaRPr lang="zh-CN" altLang="en-US" sz="2000" b="1" dirty="0">
              <a:solidFill>
                <a:srgbClr val="F3343C"/>
              </a:solidFill>
              <a:latin typeface="微软雅黑" panose="020B0503020204020204" pitchFamily="34" charset="-122"/>
              <a:ea typeface="微软雅黑" panose="020B0503020204020204" pitchFamily="34" charset="-122"/>
            </a:endParaRPr>
          </a:p>
        </p:txBody>
      </p:sp>
      <p:sp>
        <p:nvSpPr>
          <p:cNvPr id="43" name="TextBox 42"/>
          <p:cNvSpPr txBox="1"/>
          <p:nvPr/>
        </p:nvSpPr>
        <p:spPr>
          <a:xfrm>
            <a:off x="8381222" y="1428736"/>
            <a:ext cx="1384483" cy="400110"/>
          </a:xfrm>
          <a:prstGeom prst="rect">
            <a:avLst/>
          </a:prstGeom>
          <a:noFill/>
        </p:spPr>
        <p:txBody>
          <a:bodyPr wrap="square" rtlCol="0">
            <a:spAutoFit/>
          </a:bodyPr>
          <a:lstStyle/>
          <a:p>
            <a:pPr algn="ctr"/>
            <a:r>
              <a:rPr lang="zh-CN" altLang="en-US" sz="2000" b="1" dirty="0" smtClean="0">
                <a:solidFill>
                  <a:srgbClr val="F3343C"/>
                </a:solidFill>
                <a:latin typeface="微软雅黑" panose="020B0503020204020204" pitchFamily="34" charset="-122"/>
                <a:ea typeface="微软雅黑" panose="020B0503020204020204" pitchFamily="34" charset="-122"/>
              </a:rPr>
              <a:t>资深专家</a:t>
            </a:r>
            <a:endParaRPr lang="zh-CN" altLang="en-US" sz="2000" b="1" dirty="0">
              <a:solidFill>
                <a:srgbClr val="F3343C"/>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300" advTm="5395">
        <p14:pan/>
      </p:transition>
    </mc:Choice>
    <mc:Fallback>
      <p:transition spd="slow" advTm="5395">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34" name="椭圆 33"/>
          <p:cNvSpPr/>
          <p:nvPr/>
        </p:nvSpPr>
        <p:spPr>
          <a:xfrm>
            <a:off x="3380562" y="1357298"/>
            <a:ext cx="1357322" cy="1285884"/>
          </a:xfrm>
          <a:prstGeom prst="ellipse">
            <a:avLst/>
          </a:prstGeom>
          <a:solidFill>
            <a:schemeClr val="accent5">
              <a:lumMod val="60000"/>
              <a:lumOff val="40000"/>
              <a:alpha val="60000"/>
            </a:schemeClr>
          </a:solidFill>
          <a:ln>
            <a:solidFill>
              <a:schemeClr val="accent5">
                <a:lumMod val="40000"/>
                <a:lumOff val="60000"/>
              </a:schemeClr>
            </a:solid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先进</a:t>
            </a:r>
            <a:endParaRPr lang="en-US" altLang="zh-CN" dirty="0" smtClean="0">
              <a:solidFill>
                <a:schemeClr val="tx1"/>
              </a:solidFill>
              <a:latin typeface="微软雅黑" panose="020B0503020204020204" pitchFamily="34" charset="-122"/>
              <a:ea typeface="微软雅黑" panose="020B0503020204020204" pitchFamily="34" charset="-122"/>
            </a:endParaRPr>
          </a:p>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集体</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30" name="椭圆 29"/>
          <p:cNvSpPr/>
          <p:nvPr/>
        </p:nvSpPr>
        <p:spPr>
          <a:xfrm>
            <a:off x="6023768" y="1071546"/>
            <a:ext cx="1357322" cy="1285884"/>
          </a:xfrm>
          <a:prstGeom prst="ellipse">
            <a:avLst/>
          </a:prstGeom>
          <a:solidFill>
            <a:schemeClr val="accent5">
              <a:lumMod val="40000"/>
              <a:lumOff val="60000"/>
              <a:alpha val="60000"/>
            </a:schemeClr>
          </a:solidFill>
          <a:ln>
            <a:solidFill>
              <a:schemeClr val="accent5">
                <a:lumMod val="40000"/>
                <a:lumOff val="60000"/>
              </a:schemeClr>
            </a:solid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科技</a:t>
            </a:r>
            <a:endParaRPr lang="en-US" altLang="zh-CN" dirty="0" smtClean="0">
              <a:solidFill>
                <a:schemeClr val="tx1"/>
              </a:solidFill>
              <a:latin typeface="微软雅黑" panose="020B0503020204020204" pitchFamily="34" charset="-122"/>
              <a:ea typeface="微软雅黑" panose="020B0503020204020204" pitchFamily="34" charset="-122"/>
            </a:endParaRPr>
          </a:p>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成果奖</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31" name="椭圆 30"/>
          <p:cNvSpPr/>
          <p:nvPr/>
        </p:nvSpPr>
        <p:spPr>
          <a:xfrm>
            <a:off x="7381090" y="3071810"/>
            <a:ext cx="1357322" cy="1285884"/>
          </a:xfrm>
          <a:prstGeom prst="ellipse">
            <a:avLst/>
          </a:prstGeom>
          <a:solidFill>
            <a:schemeClr val="accent5">
              <a:lumMod val="40000"/>
              <a:lumOff val="60000"/>
              <a:alpha val="60000"/>
            </a:schemeClr>
          </a:solidFill>
          <a:ln>
            <a:solidFill>
              <a:schemeClr val="accent5">
                <a:lumMod val="40000"/>
                <a:lumOff val="60000"/>
              </a:schemeClr>
            </a:solid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特殊</a:t>
            </a:r>
            <a:endParaRPr lang="en-US" altLang="zh-CN" dirty="0" smtClean="0">
              <a:solidFill>
                <a:schemeClr val="tx1"/>
              </a:solidFill>
              <a:latin typeface="微软雅黑" panose="020B0503020204020204" pitchFamily="34" charset="-122"/>
              <a:ea typeface="微软雅黑" panose="020B0503020204020204" pitchFamily="34" charset="-122"/>
            </a:endParaRPr>
          </a:p>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贡献奖</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32" name="椭圆 31"/>
          <p:cNvSpPr/>
          <p:nvPr/>
        </p:nvSpPr>
        <p:spPr>
          <a:xfrm>
            <a:off x="2809058" y="3643314"/>
            <a:ext cx="1357322" cy="1285884"/>
          </a:xfrm>
          <a:prstGeom prst="ellipse">
            <a:avLst/>
          </a:prstGeom>
          <a:solidFill>
            <a:schemeClr val="accent5">
              <a:lumMod val="40000"/>
              <a:lumOff val="60000"/>
              <a:alpha val="60000"/>
            </a:schemeClr>
          </a:solidFill>
          <a:ln>
            <a:solidFill>
              <a:schemeClr val="accent5">
                <a:lumMod val="40000"/>
                <a:lumOff val="60000"/>
              </a:schemeClr>
            </a:solid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管理</a:t>
            </a:r>
            <a:endParaRPr lang="en-US" altLang="zh-CN" dirty="0" smtClean="0">
              <a:solidFill>
                <a:schemeClr val="tx1"/>
              </a:solidFill>
              <a:latin typeface="微软雅黑" panose="020B0503020204020204" pitchFamily="34" charset="-122"/>
              <a:ea typeface="微软雅黑" panose="020B0503020204020204" pitchFamily="34" charset="-122"/>
            </a:endParaRPr>
          </a:p>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创新奖</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38" name="椭圆 37"/>
          <p:cNvSpPr/>
          <p:nvPr/>
        </p:nvSpPr>
        <p:spPr>
          <a:xfrm>
            <a:off x="5452264" y="4929198"/>
            <a:ext cx="1357322" cy="1285884"/>
          </a:xfrm>
          <a:prstGeom prst="ellipse">
            <a:avLst/>
          </a:prstGeom>
          <a:solidFill>
            <a:srgbClr val="B4E4EA">
              <a:alpha val="60000"/>
            </a:srgbClr>
          </a:solidFill>
          <a:ln>
            <a:solidFill>
              <a:schemeClr val="accent5">
                <a:lumMod val="40000"/>
                <a:lumOff val="60000"/>
              </a:schemeClr>
            </a:solid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提案</a:t>
            </a:r>
            <a:endParaRPr lang="en-US" altLang="zh-CN" dirty="0" smtClean="0">
              <a:solidFill>
                <a:schemeClr val="tx1"/>
              </a:solidFill>
              <a:latin typeface="微软雅黑" panose="020B0503020204020204" pitchFamily="34" charset="-122"/>
              <a:ea typeface="微软雅黑" panose="020B0503020204020204" pitchFamily="34" charset="-122"/>
            </a:endParaRPr>
          </a:p>
          <a:p>
            <a:pPr algn="ctr">
              <a:lnSpc>
                <a:spcPct val="150000"/>
              </a:lnSpc>
            </a:pPr>
            <a:r>
              <a:rPr lang="zh-CN" altLang="en-US" dirty="0" smtClean="0">
                <a:solidFill>
                  <a:schemeClr val="tx1"/>
                </a:solidFill>
                <a:latin typeface="微软雅黑" panose="020B0503020204020204" pitchFamily="34" charset="-122"/>
                <a:ea typeface="微软雅黑" panose="020B0503020204020204" pitchFamily="34" charset="-122"/>
              </a:rPr>
              <a:t>制度</a:t>
            </a:r>
            <a:endParaRPr lang="zh-CN" altLang="en-US" dirty="0">
              <a:solidFill>
                <a:schemeClr val="tx1"/>
              </a:solidFill>
              <a:latin typeface="微软雅黑" panose="020B0503020204020204" pitchFamily="34" charset="-122"/>
              <a:ea typeface="微软雅黑" panose="020B0503020204020204" pitchFamily="34" charset="-122"/>
            </a:endParaRPr>
          </a:p>
        </p:txBody>
      </p:sp>
      <p:sp>
        <p:nvSpPr>
          <p:cNvPr id="12" name="TextBox 11"/>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成长</a:t>
            </a:r>
            <a:r>
              <a:rPr lang="en-US" altLang="zh-CN" sz="2400" b="1" dirty="0" smtClean="0">
                <a:latin typeface="微软雅黑" panose="020B0503020204020204" pitchFamily="34" charset="-122"/>
                <a:ea typeface="微软雅黑" panose="020B0503020204020204" pitchFamily="34" charset="-122"/>
              </a:rPr>
              <a:t>&amp;</a:t>
            </a:r>
            <a:r>
              <a:rPr lang="zh-CN" altLang="en-US" sz="2400" b="1" dirty="0" smtClean="0">
                <a:latin typeface="微软雅黑" panose="020B0503020204020204" pitchFamily="34" charset="-122"/>
                <a:ea typeface="微软雅黑" panose="020B0503020204020204" pitchFamily="34" charset="-122"/>
              </a:rPr>
              <a:t>收获</a:t>
            </a:r>
            <a:endParaRPr lang="zh-CN" altLang="en-US" sz="2400" b="1" dirty="0" smtClean="0">
              <a:latin typeface="微软雅黑" panose="020B0503020204020204" pitchFamily="34" charset="-122"/>
              <a:ea typeface="微软雅黑" panose="020B0503020204020204" pitchFamily="34" charset="-122"/>
            </a:endParaRPr>
          </a:p>
        </p:txBody>
      </p:sp>
      <p:grpSp>
        <p:nvGrpSpPr>
          <p:cNvPr id="70" name="组合 69"/>
          <p:cNvGrpSpPr/>
          <p:nvPr/>
        </p:nvGrpSpPr>
        <p:grpSpPr>
          <a:xfrm>
            <a:off x="5237950" y="3071810"/>
            <a:ext cx="1296090" cy="1143008"/>
            <a:chOff x="5237950" y="3071810"/>
            <a:chExt cx="1008070" cy="928694"/>
          </a:xfrm>
        </p:grpSpPr>
        <p:grpSp>
          <p:nvGrpSpPr>
            <p:cNvPr id="2" name="组合 63"/>
            <p:cNvGrpSpPr/>
            <p:nvPr/>
          </p:nvGrpSpPr>
          <p:grpSpPr>
            <a:xfrm>
              <a:off x="5237950" y="3071810"/>
              <a:ext cx="1000132" cy="928694"/>
              <a:chOff x="8218831" y="5719055"/>
              <a:chExt cx="693737" cy="692150"/>
            </a:xfrm>
          </p:grpSpPr>
          <p:sp>
            <p:nvSpPr>
              <p:cNvPr id="71" name="椭圆 70"/>
              <p:cNvSpPr/>
              <p:nvPr/>
            </p:nvSpPr>
            <p:spPr>
              <a:xfrm>
                <a:off x="8218831" y="5719055"/>
                <a:ext cx="693737" cy="692150"/>
              </a:xfrm>
              <a:prstGeom prst="ellipse">
                <a:avLst/>
              </a:prstGeom>
              <a:solidFill>
                <a:schemeClr val="accent5">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latin typeface="Impact" panose="020B0806030902050204" pitchFamily="34" charset="0"/>
                </a:endParaRPr>
              </a:p>
            </p:txBody>
          </p:sp>
          <p:sp>
            <p:nvSpPr>
              <p:cNvPr id="72" name="椭圆 71"/>
              <p:cNvSpPr/>
              <p:nvPr/>
            </p:nvSpPr>
            <p:spPr>
              <a:xfrm>
                <a:off x="8295824" y="5795255"/>
                <a:ext cx="539750" cy="539750"/>
              </a:xfrm>
              <a:prstGeom prst="ellipse">
                <a:avLst/>
              </a:prstGeom>
              <a:solidFill>
                <a:schemeClr val="accent5">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latin typeface="微软雅黑" panose="020B0503020204020204" pitchFamily="34" charset="-122"/>
                  <a:ea typeface="微软雅黑" panose="020B0503020204020204" pitchFamily="34" charset="-122"/>
                </a:endParaRPr>
              </a:p>
            </p:txBody>
          </p:sp>
        </p:grpSp>
        <p:sp>
          <p:nvSpPr>
            <p:cNvPr id="13" name="TextBox 12"/>
            <p:cNvSpPr txBox="1"/>
            <p:nvPr/>
          </p:nvSpPr>
          <p:spPr>
            <a:xfrm>
              <a:off x="5460202" y="3187897"/>
              <a:ext cx="785818" cy="710456"/>
            </a:xfrm>
            <a:prstGeom prst="rect">
              <a:avLst/>
            </a:prstGeom>
            <a:noFill/>
          </p:spPr>
          <p:txBody>
            <a:bodyPr wrap="square" rtlCol="0" anchor="ctr">
              <a:spAutoFit/>
            </a:bodyPr>
            <a:lstStyle/>
            <a:p>
              <a:pPr>
                <a:lnSpc>
                  <a:spcPct val="150000"/>
                </a:lnSpc>
              </a:pPr>
              <a:r>
                <a:rPr lang="zh-CN" altLang="en-US" dirty="0" smtClean="0">
                  <a:latin typeface="微软雅黑" panose="020B0503020204020204" pitchFamily="34" charset="-122"/>
                  <a:ea typeface="微软雅黑" panose="020B0503020204020204" pitchFamily="34" charset="-122"/>
                </a:rPr>
                <a:t>表彰</a:t>
              </a:r>
              <a:endParaRPr lang="en-US" altLang="zh-CN" dirty="0" smtClean="0">
                <a:latin typeface="微软雅黑" panose="020B0503020204020204" pitchFamily="34" charset="-122"/>
                <a:ea typeface="微软雅黑" panose="020B0503020204020204" pitchFamily="34" charset="-122"/>
              </a:endParaRPr>
            </a:p>
            <a:p>
              <a:pPr>
                <a:lnSpc>
                  <a:spcPct val="150000"/>
                </a:lnSpc>
              </a:pPr>
              <a:r>
                <a:rPr lang="zh-CN" altLang="en-US" dirty="0" smtClean="0">
                  <a:latin typeface="微软雅黑" panose="020B0503020204020204" pitchFamily="34" charset="-122"/>
                  <a:ea typeface="微软雅黑" panose="020B0503020204020204" pitchFamily="34" charset="-122"/>
                </a:rPr>
                <a:t>体系</a:t>
              </a:r>
              <a:endParaRPr lang="zh-CN" altLang="en-US" dirty="0" smtClean="0">
                <a:latin typeface="微软雅黑" panose="020B0503020204020204" pitchFamily="34" charset="-122"/>
                <a:ea typeface="微软雅黑" panose="020B0503020204020204" pitchFamily="34" charset="-122"/>
              </a:endParaRPr>
            </a:p>
          </p:txBody>
        </p:sp>
      </p:grpSp>
      <p:sp>
        <p:nvSpPr>
          <p:cNvPr id="14" name="TextBox 13"/>
          <p:cNvSpPr txBox="1"/>
          <p:nvPr/>
        </p:nvSpPr>
        <p:spPr>
          <a:xfrm>
            <a:off x="1165984" y="857232"/>
            <a:ext cx="2571768" cy="400110"/>
          </a:xfrm>
          <a:prstGeom prst="rect">
            <a:avLst/>
          </a:prstGeom>
          <a:noFill/>
        </p:spPr>
        <p:txBody>
          <a:bodyPr wrap="square" rtlCol="0" anchor="ctr">
            <a:spAutoFit/>
          </a:bodyPr>
          <a:lstStyle/>
          <a:p>
            <a:r>
              <a:rPr lang="zh-CN" altLang="en-US" sz="2000" b="1" dirty="0" smtClean="0">
                <a:latin typeface="微软雅黑" panose="020B0503020204020204" pitchFamily="34" charset="-122"/>
                <a:ea typeface="微软雅黑" panose="020B0503020204020204" pitchFamily="34" charset="-122"/>
              </a:rPr>
              <a:t>丰富的表彰体系</a:t>
            </a:r>
            <a:endParaRPr lang="zh-CN" altLang="en-US" sz="2000" b="1" dirty="0" smtClean="0">
              <a:latin typeface="微软雅黑" panose="020B0503020204020204" pitchFamily="34" charset="-122"/>
              <a:ea typeface="微软雅黑" panose="020B0503020204020204" pitchFamily="34" charset="-122"/>
            </a:endParaRPr>
          </a:p>
        </p:txBody>
      </p:sp>
      <p:grpSp>
        <p:nvGrpSpPr>
          <p:cNvPr id="45" name="组合 44"/>
          <p:cNvGrpSpPr/>
          <p:nvPr/>
        </p:nvGrpSpPr>
        <p:grpSpPr>
          <a:xfrm>
            <a:off x="0" y="6084858"/>
            <a:ext cx="2437115" cy="1546283"/>
            <a:chOff x="7031310" y="4619021"/>
            <a:chExt cx="2437115" cy="1546283"/>
          </a:xfrm>
        </p:grpSpPr>
        <p:grpSp>
          <p:nvGrpSpPr>
            <p:cNvPr id="46" name="组合 32"/>
            <p:cNvGrpSpPr/>
            <p:nvPr/>
          </p:nvGrpSpPr>
          <p:grpSpPr>
            <a:xfrm flipV="1">
              <a:off x="7031310" y="5077133"/>
              <a:ext cx="294351" cy="630059"/>
              <a:chOff x="1211900" y="2115662"/>
              <a:chExt cx="220763" cy="472544"/>
            </a:xfrm>
          </p:grpSpPr>
          <p:sp>
            <p:nvSpPr>
              <p:cNvPr id="68" name="矩形 67"/>
              <p:cNvSpPr/>
              <p:nvPr/>
            </p:nvSpPr>
            <p:spPr>
              <a:xfrm>
                <a:off x="1211900" y="2352640"/>
                <a:ext cx="220685" cy="2355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69" name="矩形 68"/>
              <p:cNvSpPr/>
              <p:nvPr/>
            </p:nvSpPr>
            <p:spPr>
              <a:xfrm flipV="1">
                <a:off x="1211978" y="2115662"/>
                <a:ext cx="220685" cy="235566"/>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47" name="组合 35"/>
            <p:cNvGrpSpPr/>
            <p:nvPr/>
          </p:nvGrpSpPr>
          <p:grpSpPr>
            <a:xfrm flipV="1">
              <a:off x="7334706" y="4763042"/>
              <a:ext cx="294351" cy="1258240"/>
              <a:chOff x="1439447" y="1880094"/>
              <a:chExt cx="220763" cy="943680"/>
            </a:xfrm>
          </p:grpSpPr>
          <p:sp>
            <p:nvSpPr>
              <p:cNvPr id="66" name="矩形 65"/>
              <p:cNvSpPr/>
              <p:nvPr/>
            </p:nvSpPr>
            <p:spPr>
              <a:xfrm>
                <a:off x="1439447" y="2352639"/>
                <a:ext cx="220685" cy="4711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67" name="矩形 66"/>
              <p:cNvSpPr/>
              <p:nvPr/>
            </p:nvSpPr>
            <p:spPr>
              <a:xfrm flipV="1">
                <a:off x="1439525" y="1880094"/>
                <a:ext cx="220685" cy="47113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48" name="组合 38"/>
            <p:cNvGrpSpPr/>
            <p:nvPr/>
          </p:nvGrpSpPr>
          <p:grpSpPr>
            <a:xfrm flipV="1">
              <a:off x="7643223" y="5003063"/>
              <a:ext cx="294351" cy="778197"/>
              <a:chOff x="1670835" y="2060110"/>
              <a:chExt cx="220763" cy="583648"/>
            </a:xfrm>
          </p:grpSpPr>
          <p:sp>
            <p:nvSpPr>
              <p:cNvPr id="64" name="矩形 63"/>
              <p:cNvSpPr/>
              <p:nvPr/>
            </p:nvSpPr>
            <p:spPr>
              <a:xfrm>
                <a:off x="1670835" y="2352640"/>
                <a:ext cx="220685" cy="29111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65" name="矩形 64"/>
              <p:cNvSpPr/>
              <p:nvPr/>
            </p:nvSpPr>
            <p:spPr>
              <a:xfrm flipV="1">
                <a:off x="1670913" y="2060110"/>
                <a:ext cx="220685" cy="291118"/>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49" name="组合 41"/>
            <p:cNvGrpSpPr/>
            <p:nvPr/>
          </p:nvGrpSpPr>
          <p:grpSpPr>
            <a:xfrm flipV="1">
              <a:off x="7952834" y="4619021"/>
              <a:ext cx="294351" cy="1546283"/>
              <a:chOff x="1903043" y="1772078"/>
              <a:chExt cx="220763" cy="1159712"/>
            </a:xfrm>
          </p:grpSpPr>
          <p:sp>
            <p:nvSpPr>
              <p:cNvPr id="62" name="矩形 61"/>
              <p:cNvSpPr/>
              <p:nvPr/>
            </p:nvSpPr>
            <p:spPr>
              <a:xfrm>
                <a:off x="1903043" y="2352640"/>
                <a:ext cx="220685" cy="57915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63" name="矩形 62"/>
              <p:cNvSpPr/>
              <p:nvPr/>
            </p:nvSpPr>
            <p:spPr>
              <a:xfrm flipV="1">
                <a:off x="1903121" y="1772078"/>
                <a:ext cx="220685" cy="579150"/>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50" name="组合 44"/>
            <p:cNvGrpSpPr/>
            <p:nvPr/>
          </p:nvGrpSpPr>
          <p:grpSpPr>
            <a:xfrm flipV="1">
              <a:off x="8257870" y="4811039"/>
              <a:ext cx="294351" cy="1162241"/>
              <a:chOff x="2131820" y="1916094"/>
              <a:chExt cx="220763" cy="871680"/>
            </a:xfrm>
          </p:grpSpPr>
          <p:sp>
            <p:nvSpPr>
              <p:cNvPr id="60" name="矩形 59"/>
              <p:cNvSpPr/>
              <p:nvPr/>
            </p:nvSpPr>
            <p:spPr>
              <a:xfrm>
                <a:off x="2131820" y="2352640"/>
                <a:ext cx="220685" cy="43513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61" name="矩形 60"/>
              <p:cNvSpPr/>
              <p:nvPr/>
            </p:nvSpPr>
            <p:spPr>
              <a:xfrm flipV="1">
                <a:off x="2131898" y="1916094"/>
                <a:ext cx="220685" cy="43513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51" name="组合 47"/>
            <p:cNvGrpSpPr/>
            <p:nvPr/>
          </p:nvGrpSpPr>
          <p:grpSpPr>
            <a:xfrm flipV="1">
              <a:off x="8562930" y="4763042"/>
              <a:ext cx="294351" cy="1258240"/>
              <a:chOff x="2360615" y="1880094"/>
              <a:chExt cx="220763" cy="943680"/>
            </a:xfrm>
          </p:grpSpPr>
          <p:sp>
            <p:nvSpPr>
              <p:cNvPr id="58" name="矩形 57"/>
              <p:cNvSpPr/>
              <p:nvPr/>
            </p:nvSpPr>
            <p:spPr>
              <a:xfrm>
                <a:off x="2360615" y="2352639"/>
                <a:ext cx="220685" cy="4711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59" name="矩形 58"/>
              <p:cNvSpPr/>
              <p:nvPr/>
            </p:nvSpPr>
            <p:spPr>
              <a:xfrm flipV="1">
                <a:off x="2360693" y="1880094"/>
                <a:ext cx="220685" cy="47113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52" name="组合 50"/>
            <p:cNvGrpSpPr/>
            <p:nvPr/>
          </p:nvGrpSpPr>
          <p:grpSpPr>
            <a:xfrm flipV="1">
              <a:off x="8869038" y="5003058"/>
              <a:ext cx="294351" cy="778198"/>
              <a:chOff x="2590196" y="2060110"/>
              <a:chExt cx="220763" cy="583648"/>
            </a:xfrm>
          </p:grpSpPr>
          <p:sp>
            <p:nvSpPr>
              <p:cNvPr id="56" name="矩形 55"/>
              <p:cNvSpPr/>
              <p:nvPr/>
            </p:nvSpPr>
            <p:spPr>
              <a:xfrm>
                <a:off x="2590196" y="2352639"/>
                <a:ext cx="220685" cy="29111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57" name="矩形 56"/>
              <p:cNvSpPr/>
              <p:nvPr/>
            </p:nvSpPr>
            <p:spPr>
              <a:xfrm flipV="1">
                <a:off x="2590274" y="2060110"/>
                <a:ext cx="220685" cy="291119"/>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53" name="组合 53"/>
            <p:cNvGrpSpPr/>
            <p:nvPr/>
          </p:nvGrpSpPr>
          <p:grpSpPr>
            <a:xfrm flipV="1">
              <a:off x="9174074" y="5077134"/>
              <a:ext cx="294351" cy="630056"/>
              <a:chOff x="2818973" y="2115663"/>
              <a:chExt cx="220763" cy="472542"/>
            </a:xfrm>
          </p:grpSpPr>
          <p:sp>
            <p:nvSpPr>
              <p:cNvPr id="54" name="矩形 53"/>
              <p:cNvSpPr/>
              <p:nvPr/>
            </p:nvSpPr>
            <p:spPr>
              <a:xfrm>
                <a:off x="2818973" y="2352639"/>
                <a:ext cx="220685" cy="2355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55" name="矩形 54"/>
              <p:cNvSpPr/>
              <p:nvPr/>
            </p:nvSpPr>
            <p:spPr>
              <a:xfrm flipV="1">
                <a:off x="2819051" y="2115663"/>
                <a:ext cx="220685" cy="235566"/>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grpSp>
        <p:nvGrpSpPr>
          <p:cNvPr id="98" name="组合 97"/>
          <p:cNvGrpSpPr/>
          <p:nvPr/>
        </p:nvGrpSpPr>
        <p:grpSpPr>
          <a:xfrm>
            <a:off x="9452792" y="6084858"/>
            <a:ext cx="2437115" cy="1546283"/>
            <a:chOff x="7031310" y="4619021"/>
            <a:chExt cx="2437115" cy="1546283"/>
          </a:xfrm>
        </p:grpSpPr>
        <p:grpSp>
          <p:nvGrpSpPr>
            <p:cNvPr id="99" name="组合 32"/>
            <p:cNvGrpSpPr/>
            <p:nvPr/>
          </p:nvGrpSpPr>
          <p:grpSpPr>
            <a:xfrm flipV="1">
              <a:off x="7031310" y="5077133"/>
              <a:ext cx="294351" cy="630059"/>
              <a:chOff x="1211900" y="2115662"/>
              <a:chExt cx="220763" cy="472544"/>
            </a:xfrm>
          </p:grpSpPr>
          <p:sp>
            <p:nvSpPr>
              <p:cNvPr id="121" name="矩形 120"/>
              <p:cNvSpPr/>
              <p:nvPr/>
            </p:nvSpPr>
            <p:spPr>
              <a:xfrm>
                <a:off x="1211900" y="2352640"/>
                <a:ext cx="220685" cy="2355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122" name="矩形 121"/>
              <p:cNvSpPr/>
              <p:nvPr/>
            </p:nvSpPr>
            <p:spPr>
              <a:xfrm flipV="1">
                <a:off x="1211978" y="2115662"/>
                <a:ext cx="220685" cy="235566"/>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100" name="组合 35"/>
            <p:cNvGrpSpPr/>
            <p:nvPr/>
          </p:nvGrpSpPr>
          <p:grpSpPr>
            <a:xfrm flipV="1">
              <a:off x="7334706" y="4763042"/>
              <a:ext cx="294351" cy="1258240"/>
              <a:chOff x="1439447" y="1880094"/>
              <a:chExt cx="220763" cy="943680"/>
            </a:xfrm>
          </p:grpSpPr>
          <p:sp>
            <p:nvSpPr>
              <p:cNvPr id="119" name="矩形 118"/>
              <p:cNvSpPr/>
              <p:nvPr/>
            </p:nvSpPr>
            <p:spPr>
              <a:xfrm>
                <a:off x="1439447" y="2352639"/>
                <a:ext cx="220685" cy="4711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120" name="矩形 119"/>
              <p:cNvSpPr/>
              <p:nvPr/>
            </p:nvSpPr>
            <p:spPr>
              <a:xfrm flipV="1">
                <a:off x="1439525" y="1880094"/>
                <a:ext cx="220685" cy="47113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101" name="组合 38"/>
            <p:cNvGrpSpPr/>
            <p:nvPr/>
          </p:nvGrpSpPr>
          <p:grpSpPr>
            <a:xfrm flipV="1">
              <a:off x="7643223" y="5003063"/>
              <a:ext cx="294351" cy="778197"/>
              <a:chOff x="1670835" y="2060110"/>
              <a:chExt cx="220763" cy="583648"/>
            </a:xfrm>
          </p:grpSpPr>
          <p:sp>
            <p:nvSpPr>
              <p:cNvPr id="117" name="矩形 116"/>
              <p:cNvSpPr/>
              <p:nvPr/>
            </p:nvSpPr>
            <p:spPr>
              <a:xfrm>
                <a:off x="1670835" y="2352640"/>
                <a:ext cx="220685" cy="29111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118" name="矩形 117"/>
              <p:cNvSpPr/>
              <p:nvPr/>
            </p:nvSpPr>
            <p:spPr>
              <a:xfrm flipV="1">
                <a:off x="1670913" y="2060110"/>
                <a:ext cx="220685" cy="291118"/>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102" name="组合 41"/>
            <p:cNvGrpSpPr/>
            <p:nvPr/>
          </p:nvGrpSpPr>
          <p:grpSpPr>
            <a:xfrm flipV="1">
              <a:off x="7952834" y="4619021"/>
              <a:ext cx="294351" cy="1546283"/>
              <a:chOff x="1903043" y="1772078"/>
              <a:chExt cx="220763" cy="1159712"/>
            </a:xfrm>
          </p:grpSpPr>
          <p:sp>
            <p:nvSpPr>
              <p:cNvPr id="115" name="矩形 114"/>
              <p:cNvSpPr/>
              <p:nvPr/>
            </p:nvSpPr>
            <p:spPr>
              <a:xfrm>
                <a:off x="1903043" y="2352640"/>
                <a:ext cx="220685" cy="57915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116" name="矩形 115"/>
              <p:cNvSpPr/>
              <p:nvPr/>
            </p:nvSpPr>
            <p:spPr>
              <a:xfrm flipV="1">
                <a:off x="1903121" y="1772078"/>
                <a:ext cx="220685" cy="579150"/>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103" name="组合 44"/>
            <p:cNvGrpSpPr/>
            <p:nvPr/>
          </p:nvGrpSpPr>
          <p:grpSpPr>
            <a:xfrm flipV="1">
              <a:off x="8257870" y="4811039"/>
              <a:ext cx="294351" cy="1162241"/>
              <a:chOff x="2131820" y="1916094"/>
              <a:chExt cx="220763" cy="871680"/>
            </a:xfrm>
          </p:grpSpPr>
          <p:sp>
            <p:nvSpPr>
              <p:cNvPr id="113" name="矩形 112"/>
              <p:cNvSpPr/>
              <p:nvPr/>
            </p:nvSpPr>
            <p:spPr>
              <a:xfrm>
                <a:off x="2131820" y="2352640"/>
                <a:ext cx="220685" cy="43513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114" name="矩形 113"/>
              <p:cNvSpPr/>
              <p:nvPr/>
            </p:nvSpPr>
            <p:spPr>
              <a:xfrm flipV="1">
                <a:off x="2131898" y="1916094"/>
                <a:ext cx="220685" cy="43513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104" name="组合 47"/>
            <p:cNvGrpSpPr/>
            <p:nvPr/>
          </p:nvGrpSpPr>
          <p:grpSpPr>
            <a:xfrm flipV="1">
              <a:off x="8562930" y="4763042"/>
              <a:ext cx="294351" cy="1258240"/>
              <a:chOff x="2360615" y="1880094"/>
              <a:chExt cx="220763" cy="943680"/>
            </a:xfrm>
          </p:grpSpPr>
          <p:sp>
            <p:nvSpPr>
              <p:cNvPr id="111" name="矩形 110"/>
              <p:cNvSpPr/>
              <p:nvPr/>
            </p:nvSpPr>
            <p:spPr>
              <a:xfrm>
                <a:off x="2360615" y="2352639"/>
                <a:ext cx="220685" cy="4711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112" name="矩形 111"/>
              <p:cNvSpPr/>
              <p:nvPr/>
            </p:nvSpPr>
            <p:spPr>
              <a:xfrm flipV="1">
                <a:off x="2360693" y="1880094"/>
                <a:ext cx="220685" cy="47113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105" name="组合 50"/>
            <p:cNvGrpSpPr/>
            <p:nvPr/>
          </p:nvGrpSpPr>
          <p:grpSpPr>
            <a:xfrm flipV="1">
              <a:off x="8869038" y="5003058"/>
              <a:ext cx="294351" cy="778198"/>
              <a:chOff x="2590196" y="2060110"/>
              <a:chExt cx="220763" cy="583648"/>
            </a:xfrm>
          </p:grpSpPr>
          <p:sp>
            <p:nvSpPr>
              <p:cNvPr id="109" name="矩形 108"/>
              <p:cNvSpPr/>
              <p:nvPr/>
            </p:nvSpPr>
            <p:spPr>
              <a:xfrm>
                <a:off x="2590196" y="2352639"/>
                <a:ext cx="220685" cy="29111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110" name="矩形 109"/>
              <p:cNvSpPr/>
              <p:nvPr/>
            </p:nvSpPr>
            <p:spPr>
              <a:xfrm flipV="1">
                <a:off x="2590274" y="2060110"/>
                <a:ext cx="220685" cy="291119"/>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106" name="组合 53"/>
            <p:cNvGrpSpPr/>
            <p:nvPr/>
          </p:nvGrpSpPr>
          <p:grpSpPr>
            <a:xfrm flipV="1">
              <a:off x="9174074" y="5077134"/>
              <a:ext cx="294351" cy="630056"/>
              <a:chOff x="2818973" y="2115663"/>
              <a:chExt cx="220763" cy="472542"/>
            </a:xfrm>
          </p:grpSpPr>
          <p:sp>
            <p:nvSpPr>
              <p:cNvPr id="107" name="矩形 106"/>
              <p:cNvSpPr/>
              <p:nvPr/>
            </p:nvSpPr>
            <p:spPr>
              <a:xfrm>
                <a:off x="2818973" y="2352639"/>
                <a:ext cx="220685" cy="2355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108" name="矩形 107"/>
              <p:cNvSpPr/>
              <p:nvPr/>
            </p:nvSpPr>
            <p:spPr>
              <a:xfrm flipV="1">
                <a:off x="2819051" y="2115663"/>
                <a:ext cx="220685" cy="235566"/>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spTree>
  </p:cSld>
  <p:clrMapOvr>
    <a:masterClrMapping/>
  </p:clrMapOvr>
  <mc:AlternateContent xmlns:mc="http://schemas.openxmlformats.org/markup-compatibility/2006">
    <mc:Choice xmlns:p14="http://schemas.microsoft.com/office/powerpoint/2010/main" Requires="p14">
      <p:transition spd="slow" p14:dur="1300" advTm="3168">
        <p14:pan/>
      </p:transition>
    </mc:Choice>
    <mc:Fallback>
      <p:transition spd="slow" advTm="316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1000"/>
                                        <p:tgtEl>
                                          <p:spTgt spid="70"/>
                                        </p:tgtEl>
                                      </p:cBhvr>
                                    </p:animEffect>
                                  </p:childTnLst>
                                </p:cTn>
                              </p:par>
                              <p:par>
                                <p:cTn id="8" presetID="6" presetClass="entr" presetSubtype="32"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circle(out)">
                                      <p:cBhvr>
                                        <p:cTn id="10" dur="500"/>
                                        <p:tgtEl>
                                          <p:spTgt spid="34"/>
                                        </p:tgtEl>
                                      </p:cBhvr>
                                    </p:animEffect>
                                  </p:childTnLst>
                                </p:cTn>
                              </p:par>
                              <p:par>
                                <p:cTn id="11" presetID="6" presetClass="entr" presetSubtype="32"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circle(out)">
                                      <p:cBhvr>
                                        <p:cTn id="13" dur="500"/>
                                        <p:tgtEl>
                                          <p:spTgt spid="30"/>
                                        </p:tgtEl>
                                      </p:cBhvr>
                                    </p:animEffect>
                                  </p:childTnLst>
                                </p:cTn>
                              </p:par>
                              <p:par>
                                <p:cTn id="14" presetID="6" presetClass="entr" presetSubtype="32" fill="hold" grpId="0"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circle(out)">
                                      <p:cBhvr>
                                        <p:cTn id="16" dur="500"/>
                                        <p:tgtEl>
                                          <p:spTgt spid="31"/>
                                        </p:tgtEl>
                                      </p:cBhvr>
                                    </p:animEffect>
                                  </p:childTnLst>
                                </p:cTn>
                              </p:par>
                              <p:par>
                                <p:cTn id="17" presetID="6" presetClass="entr" presetSubtype="32"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circle(out)">
                                      <p:cBhvr>
                                        <p:cTn id="19" dur="500"/>
                                        <p:tgtEl>
                                          <p:spTgt spid="32"/>
                                        </p:tgtEl>
                                      </p:cBhvr>
                                    </p:animEffect>
                                  </p:childTnLst>
                                </p:cTn>
                              </p:par>
                              <p:par>
                                <p:cTn id="20" presetID="6" presetClass="entr" presetSubtype="32"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circle(out)">
                                      <p:cBhvr>
                                        <p:cTn id="2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0" grpId="0" animBg="1"/>
      <p:bldP spid="31" grpId="0" animBg="1"/>
      <p:bldP spid="32" grpId="0" animBg="1"/>
      <p:bldP spid="3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0" y="-1"/>
            <a:ext cx="1443043" cy="6858001"/>
            <a:chOff x="0" y="-1"/>
            <a:chExt cx="1443043" cy="6858001"/>
          </a:xfrm>
        </p:grpSpPr>
        <p:sp>
          <p:nvSpPr>
            <p:cNvPr id="3" name="任意多边形 2"/>
            <p:cNvSpPr/>
            <p:nvPr/>
          </p:nvSpPr>
          <p:spPr>
            <a:xfrm rot="16200000" flipV="1">
              <a:off x="-2408598" y="2408598"/>
              <a:ext cx="6260239" cy="1443042"/>
            </a:xfrm>
            <a:custGeom>
              <a:avLst/>
              <a:gdLst>
                <a:gd name="connsiteX0" fmla="*/ 6260239 w 6260239"/>
                <a:gd name="connsiteY0" fmla="*/ 1443042 h 1443042"/>
                <a:gd name="connsiteX1" fmla="*/ 6260239 w 6260239"/>
                <a:gd name="connsiteY1" fmla="*/ 1370077 h 1443042"/>
                <a:gd name="connsiteX2" fmla="*/ 3239468 w 6260239"/>
                <a:gd name="connsiteY2" fmla="*/ 0 h 1443042"/>
                <a:gd name="connsiteX3" fmla="*/ 0 w 6260239"/>
                <a:gd name="connsiteY3" fmla="*/ 1443042 h 1443042"/>
              </a:gdLst>
              <a:ahLst/>
              <a:cxnLst>
                <a:cxn ang="0">
                  <a:pos x="connsiteX0" y="connsiteY0"/>
                </a:cxn>
                <a:cxn ang="0">
                  <a:pos x="connsiteX1" y="connsiteY1"/>
                </a:cxn>
                <a:cxn ang="0">
                  <a:pos x="connsiteX2" y="connsiteY2"/>
                </a:cxn>
                <a:cxn ang="0">
                  <a:pos x="connsiteX3" y="connsiteY3"/>
                </a:cxn>
              </a:cxnLst>
              <a:rect l="l" t="t" r="r" b="b"/>
              <a:pathLst>
                <a:path w="6260239" h="1443042">
                  <a:moveTo>
                    <a:pt x="6260239" y="1443042"/>
                  </a:moveTo>
                  <a:lnTo>
                    <a:pt x="6260239" y="1370077"/>
                  </a:lnTo>
                  <a:lnTo>
                    <a:pt x="3239468" y="0"/>
                  </a:lnTo>
                  <a:lnTo>
                    <a:pt x="0" y="1443042"/>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任意多边形 1"/>
            <p:cNvSpPr/>
            <p:nvPr/>
          </p:nvSpPr>
          <p:spPr>
            <a:xfrm rot="16200000" flipV="1">
              <a:off x="-2476738" y="2938220"/>
              <a:ext cx="6396518" cy="1443041"/>
            </a:xfrm>
            <a:custGeom>
              <a:avLst/>
              <a:gdLst>
                <a:gd name="connsiteX0" fmla="*/ 6396518 w 6396518"/>
                <a:gd name="connsiteY0" fmla="*/ 1443041 h 1443041"/>
                <a:gd name="connsiteX1" fmla="*/ 3214875 w 6396518"/>
                <a:gd name="connsiteY1" fmla="*/ 0 h 1443041"/>
                <a:gd name="connsiteX2" fmla="*/ 0 w 6396518"/>
                <a:gd name="connsiteY2" fmla="*/ 1432086 h 1443041"/>
                <a:gd name="connsiteX3" fmla="*/ 0 w 6396518"/>
                <a:gd name="connsiteY3" fmla="*/ 1443041 h 1443041"/>
              </a:gdLst>
              <a:ahLst/>
              <a:cxnLst>
                <a:cxn ang="0">
                  <a:pos x="connsiteX0" y="connsiteY0"/>
                </a:cxn>
                <a:cxn ang="0">
                  <a:pos x="connsiteX1" y="connsiteY1"/>
                </a:cxn>
                <a:cxn ang="0">
                  <a:pos x="connsiteX2" y="connsiteY2"/>
                </a:cxn>
                <a:cxn ang="0">
                  <a:pos x="connsiteX3" y="connsiteY3"/>
                </a:cxn>
              </a:cxnLst>
              <a:rect l="l" t="t" r="r" b="b"/>
              <a:pathLst>
                <a:path w="6396518" h="1443041">
                  <a:moveTo>
                    <a:pt x="6396518" y="1443041"/>
                  </a:moveTo>
                  <a:lnTo>
                    <a:pt x="3214875" y="0"/>
                  </a:lnTo>
                  <a:lnTo>
                    <a:pt x="0" y="1432086"/>
                  </a:lnTo>
                  <a:lnTo>
                    <a:pt x="0" y="1443041"/>
                  </a:ln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 name="TextBox 4"/>
          <p:cNvSpPr txBox="1"/>
          <p:nvPr/>
        </p:nvSpPr>
        <p:spPr>
          <a:xfrm>
            <a:off x="1666050" y="2000240"/>
            <a:ext cx="8715436" cy="369332"/>
          </a:xfrm>
          <a:prstGeom prst="rect">
            <a:avLst/>
          </a:prstGeom>
          <a:noFill/>
        </p:spPr>
        <p:txBody>
          <a:bodyPr wrap="square" rtlCol="0" anchor="ctr">
            <a:spAutoFit/>
          </a:bodyPr>
          <a:lstStyle/>
          <a:p>
            <a:endParaRPr lang="zh-CN" altLang="en-US" dirty="0" smtClean="0">
              <a:latin typeface="微软雅黑" panose="020B0503020204020204" pitchFamily="34" charset="-122"/>
              <a:ea typeface="微软雅黑" panose="020B0503020204020204" pitchFamily="34" charset="-122"/>
            </a:endParaRPr>
          </a:p>
        </p:txBody>
      </p:sp>
      <p:sp>
        <p:nvSpPr>
          <p:cNvPr id="6" name="矩形 5"/>
          <p:cNvSpPr/>
          <p:nvPr/>
        </p:nvSpPr>
        <p:spPr>
          <a:xfrm>
            <a:off x="3594876" y="2285992"/>
            <a:ext cx="6429420" cy="2185214"/>
          </a:xfrm>
          <a:prstGeom prst="rect">
            <a:avLst/>
          </a:prstGeom>
        </p:spPr>
        <p:txBody>
          <a:bodyPr wrap="square">
            <a:spAutoFit/>
          </a:bodyPr>
          <a:lstStyle/>
          <a:p>
            <a:pPr lvl="0"/>
            <a:r>
              <a:rPr lang="en-US" altLang="x-none" sz="4800" dirty="0" smtClean="0">
                <a:latin typeface="微软雅黑" panose="020B0503020204020204" pitchFamily="34" charset="-122"/>
                <a:ea typeface="微软雅黑" panose="020B0503020204020204" pitchFamily="34" charset="-122"/>
              </a:rPr>
              <a:t>CHAPTER  ONE</a:t>
            </a:r>
            <a:endParaRPr lang="en-US" altLang="x-none" sz="4800" dirty="0" smtClean="0">
              <a:latin typeface="微软雅黑" panose="020B0503020204020204" pitchFamily="34" charset="-122"/>
              <a:ea typeface="微软雅黑" panose="020B0503020204020204" pitchFamily="34" charset="-122"/>
            </a:endParaRPr>
          </a:p>
          <a:p>
            <a:pPr lvl="0"/>
            <a:endParaRPr lang="en-US" altLang="zh-CN" sz="4800" b="1" dirty="0" smtClean="0">
              <a:latin typeface="微软雅黑" panose="020B0503020204020204" pitchFamily="34" charset="-122"/>
              <a:ea typeface="微软雅黑" panose="020B0503020204020204" pitchFamily="34" charset="-122"/>
            </a:endParaRPr>
          </a:p>
          <a:p>
            <a:pPr lvl="0"/>
            <a:r>
              <a:rPr lang="zh-CN" altLang="en-US" sz="4000" dirty="0" smtClean="0">
                <a:latin typeface="Segoe UI Light" panose="020B0502040204020203" pitchFamily="2" charset="0"/>
                <a:ea typeface="微软雅黑" panose="020B0503020204020204" pitchFamily="34" charset="-122"/>
              </a:rPr>
              <a:t> 公司介绍</a:t>
            </a:r>
            <a:endParaRPr lang="zh-CN" altLang="en-US" sz="4000" dirty="0">
              <a:latin typeface="Segoe UI Light" panose="020B0502040204020203" pitchFamily="2" charset="0"/>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10" advClick="0" advTm="3178"/>
    </mc:Choice>
    <mc:Fallback>
      <p:transition advClick="0" advTm="31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nodeType="after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wipe(left)">
                                      <p:cBhvr>
                                        <p:cTn id="12" dur="500"/>
                                        <p:tgtEl>
                                          <p:spTgt spid="6">
                                            <p:txEl>
                                              <p:pRg st="0" end="0"/>
                                            </p:txEl>
                                          </p:spTgt>
                                        </p:tgtEl>
                                      </p:cBhvr>
                                    </p:animEffect>
                                  </p:childTnLst>
                                </p:cTn>
                              </p:par>
                            </p:childTnLst>
                          </p:cTn>
                        </p:par>
                        <p:par>
                          <p:cTn id="13" fill="hold">
                            <p:stCondLst>
                              <p:cond delay="1000"/>
                            </p:stCondLst>
                            <p:childTnLst>
                              <p:par>
                                <p:cTn id="14" presetID="22" presetClass="entr" presetSubtype="8" fill="hold" nodeType="afterEffect">
                                  <p:stCondLst>
                                    <p:cond delay="0"/>
                                  </p:stCondLst>
                                  <p:childTnLst>
                                    <p:set>
                                      <p:cBhvr>
                                        <p:cTn id="15" dur="1" fill="hold">
                                          <p:stCondLst>
                                            <p:cond delay="0"/>
                                          </p:stCondLst>
                                        </p:cTn>
                                        <p:tgtEl>
                                          <p:spTgt spid="6">
                                            <p:txEl>
                                              <p:pRg st="2" end="2"/>
                                            </p:txEl>
                                          </p:spTgt>
                                        </p:tgtEl>
                                        <p:attrNameLst>
                                          <p:attrName>style.visibility</p:attrName>
                                        </p:attrNameLst>
                                      </p:cBhvr>
                                      <p:to>
                                        <p:strVal val="visible"/>
                                      </p:to>
                                    </p:set>
                                    <p:animEffect transition="in" filter="wipe(left)">
                                      <p:cBhvr>
                                        <p:cTn id="16"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08"/>
          <p:cNvGrpSpPr/>
          <p:nvPr/>
        </p:nvGrpSpPr>
        <p:grpSpPr>
          <a:xfrm>
            <a:off x="1497045" y="1660738"/>
            <a:ext cx="4320480" cy="144016"/>
            <a:chOff x="1507396" y="1628800"/>
            <a:chExt cx="4320480" cy="144016"/>
          </a:xfrm>
        </p:grpSpPr>
        <p:cxnSp>
          <p:nvCxnSpPr>
            <p:cNvPr id="110" name="直接连接符 109"/>
            <p:cNvCxnSpPr/>
            <p:nvPr/>
          </p:nvCxnSpPr>
          <p:spPr>
            <a:xfrm>
              <a:off x="1507396" y="1700808"/>
              <a:ext cx="432048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flipV="1">
              <a:off x="1507396"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flipV="1">
              <a:off x="1987449"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flipV="1">
              <a:off x="2467502"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4" name="直接连接符 113"/>
            <p:cNvCxnSpPr/>
            <p:nvPr/>
          </p:nvCxnSpPr>
          <p:spPr>
            <a:xfrm flipV="1">
              <a:off x="2947555"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flipV="1">
              <a:off x="3427608"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flipV="1">
              <a:off x="3907661"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flipV="1">
              <a:off x="4387714"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8" name="直接连接符 117"/>
            <p:cNvCxnSpPr/>
            <p:nvPr/>
          </p:nvCxnSpPr>
          <p:spPr>
            <a:xfrm flipV="1">
              <a:off x="4867767"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flipV="1">
              <a:off x="5347820"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0" name="直接连接符 119"/>
            <p:cNvCxnSpPr/>
            <p:nvPr/>
          </p:nvCxnSpPr>
          <p:spPr>
            <a:xfrm flipV="1">
              <a:off x="5827876"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3" name="组合 120"/>
          <p:cNvGrpSpPr/>
          <p:nvPr/>
        </p:nvGrpSpPr>
        <p:grpSpPr>
          <a:xfrm>
            <a:off x="6372887" y="1660738"/>
            <a:ext cx="4320480" cy="144016"/>
            <a:chOff x="1507396" y="1628800"/>
            <a:chExt cx="4320480" cy="144016"/>
          </a:xfrm>
        </p:grpSpPr>
        <p:cxnSp>
          <p:nvCxnSpPr>
            <p:cNvPr id="122" name="直接连接符 121"/>
            <p:cNvCxnSpPr/>
            <p:nvPr/>
          </p:nvCxnSpPr>
          <p:spPr>
            <a:xfrm>
              <a:off x="1507396" y="1700808"/>
              <a:ext cx="432048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3" name="直接连接符 122"/>
            <p:cNvCxnSpPr/>
            <p:nvPr/>
          </p:nvCxnSpPr>
          <p:spPr>
            <a:xfrm flipV="1">
              <a:off x="1507396"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4" name="直接连接符 123"/>
            <p:cNvCxnSpPr/>
            <p:nvPr/>
          </p:nvCxnSpPr>
          <p:spPr>
            <a:xfrm flipV="1">
              <a:off x="1987449"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5" name="直接连接符 124"/>
            <p:cNvCxnSpPr/>
            <p:nvPr/>
          </p:nvCxnSpPr>
          <p:spPr>
            <a:xfrm flipV="1">
              <a:off x="2467502"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6" name="直接连接符 125"/>
            <p:cNvCxnSpPr/>
            <p:nvPr/>
          </p:nvCxnSpPr>
          <p:spPr>
            <a:xfrm flipV="1">
              <a:off x="2947555"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7" name="直接连接符 126"/>
            <p:cNvCxnSpPr/>
            <p:nvPr/>
          </p:nvCxnSpPr>
          <p:spPr>
            <a:xfrm flipV="1">
              <a:off x="3427608"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flipV="1">
              <a:off x="3907661"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flipV="1">
              <a:off x="4387714"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4867767"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1" name="直接连接符 130"/>
            <p:cNvCxnSpPr/>
            <p:nvPr/>
          </p:nvCxnSpPr>
          <p:spPr>
            <a:xfrm flipV="1">
              <a:off x="5347820"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flipV="1">
              <a:off x="5827876" y="1628800"/>
              <a:ext cx="0" cy="14401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133" name="TextBox 132"/>
          <p:cNvSpPr txBox="1"/>
          <p:nvPr/>
        </p:nvSpPr>
        <p:spPr>
          <a:xfrm>
            <a:off x="5627804"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1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34" name="TextBox 133"/>
          <p:cNvSpPr txBox="1"/>
          <p:nvPr/>
        </p:nvSpPr>
        <p:spPr>
          <a:xfrm>
            <a:off x="5155368"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2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35" name="TextBox 134"/>
          <p:cNvSpPr txBox="1"/>
          <p:nvPr/>
        </p:nvSpPr>
        <p:spPr>
          <a:xfrm>
            <a:off x="4675315"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3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36" name="TextBox 135"/>
          <p:cNvSpPr txBox="1"/>
          <p:nvPr/>
        </p:nvSpPr>
        <p:spPr>
          <a:xfrm>
            <a:off x="4195262"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4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37" name="TextBox 136"/>
          <p:cNvSpPr txBox="1"/>
          <p:nvPr/>
        </p:nvSpPr>
        <p:spPr>
          <a:xfrm>
            <a:off x="3715209"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5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38" name="TextBox 137"/>
          <p:cNvSpPr txBox="1"/>
          <p:nvPr/>
        </p:nvSpPr>
        <p:spPr>
          <a:xfrm>
            <a:off x="3235156"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6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39" name="TextBox 138"/>
          <p:cNvSpPr txBox="1"/>
          <p:nvPr/>
        </p:nvSpPr>
        <p:spPr>
          <a:xfrm>
            <a:off x="2755103"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7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0" name="TextBox 139"/>
          <p:cNvSpPr txBox="1"/>
          <p:nvPr/>
        </p:nvSpPr>
        <p:spPr>
          <a:xfrm>
            <a:off x="2275050"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8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1" name="TextBox 140"/>
          <p:cNvSpPr txBox="1"/>
          <p:nvPr/>
        </p:nvSpPr>
        <p:spPr>
          <a:xfrm>
            <a:off x="1794997"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9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2" name="TextBox 141"/>
          <p:cNvSpPr txBox="1"/>
          <p:nvPr/>
        </p:nvSpPr>
        <p:spPr>
          <a:xfrm>
            <a:off x="1270060" y="1383739"/>
            <a:ext cx="453970"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10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3" name="TextBox 142"/>
          <p:cNvSpPr txBox="1"/>
          <p:nvPr/>
        </p:nvSpPr>
        <p:spPr>
          <a:xfrm>
            <a:off x="6192914"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1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4" name="TextBox 143"/>
          <p:cNvSpPr txBox="1"/>
          <p:nvPr/>
        </p:nvSpPr>
        <p:spPr>
          <a:xfrm>
            <a:off x="6670839"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2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5" name="TextBox 144"/>
          <p:cNvSpPr txBox="1"/>
          <p:nvPr/>
        </p:nvSpPr>
        <p:spPr>
          <a:xfrm>
            <a:off x="7150892"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3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6" name="TextBox 145"/>
          <p:cNvSpPr txBox="1"/>
          <p:nvPr/>
        </p:nvSpPr>
        <p:spPr>
          <a:xfrm>
            <a:off x="7630945"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4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7" name="TextBox 146"/>
          <p:cNvSpPr txBox="1"/>
          <p:nvPr/>
        </p:nvSpPr>
        <p:spPr>
          <a:xfrm>
            <a:off x="8110998"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5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8" name="TextBox 147"/>
          <p:cNvSpPr txBox="1"/>
          <p:nvPr/>
        </p:nvSpPr>
        <p:spPr>
          <a:xfrm>
            <a:off x="8591051"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6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49" name="TextBox 148"/>
          <p:cNvSpPr txBox="1"/>
          <p:nvPr/>
        </p:nvSpPr>
        <p:spPr>
          <a:xfrm>
            <a:off x="9071104"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7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50" name="TextBox 149"/>
          <p:cNvSpPr txBox="1"/>
          <p:nvPr/>
        </p:nvSpPr>
        <p:spPr>
          <a:xfrm>
            <a:off x="9551157"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8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51" name="TextBox 150"/>
          <p:cNvSpPr txBox="1"/>
          <p:nvPr/>
        </p:nvSpPr>
        <p:spPr>
          <a:xfrm>
            <a:off x="10031210" y="1383739"/>
            <a:ext cx="364202"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9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52" name="TextBox 151"/>
          <p:cNvSpPr txBox="1"/>
          <p:nvPr/>
        </p:nvSpPr>
        <p:spPr>
          <a:xfrm>
            <a:off x="10466382" y="1383739"/>
            <a:ext cx="453970" cy="276999"/>
          </a:xfrm>
          <a:prstGeom prst="rect">
            <a:avLst/>
          </a:prstGeom>
          <a:noFill/>
        </p:spPr>
        <p:txBody>
          <a:bodyPr wrap="none" rtlCol="0">
            <a:spAutoFit/>
          </a:bodyPr>
          <a:lstStyle/>
          <a:p>
            <a:r>
              <a:rPr lang="en-US" altLang="zh-CN" sz="1200" smtClean="0">
                <a:solidFill>
                  <a:srgbClr val="00B0F0"/>
                </a:solidFill>
                <a:latin typeface="微软雅黑" panose="020B0503020204020204" pitchFamily="34" charset="-122"/>
                <a:ea typeface="微软雅黑" panose="020B0503020204020204" pitchFamily="34" charset="-122"/>
              </a:rPr>
              <a:t>100</a:t>
            </a:r>
            <a:endParaRPr lang="zh-CN" altLang="en-US" sz="1200">
              <a:solidFill>
                <a:srgbClr val="00B0F0"/>
              </a:solidFill>
              <a:latin typeface="微软雅黑" panose="020B0503020204020204" pitchFamily="34" charset="-122"/>
              <a:ea typeface="微软雅黑" panose="020B0503020204020204" pitchFamily="34" charset="-122"/>
            </a:endParaRPr>
          </a:p>
        </p:txBody>
      </p:sp>
      <p:sp>
        <p:nvSpPr>
          <p:cNvPr id="153" name="五边形 152"/>
          <p:cNvSpPr/>
          <p:nvPr/>
        </p:nvSpPr>
        <p:spPr>
          <a:xfrm flipH="1">
            <a:off x="2639251" y="2098903"/>
            <a:ext cx="3178273" cy="324000"/>
          </a:xfrm>
          <a:prstGeom prst="homePlate">
            <a:avLst/>
          </a:prstGeom>
          <a:solidFill>
            <a:srgbClr val="B4E4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4" name="五边形 153"/>
          <p:cNvSpPr/>
          <p:nvPr/>
        </p:nvSpPr>
        <p:spPr>
          <a:xfrm flipH="1">
            <a:off x="3862891" y="2650964"/>
            <a:ext cx="1954633" cy="324000"/>
          </a:xfrm>
          <a:prstGeom prst="homePlate">
            <a:avLst/>
          </a:prstGeom>
          <a:solidFill>
            <a:srgbClr val="B4E4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5" name="五边形 154"/>
          <p:cNvSpPr/>
          <p:nvPr/>
        </p:nvSpPr>
        <p:spPr>
          <a:xfrm flipH="1">
            <a:off x="3119305" y="3203025"/>
            <a:ext cx="2698220" cy="324000"/>
          </a:xfrm>
          <a:prstGeom prst="homePlat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6" name="五边形 155"/>
          <p:cNvSpPr/>
          <p:nvPr/>
        </p:nvSpPr>
        <p:spPr>
          <a:xfrm flipH="1">
            <a:off x="1528098" y="3755086"/>
            <a:ext cx="4289427" cy="324000"/>
          </a:xfrm>
          <a:prstGeom prst="homePlate">
            <a:avLst/>
          </a:prstGeom>
          <a:solidFill>
            <a:srgbClr val="B4E4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五边形 156"/>
          <p:cNvSpPr/>
          <p:nvPr/>
        </p:nvSpPr>
        <p:spPr>
          <a:xfrm flipH="1">
            <a:off x="2275050" y="4307147"/>
            <a:ext cx="3542475" cy="324000"/>
          </a:xfrm>
          <a:prstGeom prst="homePlate">
            <a:avLst/>
          </a:prstGeom>
          <a:solidFill>
            <a:srgbClr val="B4E4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8" name="五边形 157"/>
          <p:cNvSpPr/>
          <p:nvPr/>
        </p:nvSpPr>
        <p:spPr>
          <a:xfrm flipH="1">
            <a:off x="3417257" y="4859208"/>
            <a:ext cx="2400268" cy="324000"/>
          </a:xfrm>
          <a:prstGeom prst="homePlate">
            <a:avLst/>
          </a:prstGeom>
          <a:solidFill>
            <a:srgbClr val="B4E4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 name="五边形 158"/>
          <p:cNvSpPr/>
          <p:nvPr/>
        </p:nvSpPr>
        <p:spPr>
          <a:xfrm flipH="1">
            <a:off x="4377363" y="5411742"/>
            <a:ext cx="1440162" cy="324000"/>
          </a:xfrm>
          <a:prstGeom prst="homePlat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TextBox 159"/>
          <p:cNvSpPr txBox="1"/>
          <p:nvPr/>
        </p:nvSpPr>
        <p:spPr>
          <a:xfrm>
            <a:off x="3023372" y="2071678"/>
            <a:ext cx="1620957"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地区有竞争力薪酬</a:t>
            </a:r>
            <a:endParaRPr lang="zh-CN" altLang="en-US" sz="1400" dirty="0">
              <a:latin typeface="微软雅黑" panose="020B0503020204020204" pitchFamily="34" charset="-122"/>
              <a:ea typeface="微软雅黑" panose="020B0503020204020204" pitchFamily="34" charset="-122"/>
            </a:endParaRPr>
          </a:p>
        </p:txBody>
      </p:sp>
      <p:sp>
        <p:nvSpPr>
          <p:cNvPr id="161" name="TextBox 160"/>
          <p:cNvSpPr txBox="1"/>
          <p:nvPr/>
        </p:nvSpPr>
        <p:spPr>
          <a:xfrm>
            <a:off x="4237818" y="2643182"/>
            <a:ext cx="723275"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年终奖</a:t>
            </a:r>
            <a:endParaRPr lang="zh-CN" altLang="en-US" sz="1400" dirty="0">
              <a:latin typeface="微软雅黑" panose="020B0503020204020204" pitchFamily="34" charset="-122"/>
              <a:ea typeface="微软雅黑" panose="020B0503020204020204" pitchFamily="34" charset="-122"/>
            </a:endParaRPr>
          </a:p>
        </p:txBody>
      </p:sp>
      <p:sp>
        <p:nvSpPr>
          <p:cNvPr id="162" name="TextBox 161"/>
          <p:cNvSpPr txBox="1"/>
          <p:nvPr/>
        </p:nvSpPr>
        <p:spPr>
          <a:xfrm>
            <a:off x="3880628" y="3214686"/>
            <a:ext cx="1082348"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高激励奖金</a:t>
            </a:r>
            <a:endParaRPr lang="zh-CN" altLang="en-US" sz="1400" dirty="0">
              <a:latin typeface="微软雅黑" panose="020B0503020204020204" pitchFamily="34" charset="-122"/>
              <a:ea typeface="微软雅黑" panose="020B0503020204020204" pitchFamily="34" charset="-122"/>
            </a:endParaRPr>
          </a:p>
        </p:txBody>
      </p:sp>
      <p:sp>
        <p:nvSpPr>
          <p:cNvPr id="163" name="TextBox 162"/>
          <p:cNvSpPr txBox="1"/>
          <p:nvPr/>
        </p:nvSpPr>
        <p:spPr>
          <a:xfrm>
            <a:off x="2880496" y="3786190"/>
            <a:ext cx="902811"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五险一金</a:t>
            </a:r>
            <a:endParaRPr lang="zh-CN" altLang="en-US" sz="1400" dirty="0">
              <a:latin typeface="微软雅黑" panose="020B0503020204020204" pitchFamily="34" charset="-122"/>
              <a:ea typeface="微软雅黑" panose="020B0503020204020204" pitchFamily="34" charset="-122"/>
            </a:endParaRPr>
          </a:p>
        </p:txBody>
      </p:sp>
      <p:sp>
        <p:nvSpPr>
          <p:cNvPr id="164" name="TextBox 163"/>
          <p:cNvSpPr txBox="1"/>
          <p:nvPr/>
        </p:nvSpPr>
        <p:spPr>
          <a:xfrm>
            <a:off x="2880496" y="4286256"/>
            <a:ext cx="1261884"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补充商业保险</a:t>
            </a:r>
            <a:endParaRPr lang="zh-CN" altLang="en-US" sz="1400" dirty="0">
              <a:latin typeface="微软雅黑" panose="020B0503020204020204" pitchFamily="34" charset="-122"/>
              <a:ea typeface="微软雅黑" panose="020B0503020204020204" pitchFamily="34" charset="-122"/>
            </a:endParaRPr>
          </a:p>
        </p:txBody>
      </p:sp>
      <p:sp>
        <p:nvSpPr>
          <p:cNvPr id="165" name="TextBox 164"/>
          <p:cNvSpPr txBox="1"/>
          <p:nvPr/>
        </p:nvSpPr>
        <p:spPr>
          <a:xfrm>
            <a:off x="3737752" y="4857760"/>
            <a:ext cx="2194343" cy="307777"/>
          </a:xfrm>
          <a:prstGeom prst="rect">
            <a:avLst/>
          </a:prstGeom>
          <a:noFill/>
        </p:spPr>
        <p:txBody>
          <a:bodyPr wrap="square" rtlCol="0">
            <a:spAutoFit/>
          </a:bodyPr>
          <a:lstStyle/>
          <a:p>
            <a:r>
              <a:rPr lang="zh-CN" altLang="en-US" sz="1400" dirty="0" smtClean="0">
                <a:latin typeface="微软雅黑" panose="020B0503020204020204" pitchFamily="34" charset="-122"/>
                <a:ea typeface="微软雅黑" panose="020B0503020204020204" pitchFamily="34" charset="-122"/>
              </a:rPr>
              <a:t>交通、通讯、午餐补贴</a:t>
            </a:r>
            <a:endParaRPr lang="zh-CN" altLang="en-US" sz="1400" dirty="0">
              <a:latin typeface="微软雅黑" panose="020B0503020204020204" pitchFamily="34" charset="-122"/>
              <a:ea typeface="微软雅黑" panose="020B0503020204020204" pitchFamily="34" charset="-122"/>
            </a:endParaRPr>
          </a:p>
        </p:txBody>
      </p:sp>
      <p:sp>
        <p:nvSpPr>
          <p:cNvPr id="166" name="TextBox 165"/>
          <p:cNvSpPr txBox="1"/>
          <p:nvPr/>
        </p:nvSpPr>
        <p:spPr>
          <a:xfrm>
            <a:off x="4523570" y="5429264"/>
            <a:ext cx="1261884"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年节工会福利</a:t>
            </a:r>
            <a:endParaRPr lang="zh-CN" altLang="en-US" sz="1400" dirty="0">
              <a:latin typeface="微软雅黑" panose="020B0503020204020204" pitchFamily="34" charset="-122"/>
              <a:ea typeface="微软雅黑" panose="020B0503020204020204" pitchFamily="34" charset="-122"/>
            </a:endParaRPr>
          </a:p>
        </p:txBody>
      </p:sp>
      <p:sp>
        <p:nvSpPr>
          <p:cNvPr id="167" name="五边形 166"/>
          <p:cNvSpPr/>
          <p:nvPr/>
        </p:nvSpPr>
        <p:spPr>
          <a:xfrm>
            <a:off x="6372887" y="2098903"/>
            <a:ext cx="1622260" cy="324000"/>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五边形 167"/>
          <p:cNvSpPr/>
          <p:nvPr/>
        </p:nvSpPr>
        <p:spPr>
          <a:xfrm>
            <a:off x="6372887" y="2650964"/>
            <a:ext cx="3062419" cy="324000"/>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9" name="五边形 168"/>
          <p:cNvSpPr/>
          <p:nvPr/>
        </p:nvSpPr>
        <p:spPr>
          <a:xfrm>
            <a:off x="6372887" y="3203025"/>
            <a:ext cx="1920212" cy="324000"/>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五边形 169"/>
          <p:cNvSpPr/>
          <p:nvPr/>
        </p:nvSpPr>
        <p:spPr>
          <a:xfrm>
            <a:off x="6372886" y="3755086"/>
            <a:ext cx="4093495" cy="324000"/>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1" name="五边形 170"/>
          <p:cNvSpPr/>
          <p:nvPr/>
        </p:nvSpPr>
        <p:spPr>
          <a:xfrm>
            <a:off x="6372887" y="4307147"/>
            <a:ext cx="2962679" cy="324000"/>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2" name="五边形 171"/>
          <p:cNvSpPr/>
          <p:nvPr/>
        </p:nvSpPr>
        <p:spPr>
          <a:xfrm>
            <a:off x="6372887" y="4859208"/>
            <a:ext cx="3433873" cy="324000"/>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3" name="五边形 172"/>
          <p:cNvSpPr/>
          <p:nvPr/>
        </p:nvSpPr>
        <p:spPr>
          <a:xfrm>
            <a:off x="6372887" y="5411742"/>
            <a:ext cx="2530631" cy="315651"/>
          </a:xfrm>
          <a:prstGeom prst="homePlat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TextBox 173"/>
          <p:cNvSpPr txBox="1"/>
          <p:nvPr/>
        </p:nvSpPr>
        <p:spPr>
          <a:xfrm>
            <a:off x="6952462" y="2143116"/>
            <a:ext cx="543739"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双休</a:t>
            </a:r>
            <a:endParaRPr lang="zh-CN" altLang="en-US" sz="1400" dirty="0">
              <a:latin typeface="微软雅黑" panose="020B0503020204020204" pitchFamily="34" charset="-122"/>
              <a:ea typeface="微软雅黑" panose="020B0503020204020204" pitchFamily="34" charset="-122"/>
            </a:endParaRPr>
          </a:p>
        </p:txBody>
      </p:sp>
      <p:sp>
        <p:nvSpPr>
          <p:cNvPr id="175" name="TextBox 174"/>
          <p:cNvSpPr txBox="1"/>
          <p:nvPr/>
        </p:nvSpPr>
        <p:spPr>
          <a:xfrm>
            <a:off x="7523966" y="2643182"/>
            <a:ext cx="902811"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带薪年假</a:t>
            </a:r>
            <a:endParaRPr lang="zh-CN" altLang="en-US" sz="1400" dirty="0">
              <a:latin typeface="微软雅黑" panose="020B0503020204020204" pitchFamily="34" charset="-122"/>
              <a:ea typeface="微软雅黑" panose="020B0503020204020204" pitchFamily="34" charset="-122"/>
            </a:endParaRPr>
          </a:p>
        </p:txBody>
      </p:sp>
      <p:sp>
        <p:nvSpPr>
          <p:cNvPr id="176" name="TextBox 175"/>
          <p:cNvSpPr txBox="1"/>
          <p:nvPr/>
        </p:nvSpPr>
        <p:spPr>
          <a:xfrm>
            <a:off x="6881024" y="3214686"/>
            <a:ext cx="1082348"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法定节假日</a:t>
            </a:r>
            <a:endParaRPr lang="zh-CN" altLang="en-US" sz="1400" dirty="0">
              <a:latin typeface="微软雅黑" panose="020B0503020204020204" pitchFamily="34" charset="-122"/>
              <a:ea typeface="微软雅黑" panose="020B0503020204020204" pitchFamily="34" charset="-122"/>
            </a:endParaRPr>
          </a:p>
        </p:txBody>
      </p:sp>
      <p:sp>
        <p:nvSpPr>
          <p:cNvPr id="177" name="TextBox 176"/>
          <p:cNvSpPr txBox="1"/>
          <p:nvPr/>
        </p:nvSpPr>
        <p:spPr>
          <a:xfrm>
            <a:off x="7881156" y="3786190"/>
            <a:ext cx="1620957"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年度员工健康体检</a:t>
            </a:r>
            <a:endParaRPr lang="zh-CN" altLang="en-US" sz="1400" dirty="0">
              <a:latin typeface="微软雅黑" panose="020B0503020204020204" pitchFamily="34" charset="-122"/>
              <a:ea typeface="微软雅黑" panose="020B0503020204020204" pitchFamily="34" charset="-122"/>
            </a:endParaRPr>
          </a:p>
        </p:txBody>
      </p:sp>
      <p:sp>
        <p:nvSpPr>
          <p:cNvPr id="178" name="TextBox 177"/>
          <p:cNvSpPr txBox="1"/>
          <p:nvPr/>
        </p:nvSpPr>
        <p:spPr>
          <a:xfrm>
            <a:off x="6809586" y="4286256"/>
            <a:ext cx="2159566"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员工旅游（国内、国外</a:t>
            </a:r>
            <a:r>
              <a:rPr lang="zh-CN" altLang="en-US" sz="1400" b="1" dirty="0" smtClean="0">
                <a:latin typeface="微软雅黑" panose="020B0503020204020204" pitchFamily="34" charset="-122"/>
                <a:ea typeface="微软雅黑" panose="020B0503020204020204" pitchFamily="34" charset="-122"/>
              </a:rPr>
              <a:t>）</a:t>
            </a:r>
            <a:endParaRPr lang="zh-CN" altLang="en-US" sz="1400" b="1" dirty="0">
              <a:latin typeface="微软雅黑" panose="020B0503020204020204" pitchFamily="34" charset="-122"/>
              <a:ea typeface="微软雅黑" panose="020B0503020204020204" pitchFamily="34" charset="-122"/>
            </a:endParaRPr>
          </a:p>
        </p:txBody>
      </p:sp>
      <p:sp>
        <p:nvSpPr>
          <p:cNvPr id="179" name="TextBox 178"/>
          <p:cNvSpPr txBox="1"/>
          <p:nvPr/>
        </p:nvSpPr>
        <p:spPr>
          <a:xfrm>
            <a:off x="7238214" y="4857760"/>
            <a:ext cx="1620957"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员工紧急救助基金</a:t>
            </a:r>
            <a:endParaRPr lang="zh-CN" altLang="en-US" sz="1400" dirty="0">
              <a:latin typeface="微软雅黑" panose="020B0503020204020204" pitchFamily="34" charset="-122"/>
              <a:ea typeface="微软雅黑" panose="020B0503020204020204" pitchFamily="34" charset="-122"/>
            </a:endParaRPr>
          </a:p>
        </p:txBody>
      </p:sp>
      <p:sp>
        <p:nvSpPr>
          <p:cNvPr id="180" name="TextBox 179"/>
          <p:cNvSpPr txBox="1"/>
          <p:nvPr/>
        </p:nvSpPr>
        <p:spPr>
          <a:xfrm>
            <a:off x="7166776" y="5429264"/>
            <a:ext cx="902811" cy="307777"/>
          </a:xfrm>
          <a:prstGeom prst="rect">
            <a:avLst/>
          </a:prstGeom>
          <a:noFill/>
        </p:spPr>
        <p:txBody>
          <a:bodyPr wrap="none" rtlCol="0">
            <a:spAutoFit/>
          </a:bodyPr>
          <a:lstStyle/>
          <a:p>
            <a:r>
              <a:rPr lang="zh-CN" altLang="en-US" sz="1400" dirty="0" smtClean="0">
                <a:latin typeface="微软雅黑" panose="020B0503020204020204" pitchFamily="34" charset="-122"/>
                <a:ea typeface="微软雅黑" panose="020B0503020204020204" pitchFamily="34" charset="-122"/>
              </a:rPr>
              <a:t>工会活动</a:t>
            </a:r>
            <a:endParaRPr lang="zh-CN" altLang="en-US" sz="1400" dirty="0">
              <a:latin typeface="微软雅黑" panose="020B0503020204020204" pitchFamily="34" charset="-122"/>
              <a:ea typeface="微软雅黑" panose="020B0503020204020204" pitchFamily="34" charset="-122"/>
            </a:endParaRPr>
          </a:p>
        </p:txBody>
      </p:sp>
      <p:sp>
        <p:nvSpPr>
          <p:cNvPr id="181" name="TextBox 180"/>
          <p:cNvSpPr txBox="1"/>
          <p:nvPr/>
        </p:nvSpPr>
        <p:spPr>
          <a:xfrm>
            <a:off x="5912303" y="2060848"/>
            <a:ext cx="365806" cy="400110"/>
          </a:xfrm>
          <a:prstGeom prst="rect">
            <a:avLst/>
          </a:prstGeom>
          <a:noFill/>
        </p:spPr>
        <p:txBody>
          <a:bodyPr wrap="none" rtlCol="0">
            <a:spAutoFit/>
          </a:bodyPr>
          <a:lstStyle/>
          <a:p>
            <a:r>
              <a:rPr lang="en-US" altLang="zh-CN" sz="2000" smtClean="0">
                <a:solidFill>
                  <a:srgbClr val="00B0F0"/>
                </a:solidFill>
                <a:latin typeface="微软雅黑" panose="020B0503020204020204" pitchFamily="34" charset="-122"/>
                <a:ea typeface="微软雅黑" panose="020B0503020204020204" pitchFamily="34" charset="-122"/>
              </a:rPr>
              <a:t>A</a:t>
            </a:r>
            <a:endParaRPr lang="zh-CN" altLang="en-US" sz="2000">
              <a:solidFill>
                <a:srgbClr val="00B0F0"/>
              </a:solidFill>
              <a:latin typeface="微软雅黑" panose="020B0503020204020204" pitchFamily="34" charset="-122"/>
              <a:ea typeface="微软雅黑" panose="020B0503020204020204" pitchFamily="34" charset="-122"/>
            </a:endParaRPr>
          </a:p>
        </p:txBody>
      </p:sp>
      <p:sp>
        <p:nvSpPr>
          <p:cNvPr id="182" name="TextBox 181"/>
          <p:cNvSpPr txBox="1"/>
          <p:nvPr/>
        </p:nvSpPr>
        <p:spPr>
          <a:xfrm>
            <a:off x="5912303" y="2612909"/>
            <a:ext cx="344966" cy="400110"/>
          </a:xfrm>
          <a:prstGeom prst="rect">
            <a:avLst/>
          </a:prstGeom>
          <a:noFill/>
        </p:spPr>
        <p:txBody>
          <a:bodyPr wrap="none" rtlCol="0">
            <a:spAutoFit/>
          </a:bodyPr>
          <a:lstStyle/>
          <a:p>
            <a:r>
              <a:rPr lang="en-US" altLang="zh-CN" sz="2000" smtClean="0">
                <a:solidFill>
                  <a:srgbClr val="00B0F0"/>
                </a:solidFill>
                <a:latin typeface="微软雅黑" panose="020B0503020204020204" pitchFamily="34" charset="-122"/>
                <a:ea typeface="微软雅黑" panose="020B0503020204020204" pitchFamily="34" charset="-122"/>
              </a:rPr>
              <a:t>B</a:t>
            </a:r>
            <a:endParaRPr lang="zh-CN" altLang="en-US" sz="2000">
              <a:solidFill>
                <a:srgbClr val="00B0F0"/>
              </a:solidFill>
              <a:latin typeface="微软雅黑" panose="020B0503020204020204" pitchFamily="34" charset="-122"/>
              <a:ea typeface="微软雅黑" panose="020B0503020204020204" pitchFamily="34" charset="-122"/>
            </a:endParaRPr>
          </a:p>
        </p:txBody>
      </p:sp>
      <p:sp>
        <p:nvSpPr>
          <p:cNvPr id="183" name="TextBox 182"/>
          <p:cNvSpPr txBox="1"/>
          <p:nvPr/>
        </p:nvSpPr>
        <p:spPr>
          <a:xfrm>
            <a:off x="5912303" y="3164970"/>
            <a:ext cx="356188" cy="400110"/>
          </a:xfrm>
          <a:prstGeom prst="rect">
            <a:avLst/>
          </a:prstGeom>
          <a:noFill/>
        </p:spPr>
        <p:txBody>
          <a:bodyPr wrap="none" rtlCol="0">
            <a:spAutoFit/>
          </a:bodyPr>
          <a:lstStyle/>
          <a:p>
            <a:r>
              <a:rPr lang="en-US" altLang="zh-CN" sz="2000" smtClean="0">
                <a:solidFill>
                  <a:srgbClr val="00B0F0"/>
                </a:solidFill>
                <a:latin typeface="微软雅黑" panose="020B0503020204020204" pitchFamily="34" charset="-122"/>
                <a:ea typeface="微软雅黑" panose="020B0503020204020204" pitchFamily="34" charset="-122"/>
              </a:rPr>
              <a:t>C</a:t>
            </a:r>
            <a:endParaRPr lang="zh-CN" altLang="en-US" sz="2000">
              <a:solidFill>
                <a:srgbClr val="00B0F0"/>
              </a:solidFill>
              <a:latin typeface="微软雅黑" panose="020B0503020204020204" pitchFamily="34" charset="-122"/>
              <a:ea typeface="微软雅黑" panose="020B0503020204020204" pitchFamily="34" charset="-122"/>
            </a:endParaRPr>
          </a:p>
        </p:txBody>
      </p:sp>
      <p:sp>
        <p:nvSpPr>
          <p:cNvPr id="184" name="TextBox 183"/>
          <p:cNvSpPr txBox="1"/>
          <p:nvPr/>
        </p:nvSpPr>
        <p:spPr>
          <a:xfrm>
            <a:off x="5912303" y="3717031"/>
            <a:ext cx="380232" cy="400110"/>
          </a:xfrm>
          <a:prstGeom prst="rect">
            <a:avLst/>
          </a:prstGeom>
          <a:noFill/>
        </p:spPr>
        <p:txBody>
          <a:bodyPr wrap="none" rtlCol="0">
            <a:spAutoFit/>
          </a:bodyPr>
          <a:lstStyle/>
          <a:p>
            <a:r>
              <a:rPr lang="en-US" altLang="zh-CN" sz="2000" smtClean="0">
                <a:solidFill>
                  <a:srgbClr val="00B0F0"/>
                </a:solidFill>
                <a:latin typeface="微软雅黑" panose="020B0503020204020204" pitchFamily="34" charset="-122"/>
                <a:ea typeface="微软雅黑" panose="020B0503020204020204" pitchFamily="34" charset="-122"/>
              </a:rPr>
              <a:t>D</a:t>
            </a:r>
            <a:endParaRPr lang="zh-CN" altLang="en-US" sz="2000">
              <a:solidFill>
                <a:srgbClr val="00B0F0"/>
              </a:solidFill>
              <a:latin typeface="微软雅黑" panose="020B0503020204020204" pitchFamily="34" charset="-122"/>
              <a:ea typeface="微软雅黑" panose="020B0503020204020204" pitchFamily="34" charset="-122"/>
            </a:endParaRPr>
          </a:p>
        </p:txBody>
      </p:sp>
      <p:sp>
        <p:nvSpPr>
          <p:cNvPr id="185" name="TextBox 184"/>
          <p:cNvSpPr txBox="1"/>
          <p:nvPr/>
        </p:nvSpPr>
        <p:spPr>
          <a:xfrm>
            <a:off x="5912303" y="4269092"/>
            <a:ext cx="325730" cy="400110"/>
          </a:xfrm>
          <a:prstGeom prst="rect">
            <a:avLst/>
          </a:prstGeom>
          <a:noFill/>
        </p:spPr>
        <p:txBody>
          <a:bodyPr wrap="none" rtlCol="0">
            <a:spAutoFit/>
          </a:bodyPr>
          <a:lstStyle/>
          <a:p>
            <a:r>
              <a:rPr lang="en-US" altLang="zh-CN" sz="2000" smtClean="0">
                <a:solidFill>
                  <a:srgbClr val="00B0F0"/>
                </a:solidFill>
                <a:latin typeface="微软雅黑" panose="020B0503020204020204" pitchFamily="34" charset="-122"/>
                <a:ea typeface="微软雅黑" panose="020B0503020204020204" pitchFamily="34" charset="-122"/>
              </a:rPr>
              <a:t>E</a:t>
            </a:r>
            <a:endParaRPr lang="zh-CN" altLang="en-US" sz="2000">
              <a:solidFill>
                <a:srgbClr val="00B0F0"/>
              </a:solidFill>
              <a:latin typeface="微软雅黑" panose="020B0503020204020204" pitchFamily="34" charset="-122"/>
              <a:ea typeface="微软雅黑" panose="020B0503020204020204" pitchFamily="34" charset="-122"/>
            </a:endParaRPr>
          </a:p>
        </p:txBody>
      </p:sp>
      <p:sp>
        <p:nvSpPr>
          <p:cNvPr id="186" name="TextBox 185"/>
          <p:cNvSpPr txBox="1"/>
          <p:nvPr/>
        </p:nvSpPr>
        <p:spPr>
          <a:xfrm>
            <a:off x="5912303" y="4821153"/>
            <a:ext cx="325730" cy="400110"/>
          </a:xfrm>
          <a:prstGeom prst="rect">
            <a:avLst/>
          </a:prstGeom>
          <a:noFill/>
        </p:spPr>
        <p:txBody>
          <a:bodyPr wrap="none" rtlCol="0">
            <a:spAutoFit/>
          </a:bodyPr>
          <a:lstStyle/>
          <a:p>
            <a:r>
              <a:rPr lang="en-US" altLang="zh-CN" sz="2000" smtClean="0">
                <a:solidFill>
                  <a:srgbClr val="00B0F0"/>
                </a:solidFill>
                <a:latin typeface="微软雅黑" panose="020B0503020204020204" pitchFamily="34" charset="-122"/>
                <a:ea typeface="微软雅黑" panose="020B0503020204020204" pitchFamily="34" charset="-122"/>
              </a:rPr>
              <a:t>F</a:t>
            </a:r>
            <a:endParaRPr lang="zh-CN" altLang="en-US" sz="2000">
              <a:solidFill>
                <a:srgbClr val="00B0F0"/>
              </a:solidFill>
              <a:latin typeface="微软雅黑" panose="020B0503020204020204" pitchFamily="34" charset="-122"/>
              <a:ea typeface="微软雅黑" panose="020B0503020204020204" pitchFamily="34" charset="-122"/>
            </a:endParaRPr>
          </a:p>
        </p:txBody>
      </p:sp>
      <p:sp>
        <p:nvSpPr>
          <p:cNvPr id="187" name="TextBox 186"/>
          <p:cNvSpPr txBox="1"/>
          <p:nvPr/>
        </p:nvSpPr>
        <p:spPr>
          <a:xfrm>
            <a:off x="5912303" y="5373216"/>
            <a:ext cx="375424" cy="400110"/>
          </a:xfrm>
          <a:prstGeom prst="rect">
            <a:avLst/>
          </a:prstGeom>
          <a:noFill/>
        </p:spPr>
        <p:txBody>
          <a:bodyPr wrap="none" rtlCol="0">
            <a:spAutoFit/>
          </a:bodyPr>
          <a:lstStyle/>
          <a:p>
            <a:r>
              <a:rPr lang="en-US" altLang="zh-CN" sz="2000" smtClean="0">
                <a:solidFill>
                  <a:srgbClr val="00B0F0"/>
                </a:solidFill>
                <a:latin typeface="微软雅黑" panose="020B0503020204020204" pitchFamily="34" charset="-122"/>
                <a:ea typeface="微软雅黑" panose="020B0503020204020204" pitchFamily="34" charset="-122"/>
              </a:rPr>
              <a:t>G</a:t>
            </a:r>
            <a:endParaRPr lang="zh-CN" altLang="en-US" sz="2000">
              <a:solidFill>
                <a:srgbClr val="00B0F0"/>
              </a:solidFill>
              <a:latin typeface="微软雅黑" panose="020B0503020204020204" pitchFamily="34" charset="-122"/>
              <a:ea typeface="微软雅黑" panose="020B0503020204020204" pitchFamily="34" charset="-122"/>
            </a:endParaRPr>
          </a:p>
        </p:txBody>
      </p:sp>
      <p:sp>
        <p:nvSpPr>
          <p:cNvPr id="87" name="TextBox 86"/>
          <p:cNvSpPr txBox="1"/>
          <p:nvPr/>
        </p:nvSpPr>
        <p:spPr>
          <a:xfrm>
            <a:off x="1165984" y="785794"/>
            <a:ext cx="2236510" cy="400110"/>
          </a:xfrm>
          <a:prstGeom prst="rect">
            <a:avLst/>
          </a:prstGeom>
          <a:noFill/>
        </p:spPr>
        <p:txBody>
          <a:bodyPr wrap="none" rtlCol="0" anchor="ctr">
            <a:spAutoFit/>
          </a:bodyPr>
          <a:lstStyle/>
          <a:p>
            <a:r>
              <a:rPr lang="zh-CN" altLang="en-US" sz="2000"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rPr>
              <a:t>全面薪酬福利体系</a:t>
            </a:r>
            <a:endParaRPr lang="zh-CN" altLang="en-US" sz="2000" b="1"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endParaRPr>
          </a:p>
        </p:txBody>
      </p:sp>
      <p:sp>
        <p:nvSpPr>
          <p:cNvPr id="85" name="TextBox 84"/>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成长</a:t>
            </a:r>
            <a:r>
              <a:rPr lang="en-US" altLang="zh-CN" sz="2400" b="1" dirty="0" smtClean="0">
                <a:latin typeface="微软雅黑" panose="020B0503020204020204" pitchFamily="34" charset="-122"/>
                <a:ea typeface="微软雅黑" panose="020B0503020204020204" pitchFamily="34" charset="-122"/>
              </a:rPr>
              <a:t>&amp;</a:t>
            </a:r>
            <a:r>
              <a:rPr lang="zh-CN" altLang="en-US" sz="2400" b="1" dirty="0" smtClean="0">
                <a:latin typeface="微软雅黑" panose="020B0503020204020204" pitchFamily="34" charset="-122"/>
                <a:ea typeface="微软雅黑" panose="020B0503020204020204" pitchFamily="34" charset="-122"/>
              </a:rPr>
              <a:t>收获</a:t>
            </a:r>
            <a:endParaRPr lang="zh-CN" altLang="en-US" sz="2400" b="1" dirty="0" smtClean="0">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500" advTm="7152">
        <p:split orient="vert"/>
      </p:transition>
    </mc:Choice>
    <mc:Fallback>
      <p:transition spd="slow" advTm="7152">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500"/>
                                        <p:tgtEl>
                                          <p:spTgt spid="87"/>
                                        </p:tgtEl>
                                      </p:cBhvr>
                                    </p:animEffect>
                                  </p:childTnLst>
                                </p:cTn>
                              </p:par>
                            </p:childTnLst>
                          </p:cTn>
                        </p:par>
                        <p:par>
                          <p:cTn id="8" fill="hold">
                            <p:stCondLst>
                              <p:cond delay="500"/>
                            </p:stCondLst>
                            <p:childTnLst>
                              <p:par>
                                <p:cTn id="9" presetID="2" presetClass="entr" presetSubtype="4" decel="100000" fill="hold" grpId="0" nodeType="afterEffect">
                                  <p:stCondLst>
                                    <p:cond delay="0"/>
                                  </p:stCondLst>
                                  <p:childTnLst>
                                    <p:set>
                                      <p:cBhvr>
                                        <p:cTn id="10" dur="1" fill="hold">
                                          <p:stCondLst>
                                            <p:cond delay="0"/>
                                          </p:stCondLst>
                                        </p:cTn>
                                        <p:tgtEl>
                                          <p:spTgt spid="181"/>
                                        </p:tgtEl>
                                        <p:attrNameLst>
                                          <p:attrName>style.visibility</p:attrName>
                                        </p:attrNameLst>
                                      </p:cBhvr>
                                      <p:to>
                                        <p:strVal val="visible"/>
                                      </p:to>
                                    </p:set>
                                    <p:anim calcmode="lin" valueType="num">
                                      <p:cBhvr additive="base">
                                        <p:cTn id="11" dur="500" fill="hold"/>
                                        <p:tgtEl>
                                          <p:spTgt spid="181"/>
                                        </p:tgtEl>
                                        <p:attrNameLst>
                                          <p:attrName>ppt_x</p:attrName>
                                        </p:attrNameLst>
                                      </p:cBhvr>
                                      <p:tavLst>
                                        <p:tav tm="0">
                                          <p:val>
                                            <p:strVal val="#ppt_x"/>
                                          </p:val>
                                        </p:tav>
                                        <p:tav tm="100000">
                                          <p:val>
                                            <p:strVal val="#ppt_x"/>
                                          </p:val>
                                        </p:tav>
                                      </p:tavLst>
                                    </p:anim>
                                    <p:anim calcmode="lin" valueType="num">
                                      <p:cBhvr additive="base">
                                        <p:cTn id="12" dur="500" fill="hold"/>
                                        <p:tgtEl>
                                          <p:spTgt spid="181"/>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0"/>
                                  </p:stCondLst>
                                  <p:childTnLst>
                                    <p:set>
                                      <p:cBhvr>
                                        <p:cTn id="14" dur="1" fill="hold">
                                          <p:stCondLst>
                                            <p:cond delay="0"/>
                                          </p:stCondLst>
                                        </p:cTn>
                                        <p:tgtEl>
                                          <p:spTgt spid="182"/>
                                        </p:tgtEl>
                                        <p:attrNameLst>
                                          <p:attrName>style.visibility</p:attrName>
                                        </p:attrNameLst>
                                      </p:cBhvr>
                                      <p:to>
                                        <p:strVal val="visible"/>
                                      </p:to>
                                    </p:set>
                                    <p:anim calcmode="lin" valueType="num">
                                      <p:cBhvr additive="base">
                                        <p:cTn id="15" dur="500" fill="hold"/>
                                        <p:tgtEl>
                                          <p:spTgt spid="182"/>
                                        </p:tgtEl>
                                        <p:attrNameLst>
                                          <p:attrName>ppt_x</p:attrName>
                                        </p:attrNameLst>
                                      </p:cBhvr>
                                      <p:tavLst>
                                        <p:tav tm="0">
                                          <p:val>
                                            <p:strVal val="#ppt_x"/>
                                          </p:val>
                                        </p:tav>
                                        <p:tav tm="100000">
                                          <p:val>
                                            <p:strVal val="#ppt_x"/>
                                          </p:val>
                                        </p:tav>
                                      </p:tavLst>
                                    </p:anim>
                                    <p:anim calcmode="lin" valueType="num">
                                      <p:cBhvr additive="base">
                                        <p:cTn id="16" dur="500" fill="hold"/>
                                        <p:tgtEl>
                                          <p:spTgt spid="18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0"/>
                                  </p:stCondLst>
                                  <p:childTnLst>
                                    <p:set>
                                      <p:cBhvr>
                                        <p:cTn id="18" dur="1" fill="hold">
                                          <p:stCondLst>
                                            <p:cond delay="0"/>
                                          </p:stCondLst>
                                        </p:cTn>
                                        <p:tgtEl>
                                          <p:spTgt spid="183"/>
                                        </p:tgtEl>
                                        <p:attrNameLst>
                                          <p:attrName>style.visibility</p:attrName>
                                        </p:attrNameLst>
                                      </p:cBhvr>
                                      <p:to>
                                        <p:strVal val="visible"/>
                                      </p:to>
                                    </p:set>
                                    <p:anim calcmode="lin" valueType="num">
                                      <p:cBhvr additive="base">
                                        <p:cTn id="19" dur="500" fill="hold"/>
                                        <p:tgtEl>
                                          <p:spTgt spid="183"/>
                                        </p:tgtEl>
                                        <p:attrNameLst>
                                          <p:attrName>ppt_x</p:attrName>
                                        </p:attrNameLst>
                                      </p:cBhvr>
                                      <p:tavLst>
                                        <p:tav tm="0">
                                          <p:val>
                                            <p:strVal val="#ppt_x"/>
                                          </p:val>
                                        </p:tav>
                                        <p:tav tm="100000">
                                          <p:val>
                                            <p:strVal val="#ppt_x"/>
                                          </p:val>
                                        </p:tav>
                                      </p:tavLst>
                                    </p:anim>
                                    <p:anim calcmode="lin" valueType="num">
                                      <p:cBhvr additive="base">
                                        <p:cTn id="20" dur="500" fill="hold"/>
                                        <p:tgtEl>
                                          <p:spTgt spid="183"/>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0"/>
                                  </p:stCondLst>
                                  <p:childTnLst>
                                    <p:set>
                                      <p:cBhvr>
                                        <p:cTn id="22" dur="1" fill="hold">
                                          <p:stCondLst>
                                            <p:cond delay="0"/>
                                          </p:stCondLst>
                                        </p:cTn>
                                        <p:tgtEl>
                                          <p:spTgt spid="184"/>
                                        </p:tgtEl>
                                        <p:attrNameLst>
                                          <p:attrName>style.visibility</p:attrName>
                                        </p:attrNameLst>
                                      </p:cBhvr>
                                      <p:to>
                                        <p:strVal val="visible"/>
                                      </p:to>
                                    </p:set>
                                    <p:anim calcmode="lin" valueType="num">
                                      <p:cBhvr additive="base">
                                        <p:cTn id="23" dur="500" fill="hold"/>
                                        <p:tgtEl>
                                          <p:spTgt spid="184"/>
                                        </p:tgtEl>
                                        <p:attrNameLst>
                                          <p:attrName>ppt_x</p:attrName>
                                        </p:attrNameLst>
                                      </p:cBhvr>
                                      <p:tavLst>
                                        <p:tav tm="0">
                                          <p:val>
                                            <p:strVal val="#ppt_x"/>
                                          </p:val>
                                        </p:tav>
                                        <p:tav tm="100000">
                                          <p:val>
                                            <p:strVal val="#ppt_x"/>
                                          </p:val>
                                        </p:tav>
                                      </p:tavLst>
                                    </p:anim>
                                    <p:anim calcmode="lin" valueType="num">
                                      <p:cBhvr additive="base">
                                        <p:cTn id="24" dur="500" fill="hold"/>
                                        <p:tgtEl>
                                          <p:spTgt spid="184"/>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0"/>
                                  </p:stCondLst>
                                  <p:childTnLst>
                                    <p:set>
                                      <p:cBhvr>
                                        <p:cTn id="26" dur="1" fill="hold">
                                          <p:stCondLst>
                                            <p:cond delay="0"/>
                                          </p:stCondLst>
                                        </p:cTn>
                                        <p:tgtEl>
                                          <p:spTgt spid="185"/>
                                        </p:tgtEl>
                                        <p:attrNameLst>
                                          <p:attrName>style.visibility</p:attrName>
                                        </p:attrNameLst>
                                      </p:cBhvr>
                                      <p:to>
                                        <p:strVal val="visible"/>
                                      </p:to>
                                    </p:set>
                                    <p:anim calcmode="lin" valueType="num">
                                      <p:cBhvr additive="base">
                                        <p:cTn id="27" dur="500" fill="hold"/>
                                        <p:tgtEl>
                                          <p:spTgt spid="185"/>
                                        </p:tgtEl>
                                        <p:attrNameLst>
                                          <p:attrName>ppt_x</p:attrName>
                                        </p:attrNameLst>
                                      </p:cBhvr>
                                      <p:tavLst>
                                        <p:tav tm="0">
                                          <p:val>
                                            <p:strVal val="#ppt_x"/>
                                          </p:val>
                                        </p:tav>
                                        <p:tav tm="100000">
                                          <p:val>
                                            <p:strVal val="#ppt_x"/>
                                          </p:val>
                                        </p:tav>
                                      </p:tavLst>
                                    </p:anim>
                                    <p:anim calcmode="lin" valueType="num">
                                      <p:cBhvr additive="base">
                                        <p:cTn id="28" dur="500" fill="hold"/>
                                        <p:tgtEl>
                                          <p:spTgt spid="185"/>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0"/>
                                  </p:stCondLst>
                                  <p:childTnLst>
                                    <p:set>
                                      <p:cBhvr>
                                        <p:cTn id="30" dur="1" fill="hold">
                                          <p:stCondLst>
                                            <p:cond delay="0"/>
                                          </p:stCondLst>
                                        </p:cTn>
                                        <p:tgtEl>
                                          <p:spTgt spid="186"/>
                                        </p:tgtEl>
                                        <p:attrNameLst>
                                          <p:attrName>style.visibility</p:attrName>
                                        </p:attrNameLst>
                                      </p:cBhvr>
                                      <p:to>
                                        <p:strVal val="visible"/>
                                      </p:to>
                                    </p:set>
                                    <p:anim calcmode="lin" valueType="num">
                                      <p:cBhvr additive="base">
                                        <p:cTn id="31" dur="500" fill="hold"/>
                                        <p:tgtEl>
                                          <p:spTgt spid="186"/>
                                        </p:tgtEl>
                                        <p:attrNameLst>
                                          <p:attrName>ppt_x</p:attrName>
                                        </p:attrNameLst>
                                      </p:cBhvr>
                                      <p:tavLst>
                                        <p:tav tm="0">
                                          <p:val>
                                            <p:strVal val="#ppt_x"/>
                                          </p:val>
                                        </p:tav>
                                        <p:tav tm="100000">
                                          <p:val>
                                            <p:strVal val="#ppt_x"/>
                                          </p:val>
                                        </p:tav>
                                      </p:tavLst>
                                    </p:anim>
                                    <p:anim calcmode="lin" valueType="num">
                                      <p:cBhvr additive="base">
                                        <p:cTn id="32" dur="500" fill="hold"/>
                                        <p:tgtEl>
                                          <p:spTgt spid="186"/>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0"/>
                                  </p:stCondLst>
                                  <p:childTnLst>
                                    <p:set>
                                      <p:cBhvr>
                                        <p:cTn id="34" dur="1" fill="hold">
                                          <p:stCondLst>
                                            <p:cond delay="0"/>
                                          </p:stCondLst>
                                        </p:cTn>
                                        <p:tgtEl>
                                          <p:spTgt spid="187"/>
                                        </p:tgtEl>
                                        <p:attrNameLst>
                                          <p:attrName>style.visibility</p:attrName>
                                        </p:attrNameLst>
                                      </p:cBhvr>
                                      <p:to>
                                        <p:strVal val="visible"/>
                                      </p:to>
                                    </p:set>
                                    <p:anim calcmode="lin" valueType="num">
                                      <p:cBhvr additive="base">
                                        <p:cTn id="35" dur="500" fill="hold"/>
                                        <p:tgtEl>
                                          <p:spTgt spid="187"/>
                                        </p:tgtEl>
                                        <p:attrNameLst>
                                          <p:attrName>ppt_x</p:attrName>
                                        </p:attrNameLst>
                                      </p:cBhvr>
                                      <p:tavLst>
                                        <p:tav tm="0">
                                          <p:val>
                                            <p:strVal val="#ppt_x"/>
                                          </p:val>
                                        </p:tav>
                                        <p:tav tm="100000">
                                          <p:val>
                                            <p:strVal val="#ppt_x"/>
                                          </p:val>
                                        </p:tav>
                                      </p:tavLst>
                                    </p:anim>
                                    <p:anim calcmode="lin" valueType="num">
                                      <p:cBhvr additive="base">
                                        <p:cTn id="36" dur="500" fill="hold"/>
                                        <p:tgtEl>
                                          <p:spTgt spid="187"/>
                                        </p:tgtEl>
                                        <p:attrNameLst>
                                          <p:attrName>ppt_y</p:attrName>
                                        </p:attrNameLst>
                                      </p:cBhvr>
                                      <p:tavLst>
                                        <p:tav tm="0">
                                          <p:val>
                                            <p:strVal val="1+#ppt_h/2"/>
                                          </p:val>
                                        </p:tav>
                                        <p:tav tm="100000">
                                          <p:val>
                                            <p:strVal val="#ppt_y"/>
                                          </p:val>
                                        </p:tav>
                                      </p:tavLst>
                                    </p:anim>
                                  </p:childTnLst>
                                </p:cTn>
                              </p:par>
                            </p:childTnLst>
                          </p:cTn>
                        </p:par>
                        <p:par>
                          <p:cTn id="37" fill="hold">
                            <p:stCondLst>
                              <p:cond delay="1000"/>
                            </p:stCondLst>
                            <p:childTnLst>
                              <p:par>
                                <p:cTn id="38" presetID="22" presetClass="entr" presetSubtype="8" fill="hold" grpId="0" nodeType="afterEffect">
                                  <p:stCondLst>
                                    <p:cond delay="0"/>
                                  </p:stCondLst>
                                  <p:childTnLst>
                                    <p:set>
                                      <p:cBhvr>
                                        <p:cTn id="39" dur="1" fill="hold">
                                          <p:stCondLst>
                                            <p:cond delay="0"/>
                                          </p:stCondLst>
                                        </p:cTn>
                                        <p:tgtEl>
                                          <p:spTgt spid="167"/>
                                        </p:tgtEl>
                                        <p:attrNameLst>
                                          <p:attrName>style.visibility</p:attrName>
                                        </p:attrNameLst>
                                      </p:cBhvr>
                                      <p:to>
                                        <p:strVal val="visible"/>
                                      </p:to>
                                    </p:set>
                                    <p:animEffect transition="in" filter="wipe(left)">
                                      <p:cBhvr>
                                        <p:cTn id="40" dur="500"/>
                                        <p:tgtEl>
                                          <p:spTgt spid="167"/>
                                        </p:tgtEl>
                                      </p:cBhvr>
                                    </p:animEffect>
                                  </p:childTnLst>
                                </p:cTn>
                              </p:par>
                              <p:par>
                                <p:cTn id="41" presetID="22" presetClass="entr" presetSubtype="8" fill="hold" grpId="0" nodeType="withEffect">
                                  <p:stCondLst>
                                    <p:cond delay="100"/>
                                  </p:stCondLst>
                                  <p:childTnLst>
                                    <p:set>
                                      <p:cBhvr>
                                        <p:cTn id="42" dur="1" fill="hold">
                                          <p:stCondLst>
                                            <p:cond delay="0"/>
                                          </p:stCondLst>
                                        </p:cTn>
                                        <p:tgtEl>
                                          <p:spTgt spid="168"/>
                                        </p:tgtEl>
                                        <p:attrNameLst>
                                          <p:attrName>style.visibility</p:attrName>
                                        </p:attrNameLst>
                                      </p:cBhvr>
                                      <p:to>
                                        <p:strVal val="visible"/>
                                      </p:to>
                                    </p:set>
                                    <p:animEffect transition="in" filter="wipe(left)">
                                      <p:cBhvr>
                                        <p:cTn id="43" dur="500"/>
                                        <p:tgtEl>
                                          <p:spTgt spid="168"/>
                                        </p:tgtEl>
                                      </p:cBhvr>
                                    </p:animEffect>
                                  </p:childTnLst>
                                </p:cTn>
                              </p:par>
                              <p:par>
                                <p:cTn id="44" presetID="22" presetClass="entr" presetSubtype="8" fill="hold" grpId="0" nodeType="withEffect">
                                  <p:stCondLst>
                                    <p:cond delay="200"/>
                                  </p:stCondLst>
                                  <p:childTnLst>
                                    <p:set>
                                      <p:cBhvr>
                                        <p:cTn id="45" dur="1" fill="hold">
                                          <p:stCondLst>
                                            <p:cond delay="0"/>
                                          </p:stCondLst>
                                        </p:cTn>
                                        <p:tgtEl>
                                          <p:spTgt spid="169"/>
                                        </p:tgtEl>
                                        <p:attrNameLst>
                                          <p:attrName>style.visibility</p:attrName>
                                        </p:attrNameLst>
                                      </p:cBhvr>
                                      <p:to>
                                        <p:strVal val="visible"/>
                                      </p:to>
                                    </p:set>
                                    <p:animEffect transition="in" filter="wipe(left)">
                                      <p:cBhvr>
                                        <p:cTn id="46" dur="500"/>
                                        <p:tgtEl>
                                          <p:spTgt spid="169"/>
                                        </p:tgtEl>
                                      </p:cBhvr>
                                    </p:animEffect>
                                  </p:childTnLst>
                                </p:cTn>
                              </p:par>
                              <p:par>
                                <p:cTn id="47" presetID="22" presetClass="entr" presetSubtype="8" fill="hold" grpId="0" nodeType="withEffect">
                                  <p:stCondLst>
                                    <p:cond delay="300"/>
                                  </p:stCondLst>
                                  <p:childTnLst>
                                    <p:set>
                                      <p:cBhvr>
                                        <p:cTn id="48" dur="1" fill="hold">
                                          <p:stCondLst>
                                            <p:cond delay="0"/>
                                          </p:stCondLst>
                                        </p:cTn>
                                        <p:tgtEl>
                                          <p:spTgt spid="170"/>
                                        </p:tgtEl>
                                        <p:attrNameLst>
                                          <p:attrName>style.visibility</p:attrName>
                                        </p:attrNameLst>
                                      </p:cBhvr>
                                      <p:to>
                                        <p:strVal val="visible"/>
                                      </p:to>
                                    </p:set>
                                    <p:animEffect transition="in" filter="wipe(left)">
                                      <p:cBhvr>
                                        <p:cTn id="49" dur="500"/>
                                        <p:tgtEl>
                                          <p:spTgt spid="170"/>
                                        </p:tgtEl>
                                      </p:cBhvr>
                                    </p:animEffect>
                                  </p:childTnLst>
                                </p:cTn>
                              </p:par>
                              <p:par>
                                <p:cTn id="50" presetID="22" presetClass="entr" presetSubtype="8" fill="hold" grpId="0" nodeType="withEffect">
                                  <p:stCondLst>
                                    <p:cond delay="400"/>
                                  </p:stCondLst>
                                  <p:childTnLst>
                                    <p:set>
                                      <p:cBhvr>
                                        <p:cTn id="51" dur="1" fill="hold">
                                          <p:stCondLst>
                                            <p:cond delay="0"/>
                                          </p:stCondLst>
                                        </p:cTn>
                                        <p:tgtEl>
                                          <p:spTgt spid="171"/>
                                        </p:tgtEl>
                                        <p:attrNameLst>
                                          <p:attrName>style.visibility</p:attrName>
                                        </p:attrNameLst>
                                      </p:cBhvr>
                                      <p:to>
                                        <p:strVal val="visible"/>
                                      </p:to>
                                    </p:set>
                                    <p:animEffect transition="in" filter="wipe(left)">
                                      <p:cBhvr>
                                        <p:cTn id="52" dur="500"/>
                                        <p:tgtEl>
                                          <p:spTgt spid="171"/>
                                        </p:tgtEl>
                                      </p:cBhvr>
                                    </p:animEffect>
                                  </p:childTnLst>
                                </p:cTn>
                              </p:par>
                              <p:par>
                                <p:cTn id="53" presetID="22" presetClass="entr" presetSubtype="8" fill="hold" grpId="0" nodeType="withEffect">
                                  <p:stCondLst>
                                    <p:cond delay="500"/>
                                  </p:stCondLst>
                                  <p:childTnLst>
                                    <p:set>
                                      <p:cBhvr>
                                        <p:cTn id="54" dur="1" fill="hold">
                                          <p:stCondLst>
                                            <p:cond delay="0"/>
                                          </p:stCondLst>
                                        </p:cTn>
                                        <p:tgtEl>
                                          <p:spTgt spid="172"/>
                                        </p:tgtEl>
                                        <p:attrNameLst>
                                          <p:attrName>style.visibility</p:attrName>
                                        </p:attrNameLst>
                                      </p:cBhvr>
                                      <p:to>
                                        <p:strVal val="visible"/>
                                      </p:to>
                                    </p:set>
                                    <p:animEffect transition="in" filter="wipe(left)">
                                      <p:cBhvr>
                                        <p:cTn id="55" dur="500"/>
                                        <p:tgtEl>
                                          <p:spTgt spid="172"/>
                                        </p:tgtEl>
                                      </p:cBhvr>
                                    </p:animEffect>
                                  </p:childTnLst>
                                </p:cTn>
                              </p:par>
                              <p:par>
                                <p:cTn id="56" presetID="22" presetClass="entr" presetSubtype="8" fill="hold" grpId="0" nodeType="withEffect">
                                  <p:stCondLst>
                                    <p:cond delay="600"/>
                                  </p:stCondLst>
                                  <p:childTnLst>
                                    <p:set>
                                      <p:cBhvr>
                                        <p:cTn id="57" dur="1" fill="hold">
                                          <p:stCondLst>
                                            <p:cond delay="0"/>
                                          </p:stCondLst>
                                        </p:cTn>
                                        <p:tgtEl>
                                          <p:spTgt spid="173"/>
                                        </p:tgtEl>
                                        <p:attrNameLst>
                                          <p:attrName>style.visibility</p:attrName>
                                        </p:attrNameLst>
                                      </p:cBhvr>
                                      <p:to>
                                        <p:strVal val="visible"/>
                                      </p:to>
                                    </p:set>
                                    <p:animEffect transition="in" filter="wipe(left)">
                                      <p:cBhvr>
                                        <p:cTn id="58" dur="500"/>
                                        <p:tgtEl>
                                          <p:spTgt spid="173"/>
                                        </p:tgtEl>
                                      </p:cBhvr>
                                    </p:animEffect>
                                  </p:childTnLst>
                                </p:cTn>
                              </p:par>
                              <p:par>
                                <p:cTn id="59" presetID="22" presetClass="entr" presetSubtype="2" fill="hold" grpId="0" nodeType="withEffect">
                                  <p:stCondLst>
                                    <p:cond delay="0"/>
                                  </p:stCondLst>
                                  <p:childTnLst>
                                    <p:set>
                                      <p:cBhvr>
                                        <p:cTn id="60" dur="1" fill="hold">
                                          <p:stCondLst>
                                            <p:cond delay="0"/>
                                          </p:stCondLst>
                                        </p:cTn>
                                        <p:tgtEl>
                                          <p:spTgt spid="153"/>
                                        </p:tgtEl>
                                        <p:attrNameLst>
                                          <p:attrName>style.visibility</p:attrName>
                                        </p:attrNameLst>
                                      </p:cBhvr>
                                      <p:to>
                                        <p:strVal val="visible"/>
                                      </p:to>
                                    </p:set>
                                    <p:animEffect transition="in" filter="wipe(right)">
                                      <p:cBhvr>
                                        <p:cTn id="61" dur="500"/>
                                        <p:tgtEl>
                                          <p:spTgt spid="153"/>
                                        </p:tgtEl>
                                      </p:cBhvr>
                                    </p:animEffect>
                                  </p:childTnLst>
                                </p:cTn>
                              </p:par>
                              <p:par>
                                <p:cTn id="62" presetID="22" presetClass="entr" presetSubtype="2" fill="hold" grpId="0" nodeType="withEffect">
                                  <p:stCondLst>
                                    <p:cond delay="100"/>
                                  </p:stCondLst>
                                  <p:childTnLst>
                                    <p:set>
                                      <p:cBhvr>
                                        <p:cTn id="63" dur="1" fill="hold">
                                          <p:stCondLst>
                                            <p:cond delay="0"/>
                                          </p:stCondLst>
                                        </p:cTn>
                                        <p:tgtEl>
                                          <p:spTgt spid="154"/>
                                        </p:tgtEl>
                                        <p:attrNameLst>
                                          <p:attrName>style.visibility</p:attrName>
                                        </p:attrNameLst>
                                      </p:cBhvr>
                                      <p:to>
                                        <p:strVal val="visible"/>
                                      </p:to>
                                    </p:set>
                                    <p:animEffect transition="in" filter="wipe(right)">
                                      <p:cBhvr>
                                        <p:cTn id="64" dur="500"/>
                                        <p:tgtEl>
                                          <p:spTgt spid="154"/>
                                        </p:tgtEl>
                                      </p:cBhvr>
                                    </p:animEffect>
                                  </p:childTnLst>
                                </p:cTn>
                              </p:par>
                              <p:par>
                                <p:cTn id="65" presetID="22" presetClass="entr" presetSubtype="2" fill="hold" grpId="0" nodeType="withEffect">
                                  <p:stCondLst>
                                    <p:cond delay="200"/>
                                  </p:stCondLst>
                                  <p:childTnLst>
                                    <p:set>
                                      <p:cBhvr>
                                        <p:cTn id="66" dur="1" fill="hold">
                                          <p:stCondLst>
                                            <p:cond delay="0"/>
                                          </p:stCondLst>
                                        </p:cTn>
                                        <p:tgtEl>
                                          <p:spTgt spid="155"/>
                                        </p:tgtEl>
                                        <p:attrNameLst>
                                          <p:attrName>style.visibility</p:attrName>
                                        </p:attrNameLst>
                                      </p:cBhvr>
                                      <p:to>
                                        <p:strVal val="visible"/>
                                      </p:to>
                                    </p:set>
                                    <p:animEffect transition="in" filter="wipe(right)">
                                      <p:cBhvr>
                                        <p:cTn id="67" dur="500"/>
                                        <p:tgtEl>
                                          <p:spTgt spid="155"/>
                                        </p:tgtEl>
                                      </p:cBhvr>
                                    </p:animEffect>
                                  </p:childTnLst>
                                </p:cTn>
                              </p:par>
                              <p:par>
                                <p:cTn id="68" presetID="22" presetClass="entr" presetSubtype="2" fill="hold" grpId="0" nodeType="withEffect">
                                  <p:stCondLst>
                                    <p:cond delay="300"/>
                                  </p:stCondLst>
                                  <p:childTnLst>
                                    <p:set>
                                      <p:cBhvr>
                                        <p:cTn id="69" dur="1" fill="hold">
                                          <p:stCondLst>
                                            <p:cond delay="0"/>
                                          </p:stCondLst>
                                        </p:cTn>
                                        <p:tgtEl>
                                          <p:spTgt spid="156"/>
                                        </p:tgtEl>
                                        <p:attrNameLst>
                                          <p:attrName>style.visibility</p:attrName>
                                        </p:attrNameLst>
                                      </p:cBhvr>
                                      <p:to>
                                        <p:strVal val="visible"/>
                                      </p:to>
                                    </p:set>
                                    <p:animEffect transition="in" filter="wipe(right)">
                                      <p:cBhvr>
                                        <p:cTn id="70" dur="500"/>
                                        <p:tgtEl>
                                          <p:spTgt spid="156"/>
                                        </p:tgtEl>
                                      </p:cBhvr>
                                    </p:animEffect>
                                  </p:childTnLst>
                                </p:cTn>
                              </p:par>
                              <p:par>
                                <p:cTn id="71" presetID="22" presetClass="entr" presetSubtype="2" fill="hold" grpId="0" nodeType="withEffect">
                                  <p:stCondLst>
                                    <p:cond delay="400"/>
                                  </p:stCondLst>
                                  <p:childTnLst>
                                    <p:set>
                                      <p:cBhvr>
                                        <p:cTn id="72" dur="1" fill="hold">
                                          <p:stCondLst>
                                            <p:cond delay="0"/>
                                          </p:stCondLst>
                                        </p:cTn>
                                        <p:tgtEl>
                                          <p:spTgt spid="157"/>
                                        </p:tgtEl>
                                        <p:attrNameLst>
                                          <p:attrName>style.visibility</p:attrName>
                                        </p:attrNameLst>
                                      </p:cBhvr>
                                      <p:to>
                                        <p:strVal val="visible"/>
                                      </p:to>
                                    </p:set>
                                    <p:animEffect transition="in" filter="wipe(right)">
                                      <p:cBhvr>
                                        <p:cTn id="73" dur="500"/>
                                        <p:tgtEl>
                                          <p:spTgt spid="157"/>
                                        </p:tgtEl>
                                      </p:cBhvr>
                                    </p:animEffect>
                                  </p:childTnLst>
                                </p:cTn>
                              </p:par>
                              <p:par>
                                <p:cTn id="74" presetID="22" presetClass="entr" presetSubtype="2" fill="hold" grpId="0" nodeType="withEffect">
                                  <p:stCondLst>
                                    <p:cond delay="500"/>
                                  </p:stCondLst>
                                  <p:childTnLst>
                                    <p:set>
                                      <p:cBhvr>
                                        <p:cTn id="75" dur="1" fill="hold">
                                          <p:stCondLst>
                                            <p:cond delay="0"/>
                                          </p:stCondLst>
                                        </p:cTn>
                                        <p:tgtEl>
                                          <p:spTgt spid="158"/>
                                        </p:tgtEl>
                                        <p:attrNameLst>
                                          <p:attrName>style.visibility</p:attrName>
                                        </p:attrNameLst>
                                      </p:cBhvr>
                                      <p:to>
                                        <p:strVal val="visible"/>
                                      </p:to>
                                    </p:set>
                                    <p:animEffect transition="in" filter="wipe(right)">
                                      <p:cBhvr>
                                        <p:cTn id="76" dur="500"/>
                                        <p:tgtEl>
                                          <p:spTgt spid="158"/>
                                        </p:tgtEl>
                                      </p:cBhvr>
                                    </p:animEffect>
                                  </p:childTnLst>
                                </p:cTn>
                              </p:par>
                              <p:par>
                                <p:cTn id="77" presetID="22" presetClass="entr" presetSubtype="2" fill="hold" grpId="0" nodeType="withEffect">
                                  <p:stCondLst>
                                    <p:cond delay="600"/>
                                  </p:stCondLst>
                                  <p:childTnLst>
                                    <p:set>
                                      <p:cBhvr>
                                        <p:cTn id="78" dur="1" fill="hold">
                                          <p:stCondLst>
                                            <p:cond delay="0"/>
                                          </p:stCondLst>
                                        </p:cTn>
                                        <p:tgtEl>
                                          <p:spTgt spid="159"/>
                                        </p:tgtEl>
                                        <p:attrNameLst>
                                          <p:attrName>style.visibility</p:attrName>
                                        </p:attrNameLst>
                                      </p:cBhvr>
                                      <p:to>
                                        <p:strVal val="visible"/>
                                      </p:to>
                                    </p:set>
                                    <p:animEffect transition="in" filter="wipe(right)">
                                      <p:cBhvr>
                                        <p:cTn id="79" dur="500"/>
                                        <p:tgtEl>
                                          <p:spTgt spid="159"/>
                                        </p:tgtEl>
                                      </p:cBhvr>
                                    </p:animEffect>
                                  </p:childTnLst>
                                </p:cTn>
                              </p:par>
                            </p:childTnLst>
                          </p:cTn>
                        </p:par>
                        <p:par>
                          <p:cTn id="80" fill="hold">
                            <p:stCondLst>
                              <p:cond delay="1500"/>
                            </p:stCondLst>
                            <p:childTnLst>
                              <p:par>
                                <p:cTn id="81" presetID="22" presetClass="entr" presetSubtype="8" fill="hold" grpId="0" nodeType="afterEffect">
                                  <p:stCondLst>
                                    <p:cond delay="0"/>
                                  </p:stCondLst>
                                  <p:childTnLst>
                                    <p:set>
                                      <p:cBhvr>
                                        <p:cTn id="82" dur="1" fill="hold">
                                          <p:stCondLst>
                                            <p:cond delay="0"/>
                                          </p:stCondLst>
                                        </p:cTn>
                                        <p:tgtEl>
                                          <p:spTgt spid="174"/>
                                        </p:tgtEl>
                                        <p:attrNameLst>
                                          <p:attrName>style.visibility</p:attrName>
                                        </p:attrNameLst>
                                      </p:cBhvr>
                                      <p:to>
                                        <p:strVal val="visible"/>
                                      </p:to>
                                    </p:set>
                                    <p:animEffect transition="in" filter="wipe(left)">
                                      <p:cBhvr>
                                        <p:cTn id="83" dur="500"/>
                                        <p:tgtEl>
                                          <p:spTgt spid="174"/>
                                        </p:tgtEl>
                                      </p:cBhvr>
                                    </p:animEffect>
                                  </p:childTnLst>
                                </p:cTn>
                              </p:par>
                              <p:par>
                                <p:cTn id="84" presetID="22" presetClass="entr" presetSubtype="8" fill="hold" grpId="0" nodeType="withEffect">
                                  <p:stCondLst>
                                    <p:cond delay="0"/>
                                  </p:stCondLst>
                                  <p:childTnLst>
                                    <p:set>
                                      <p:cBhvr>
                                        <p:cTn id="85" dur="1" fill="hold">
                                          <p:stCondLst>
                                            <p:cond delay="0"/>
                                          </p:stCondLst>
                                        </p:cTn>
                                        <p:tgtEl>
                                          <p:spTgt spid="175"/>
                                        </p:tgtEl>
                                        <p:attrNameLst>
                                          <p:attrName>style.visibility</p:attrName>
                                        </p:attrNameLst>
                                      </p:cBhvr>
                                      <p:to>
                                        <p:strVal val="visible"/>
                                      </p:to>
                                    </p:set>
                                    <p:animEffect transition="in" filter="wipe(left)">
                                      <p:cBhvr>
                                        <p:cTn id="86" dur="500"/>
                                        <p:tgtEl>
                                          <p:spTgt spid="175"/>
                                        </p:tgtEl>
                                      </p:cBhvr>
                                    </p:animEffect>
                                  </p:childTnLst>
                                </p:cTn>
                              </p:par>
                              <p:par>
                                <p:cTn id="87" presetID="22" presetClass="entr" presetSubtype="8" fill="hold" grpId="0" nodeType="withEffect">
                                  <p:stCondLst>
                                    <p:cond delay="0"/>
                                  </p:stCondLst>
                                  <p:childTnLst>
                                    <p:set>
                                      <p:cBhvr>
                                        <p:cTn id="88" dur="1" fill="hold">
                                          <p:stCondLst>
                                            <p:cond delay="0"/>
                                          </p:stCondLst>
                                        </p:cTn>
                                        <p:tgtEl>
                                          <p:spTgt spid="176"/>
                                        </p:tgtEl>
                                        <p:attrNameLst>
                                          <p:attrName>style.visibility</p:attrName>
                                        </p:attrNameLst>
                                      </p:cBhvr>
                                      <p:to>
                                        <p:strVal val="visible"/>
                                      </p:to>
                                    </p:set>
                                    <p:animEffect transition="in" filter="wipe(left)">
                                      <p:cBhvr>
                                        <p:cTn id="89" dur="500"/>
                                        <p:tgtEl>
                                          <p:spTgt spid="176"/>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177"/>
                                        </p:tgtEl>
                                        <p:attrNameLst>
                                          <p:attrName>style.visibility</p:attrName>
                                        </p:attrNameLst>
                                      </p:cBhvr>
                                      <p:to>
                                        <p:strVal val="visible"/>
                                      </p:to>
                                    </p:set>
                                    <p:animEffect transition="in" filter="wipe(left)">
                                      <p:cBhvr>
                                        <p:cTn id="92" dur="500"/>
                                        <p:tgtEl>
                                          <p:spTgt spid="177"/>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178"/>
                                        </p:tgtEl>
                                        <p:attrNameLst>
                                          <p:attrName>style.visibility</p:attrName>
                                        </p:attrNameLst>
                                      </p:cBhvr>
                                      <p:to>
                                        <p:strVal val="visible"/>
                                      </p:to>
                                    </p:set>
                                    <p:animEffect transition="in" filter="wipe(left)">
                                      <p:cBhvr>
                                        <p:cTn id="95" dur="500"/>
                                        <p:tgtEl>
                                          <p:spTgt spid="178"/>
                                        </p:tgtEl>
                                      </p:cBhvr>
                                    </p:animEffect>
                                  </p:childTnLst>
                                </p:cTn>
                              </p:par>
                              <p:par>
                                <p:cTn id="96" presetID="22" presetClass="entr" presetSubtype="8" fill="hold" grpId="0" nodeType="withEffect">
                                  <p:stCondLst>
                                    <p:cond delay="0"/>
                                  </p:stCondLst>
                                  <p:childTnLst>
                                    <p:set>
                                      <p:cBhvr>
                                        <p:cTn id="97" dur="1" fill="hold">
                                          <p:stCondLst>
                                            <p:cond delay="0"/>
                                          </p:stCondLst>
                                        </p:cTn>
                                        <p:tgtEl>
                                          <p:spTgt spid="179"/>
                                        </p:tgtEl>
                                        <p:attrNameLst>
                                          <p:attrName>style.visibility</p:attrName>
                                        </p:attrNameLst>
                                      </p:cBhvr>
                                      <p:to>
                                        <p:strVal val="visible"/>
                                      </p:to>
                                    </p:set>
                                    <p:animEffect transition="in" filter="wipe(left)">
                                      <p:cBhvr>
                                        <p:cTn id="98" dur="500"/>
                                        <p:tgtEl>
                                          <p:spTgt spid="179"/>
                                        </p:tgtEl>
                                      </p:cBhvr>
                                    </p:animEffect>
                                  </p:childTnLst>
                                </p:cTn>
                              </p:par>
                              <p:par>
                                <p:cTn id="99" presetID="22" presetClass="entr" presetSubtype="8" fill="hold" grpId="0" nodeType="withEffect">
                                  <p:stCondLst>
                                    <p:cond delay="0"/>
                                  </p:stCondLst>
                                  <p:childTnLst>
                                    <p:set>
                                      <p:cBhvr>
                                        <p:cTn id="100" dur="1" fill="hold">
                                          <p:stCondLst>
                                            <p:cond delay="0"/>
                                          </p:stCondLst>
                                        </p:cTn>
                                        <p:tgtEl>
                                          <p:spTgt spid="180"/>
                                        </p:tgtEl>
                                        <p:attrNameLst>
                                          <p:attrName>style.visibility</p:attrName>
                                        </p:attrNameLst>
                                      </p:cBhvr>
                                      <p:to>
                                        <p:strVal val="visible"/>
                                      </p:to>
                                    </p:set>
                                    <p:animEffect transition="in" filter="wipe(left)">
                                      <p:cBhvr>
                                        <p:cTn id="101" dur="500"/>
                                        <p:tgtEl>
                                          <p:spTgt spid="180"/>
                                        </p:tgtEl>
                                      </p:cBhvr>
                                    </p:animEffect>
                                  </p:childTnLst>
                                </p:cTn>
                              </p:par>
                              <p:par>
                                <p:cTn id="102" presetID="22" presetClass="entr" presetSubtype="2" fill="hold" grpId="0" nodeType="withEffect">
                                  <p:stCondLst>
                                    <p:cond delay="0"/>
                                  </p:stCondLst>
                                  <p:childTnLst>
                                    <p:set>
                                      <p:cBhvr>
                                        <p:cTn id="103" dur="1" fill="hold">
                                          <p:stCondLst>
                                            <p:cond delay="0"/>
                                          </p:stCondLst>
                                        </p:cTn>
                                        <p:tgtEl>
                                          <p:spTgt spid="160"/>
                                        </p:tgtEl>
                                        <p:attrNameLst>
                                          <p:attrName>style.visibility</p:attrName>
                                        </p:attrNameLst>
                                      </p:cBhvr>
                                      <p:to>
                                        <p:strVal val="visible"/>
                                      </p:to>
                                    </p:set>
                                    <p:animEffect transition="in" filter="wipe(right)">
                                      <p:cBhvr>
                                        <p:cTn id="104" dur="500"/>
                                        <p:tgtEl>
                                          <p:spTgt spid="160"/>
                                        </p:tgtEl>
                                      </p:cBhvr>
                                    </p:animEffect>
                                  </p:childTnLst>
                                </p:cTn>
                              </p:par>
                              <p:par>
                                <p:cTn id="105" presetID="22" presetClass="entr" presetSubtype="2" fill="hold" grpId="0" nodeType="withEffect">
                                  <p:stCondLst>
                                    <p:cond delay="0"/>
                                  </p:stCondLst>
                                  <p:childTnLst>
                                    <p:set>
                                      <p:cBhvr>
                                        <p:cTn id="106" dur="1" fill="hold">
                                          <p:stCondLst>
                                            <p:cond delay="0"/>
                                          </p:stCondLst>
                                        </p:cTn>
                                        <p:tgtEl>
                                          <p:spTgt spid="161"/>
                                        </p:tgtEl>
                                        <p:attrNameLst>
                                          <p:attrName>style.visibility</p:attrName>
                                        </p:attrNameLst>
                                      </p:cBhvr>
                                      <p:to>
                                        <p:strVal val="visible"/>
                                      </p:to>
                                    </p:set>
                                    <p:animEffect transition="in" filter="wipe(right)">
                                      <p:cBhvr>
                                        <p:cTn id="107" dur="500"/>
                                        <p:tgtEl>
                                          <p:spTgt spid="161"/>
                                        </p:tgtEl>
                                      </p:cBhvr>
                                    </p:animEffect>
                                  </p:childTnLst>
                                </p:cTn>
                              </p:par>
                              <p:par>
                                <p:cTn id="108" presetID="22" presetClass="entr" presetSubtype="2" fill="hold" grpId="0" nodeType="withEffect">
                                  <p:stCondLst>
                                    <p:cond delay="0"/>
                                  </p:stCondLst>
                                  <p:childTnLst>
                                    <p:set>
                                      <p:cBhvr>
                                        <p:cTn id="109" dur="1" fill="hold">
                                          <p:stCondLst>
                                            <p:cond delay="0"/>
                                          </p:stCondLst>
                                        </p:cTn>
                                        <p:tgtEl>
                                          <p:spTgt spid="162"/>
                                        </p:tgtEl>
                                        <p:attrNameLst>
                                          <p:attrName>style.visibility</p:attrName>
                                        </p:attrNameLst>
                                      </p:cBhvr>
                                      <p:to>
                                        <p:strVal val="visible"/>
                                      </p:to>
                                    </p:set>
                                    <p:animEffect transition="in" filter="wipe(right)">
                                      <p:cBhvr>
                                        <p:cTn id="110" dur="500"/>
                                        <p:tgtEl>
                                          <p:spTgt spid="162"/>
                                        </p:tgtEl>
                                      </p:cBhvr>
                                    </p:animEffect>
                                  </p:childTnLst>
                                </p:cTn>
                              </p:par>
                              <p:par>
                                <p:cTn id="111" presetID="22" presetClass="entr" presetSubtype="2" fill="hold" grpId="0" nodeType="withEffect">
                                  <p:stCondLst>
                                    <p:cond delay="0"/>
                                  </p:stCondLst>
                                  <p:childTnLst>
                                    <p:set>
                                      <p:cBhvr>
                                        <p:cTn id="112" dur="1" fill="hold">
                                          <p:stCondLst>
                                            <p:cond delay="0"/>
                                          </p:stCondLst>
                                        </p:cTn>
                                        <p:tgtEl>
                                          <p:spTgt spid="163"/>
                                        </p:tgtEl>
                                        <p:attrNameLst>
                                          <p:attrName>style.visibility</p:attrName>
                                        </p:attrNameLst>
                                      </p:cBhvr>
                                      <p:to>
                                        <p:strVal val="visible"/>
                                      </p:to>
                                    </p:set>
                                    <p:animEffect transition="in" filter="wipe(right)">
                                      <p:cBhvr>
                                        <p:cTn id="113" dur="500"/>
                                        <p:tgtEl>
                                          <p:spTgt spid="163"/>
                                        </p:tgtEl>
                                      </p:cBhvr>
                                    </p:animEffect>
                                  </p:childTnLst>
                                </p:cTn>
                              </p:par>
                              <p:par>
                                <p:cTn id="114" presetID="22" presetClass="entr" presetSubtype="2" fill="hold" grpId="0" nodeType="withEffect">
                                  <p:stCondLst>
                                    <p:cond delay="0"/>
                                  </p:stCondLst>
                                  <p:childTnLst>
                                    <p:set>
                                      <p:cBhvr>
                                        <p:cTn id="115" dur="1" fill="hold">
                                          <p:stCondLst>
                                            <p:cond delay="0"/>
                                          </p:stCondLst>
                                        </p:cTn>
                                        <p:tgtEl>
                                          <p:spTgt spid="164"/>
                                        </p:tgtEl>
                                        <p:attrNameLst>
                                          <p:attrName>style.visibility</p:attrName>
                                        </p:attrNameLst>
                                      </p:cBhvr>
                                      <p:to>
                                        <p:strVal val="visible"/>
                                      </p:to>
                                    </p:set>
                                    <p:animEffect transition="in" filter="wipe(right)">
                                      <p:cBhvr>
                                        <p:cTn id="116" dur="500"/>
                                        <p:tgtEl>
                                          <p:spTgt spid="164"/>
                                        </p:tgtEl>
                                      </p:cBhvr>
                                    </p:animEffect>
                                  </p:childTnLst>
                                </p:cTn>
                              </p:par>
                              <p:par>
                                <p:cTn id="117" presetID="22" presetClass="entr" presetSubtype="2" fill="hold" grpId="0" nodeType="withEffect">
                                  <p:stCondLst>
                                    <p:cond delay="0"/>
                                  </p:stCondLst>
                                  <p:childTnLst>
                                    <p:set>
                                      <p:cBhvr>
                                        <p:cTn id="118" dur="1" fill="hold">
                                          <p:stCondLst>
                                            <p:cond delay="0"/>
                                          </p:stCondLst>
                                        </p:cTn>
                                        <p:tgtEl>
                                          <p:spTgt spid="165"/>
                                        </p:tgtEl>
                                        <p:attrNameLst>
                                          <p:attrName>style.visibility</p:attrName>
                                        </p:attrNameLst>
                                      </p:cBhvr>
                                      <p:to>
                                        <p:strVal val="visible"/>
                                      </p:to>
                                    </p:set>
                                    <p:animEffect transition="in" filter="wipe(right)">
                                      <p:cBhvr>
                                        <p:cTn id="119" dur="500"/>
                                        <p:tgtEl>
                                          <p:spTgt spid="165"/>
                                        </p:tgtEl>
                                      </p:cBhvr>
                                    </p:animEffect>
                                  </p:childTnLst>
                                </p:cTn>
                              </p:par>
                              <p:par>
                                <p:cTn id="120" presetID="22" presetClass="entr" presetSubtype="2" fill="hold" grpId="0" nodeType="withEffect">
                                  <p:stCondLst>
                                    <p:cond delay="0"/>
                                  </p:stCondLst>
                                  <p:childTnLst>
                                    <p:set>
                                      <p:cBhvr>
                                        <p:cTn id="121" dur="1" fill="hold">
                                          <p:stCondLst>
                                            <p:cond delay="0"/>
                                          </p:stCondLst>
                                        </p:cTn>
                                        <p:tgtEl>
                                          <p:spTgt spid="166"/>
                                        </p:tgtEl>
                                        <p:attrNameLst>
                                          <p:attrName>style.visibility</p:attrName>
                                        </p:attrNameLst>
                                      </p:cBhvr>
                                      <p:to>
                                        <p:strVal val="visible"/>
                                      </p:to>
                                    </p:set>
                                    <p:animEffect transition="in" filter="wipe(right)">
                                      <p:cBhvr>
                                        <p:cTn id="122" dur="500"/>
                                        <p:tgtEl>
                                          <p:spTgt spid="166"/>
                                        </p:tgtEl>
                                      </p:cBhvr>
                                    </p:animEffect>
                                  </p:childTnLst>
                                </p:cTn>
                              </p:par>
                            </p:childTnLst>
                          </p:cTn>
                        </p:par>
                        <p:par>
                          <p:cTn id="123" fill="hold">
                            <p:stCondLst>
                              <p:cond delay="2000"/>
                            </p:stCondLst>
                            <p:childTnLst>
                              <p:par>
                                <p:cTn id="124" presetID="10" presetClass="entr" presetSubtype="0" fill="hold" nodeType="afterEffect">
                                  <p:stCondLst>
                                    <p:cond delay="0"/>
                                  </p:stCondLst>
                                  <p:childTnLst>
                                    <p:set>
                                      <p:cBhvr>
                                        <p:cTn id="125" dur="1" fill="hold">
                                          <p:stCondLst>
                                            <p:cond delay="0"/>
                                          </p:stCondLst>
                                        </p:cTn>
                                        <p:tgtEl>
                                          <p:spTgt spid="2"/>
                                        </p:tgtEl>
                                        <p:attrNameLst>
                                          <p:attrName>style.visibility</p:attrName>
                                        </p:attrNameLst>
                                      </p:cBhvr>
                                      <p:to>
                                        <p:strVal val="visible"/>
                                      </p:to>
                                    </p:set>
                                    <p:animEffect transition="in" filter="fade">
                                      <p:cBhvr>
                                        <p:cTn id="126" dur="500"/>
                                        <p:tgtEl>
                                          <p:spTgt spid="2"/>
                                        </p:tgtEl>
                                      </p:cBhvr>
                                    </p:animEffect>
                                  </p:childTnLst>
                                </p:cTn>
                              </p:par>
                              <p:par>
                                <p:cTn id="127" presetID="10" presetClass="entr" presetSubtype="0" fill="hold" nodeType="withEffect">
                                  <p:stCondLst>
                                    <p:cond delay="0"/>
                                  </p:stCondLst>
                                  <p:childTnLst>
                                    <p:set>
                                      <p:cBhvr>
                                        <p:cTn id="128" dur="1" fill="hold">
                                          <p:stCondLst>
                                            <p:cond delay="0"/>
                                          </p:stCondLst>
                                        </p:cTn>
                                        <p:tgtEl>
                                          <p:spTgt spid="3"/>
                                        </p:tgtEl>
                                        <p:attrNameLst>
                                          <p:attrName>style.visibility</p:attrName>
                                        </p:attrNameLst>
                                      </p:cBhvr>
                                      <p:to>
                                        <p:strVal val="visible"/>
                                      </p:to>
                                    </p:set>
                                    <p:animEffect transition="in" filter="fade">
                                      <p:cBhvr>
                                        <p:cTn id="129" dur="500"/>
                                        <p:tgtEl>
                                          <p:spTgt spid="3"/>
                                        </p:tgtEl>
                                      </p:cBhvr>
                                    </p:animEffect>
                                  </p:childTnLst>
                                </p:cTn>
                              </p:par>
                            </p:childTnLst>
                          </p:cTn>
                        </p:par>
                        <p:par>
                          <p:cTn id="130" fill="hold">
                            <p:stCondLst>
                              <p:cond delay="2500"/>
                            </p:stCondLst>
                            <p:childTnLst>
                              <p:par>
                                <p:cTn id="131" presetID="12" presetClass="entr" presetSubtype="4" fill="hold" grpId="0" nodeType="afterEffect">
                                  <p:stCondLst>
                                    <p:cond delay="0"/>
                                  </p:stCondLst>
                                  <p:childTnLst>
                                    <p:set>
                                      <p:cBhvr>
                                        <p:cTn id="132" dur="1" fill="hold">
                                          <p:stCondLst>
                                            <p:cond delay="0"/>
                                          </p:stCondLst>
                                        </p:cTn>
                                        <p:tgtEl>
                                          <p:spTgt spid="133"/>
                                        </p:tgtEl>
                                        <p:attrNameLst>
                                          <p:attrName>style.visibility</p:attrName>
                                        </p:attrNameLst>
                                      </p:cBhvr>
                                      <p:to>
                                        <p:strVal val="visible"/>
                                      </p:to>
                                    </p:set>
                                    <p:anim calcmode="lin" valueType="num">
                                      <p:cBhvr additive="base">
                                        <p:cTn id="133" dur="500"/>
                                        <p:tgtEl>
                                          <p:spTgt spid="133"/>
                                        </p:tgtEl>
                                        <p:attrNameLst>
                                          <p:attrName>ppt_y</p:attrName>
                                        </p:attrNameLst>
                                      </p:cBhvr>
                                      <p:tavLst>
                                        <p:tav tm="0">
                                          <p:val>
                                            <p:strVal val="#ppt_y+#ppt_h*1.125000"/>
                                          </p:val>
                                        </p:tav>
                                        <p:tav tm="100000">
                                          <p:val>
                                            <p:strVal val="#ppt_y"/>
                                          </p:val>
                                        </p:tav>
                                      </p:tavLst>
                                    </p:anim>
                                    <p:animEffect transition="in" filter="wipe(up)">
                                      <p:cBhvr>
                                        <p:cTn id="134" dur="500"/>
                                        <p:tgtEl>
                                          <p:spTgt spid="133"/>
                                        </p:tgtEl>
                                      </p:cBhvr>
                                    </p:animEffect>
                                  </p:childTnLst>
                                </p:cTn>
                              </p:par>
                              <p:par>
                                <p:cTn id="135" presetID="12" presetClass="entr" presetSubtype="4" fill="hold" grpId="0" nodeType="withEffect">
                                  <p:stCondLst>
                                    <p:cond delay="100"/>
                                  </p:stCondLst>
                                  <p:childTnLst>
                                    <p:set>
                                      <p:cBhvr>
                                        <p:cTn id="136" dur="1" fill="hold">
                                          <p:stCondLst>
                                            <p:cond delay="0"/>
                                          </p:stCondLst>
                                        </p:cTn>
                                        <p:tgtEl>
                                          <p:spTgt spid="134"/>
                                        </p:tgtEl>
                                        <p:attrNameLst>
                                          <p:attrName>style.visibility</p:attrName>
                                        </p:attrNameLst>
                                      </p:cBhvr>
                                      <p:to>
                                        <p:strVal val="visible"/>
                                      </p:to>
                                    </p:set>
                                    <p:anim calcmode="lin" valueType="num">
                                      <p:cBhvr additive="base">
                                        <p:cTn id="137" dur="500"/>
                                        <p:tgtEl>
                                          <p:spTgt spid="134"/>
                                        </p:tgtEl>
                                        <p:attrNameLst>
                                          <p:attrName>ppt_y</p:attrName>
                                        </p:attrNameLst>
                                      </p:cBhvr>
                                      <p:tavLst>
                                        <p:tav tm="0">
                                          <p:val>
                                            <p:strVal val="#ppt_y+#ppt_h*1.125000"/>
                                          </p:val>
                                        </p:tav>
                                        <p:tav tm="100000">
                                          <p:val>
                                            <p:strVal val="#ppt_y"/>
                                          </p:val>
                                        </p:tav>
                                      </p:tavLst>
                                    </p:anim>
                                    <p:animEffect transition="in" filter="wipe(up)">
                                      <p:cBhvr>
                                        <p:cTn id="138" dur="500"/>
                                        <p:tgtEl>
                                          <p:spTgt spid="134"/>
                                        </p:tgtEl>
                                      </p:cBhvr>
                                    </p:animEffect>
                                  </p:childTnLst>
                                </p:cTn>
                              </p:par>
                              <p:par>
                                <p:cTn id="139" presetID="12" presetClass="entr" presetSubtype="4" fill="hold" grpId="0" nodeType="withEffect">
                                  <p:stCondLst>
                                    <p:cond delay="200"/>
                                  </p:stCondLst>
                                  <p:childTnLst>
                                    <p:set>
                                      <p:cBhvr>
                                        <p:cTn id="140" dur="1" fill="hold">
                                          <p:stCondLst>
                                            <p:cond delay="0"/>
                                          </p:stCondLst>
                                        </p:cTn>
                                        <p:tgtEl>
                                          <p:spTgt spid="135"/>
                                        </p:tgtEl>
                                        <p:attrNameLst>
                                          <p:attrName>style.visibility</p:attrName>
                                        </p:attrNameLst>
                                      </p:cBhvr>
                                      <p:to>
                                        <p:strVal val="visible"/>
                                      </p:to>
                                    </p:set>
                                    <p:anim calcmode="lin" valueType="num">
                                      <p:cBhvr additive="base">
                                        <p:cTn id="141" dur="500"/>
                                        <p:tgtEl>
                                          <p:spTgt spid="135"/>
                                        </p:tgtEl>
                                        <p:attrNameLst>
                                          <p:attrName>ppt_y</p:attrName>
                                        </p:attrNameLst>
                                      </p:cBhvr>
                                      <p:tavLst>
                                        <p:tav tm="0">
                                          <p:val>
                                            <p:strVal val="#ppt_y+#ppt_h*1.125000"/>
                                          </p:val>
                                        </p:tav>
                                        <p:tav tm="100000">
                                          <p:val>
                                            <p:strVal val="#ppt_y"/>
                                          </p:val>
                                        </p:tav>
                                      </p:tavLst>
                                    </p:anim>
                                    <p:animEffect transition="in" filter="wipe(up)">
                                      <p:cBhvr>
                                        <p:cTn id="142" dur="500"/>
                                        <p:tgtEl>
                                          <p:spTgt spid="135"/>
                                        </p:tgtEl>
                                      </p:cBhvr>
                                    </p:animEffect>
                                  </p:childTnLst>
                                </p:cTn>
                              </p:par>
                              <p:par>
                                <p:cTn id="143" presetID="12" presetClass="entr" presetSubtype="4" fill="hold" grpId="0" nodeType="withEffect">
                                  <p:stCondLst>
                                    <p:cond delay="300"/>
                                  </p:stCondLst>
                                  <p:childTnLst>
                                    <p:set>
                                      <p:cBhvr>
                                        <p:cTn id="144" dur="1" fill="hold">
                                          <p:stCondLst>
                                            <p:cond delay="0"/>
                                          </p:stCondLst>
                                        </p:cTn>
                                        <p:tgtEl>
                                          <p:spTgt spid="136"/>
                                        </p:tgtEl>
                                        <p:attrNameLst>
                                          <p:attrName>style.visibility</p:attrName>
                                        </p:attrNameLst>
                                      </p:cBhvr>
                                      <p:to>
                                        <p:strVal val="visible"/>
                                      </p:to>
                                    </p:set>
                                    <p:anim calcmode="lin" valueType="num">
                                      <p:cBhvr additive="base">
                                        <p:cTn id="145" dur="500"/>
                                        <p:tgtEl>
                                          <p:spTgt spid="136"/>
                                        </p:tgtEl>
                                        <p:attrNameLst>
                                          <p:attrName>ppt_y</p:attrName>
                                        </p:attrNameLst>
                                      </p:cBhvr>
                                      <p:tavLst>
                                        <p:tav tm="0">
                                          <p:val>
                                            <p:strVal val="#ppt_y+#ppt_h*1.125000"/>
                                          </p:val>
                                        </p:tav>
                                        <p:tav tm="100000">
                                          <p:val>
                                            <p:strVal val="#ppt_y"/>
                                          </p:val>
                                        </p:tav>
                                      </p:tavLst>
                                    </p:anim>
                                    <p:animEffect transition="in" filter="wipe(up)">
                                      <p:cBhvr>
                                        <p:cTn id="146" dur="500"/>
                                        <p:tgtEl>
                                          <p:spTgt spid="136"/>
                                        </p:tgtEl>
                                      </p:cBhvr>
                                    </p:animEffect>
                                  </p:childTnLst>
                                </p:cTn>
                              </p:par>
                              <p:par>
                                <p:cTn id="147" presetID="12" presetClass="entr" presetSubtype="4" fill="hold" grpId="0" nodeType="withEffect">
                                  <p:stCondLst>
                                    <p:cond delay="400"/>
                                  </p:stCondLst>
                                  <p:childTnLst>
                                    <p:set>
                                      <p:cBhvr>
                                        <p:cTn id="148" dur="1" fill="hold">
                                          <p:stCondLst>
                                            <p:cond delay="0"/>
                                          </p:stCondLst>
                                        </p:cTn>
                                        <p:tgtEl>
                                          <p:spTgt spid="137"/>
                                        </p:tgtEl>
                                        <p:attrNameLst>
                                          <p:attrName>style.visibility</p:attrName>
                                        </p:attrNameLst>
                                      </p:cBhvr>
                                      <p:to>
                                        <p:strVal val="visible"/>
                                      </p:to>
                                    </p:set>
                                    <p:anim calcmode="lin" valueType="num">
                                      <p:cBhvr additive="base">
                                        <p:cTn id="149" dur="500"/>
                                        <p:tgtEl>
                                          <p:spTgt spid="137"/>
                                        </p:tgtEl>
                                        <p:attrNameLst>
                                          <p:attrName>ppt_y</p:attrName>
                                        </p:attrNameLst>
                                      </p:cBhvr>
                                      <p:tavLst>
                                        <p:tav tm="0">
                                          <p:val>
                                            <p:strVal val="#ppt_y+#ppt_h*1.125000"/>
                                          </p:val>
                                        </p:tav>
                                        <p:tav tm="100000">
                                          <p:val>
                                            <p:strVal val="#ppt_y"/>
                                          </p:val>
                                        </p:tav>
                                      </p:tavLst>
                                    </p:anim>
                                    <p:animEffect transition="in" filter="wipe(up)">
                                      <p:cBhvr>
                                        <p:cTn id="150" dur="500"/>
                                        <p:tgtEl>
                                          <p:spTgt spid="137"/>
                                        </p:tgtEl>
                                      </p:cBhvr>
                                    </p:animEffect>
                                  </p:childTnLst>
                                </p:cTn>
                              </p:par>
                              <p:par>
                                <p:cTn id="151" presetID="12" presetClass="entr" presetSubtype="4" fill="hold" grpId="0" nodeType="withEffect">
                                  <p:stCondLst>
                                    <p:cond delay="500"/>
                                  </p:stCondLst>
                                  <p:childTnLst>
                                    <p:set>
                                      <p:cBhvr>
                                        <p:cTn id="152" dur="1" fill="hold">
                                          <p:stCondLst>
                                            <p:cond delay="0"/>
                                          </p:stCondLst>
                                        </p:cTn>
                                        <p:tgtEl>
                                          <p:spTgt spid="138"/>
                                        </p:tgtEl>
                                        <p:attrNameLst>
                                          <p:attrName>style.visibility</p:attrName>
                                        </p:attrNameLst>
                                      </p:cBhvr>
                                      <p:to>
                                        <p:strVal val="visible"/>
                                      </p:to>
                                    </p:set>
                                    <p:anim calcmode="lin" valueType="num">
                                      <p:cBhvr additive="base">
                                        <p:cTn id="153" dur="500"/>
                                        <p:tgtEl>
                                          <p:spTgt spid="138"/>
                                        </p:tgtEl>
                                        <p:attrNameLst>
                                          <p:attrName>ppt_y</p:attrName>
                                        </p:attrNameLst>
                                      </p:cBhvr>
                                      <p:tavLst>
                                        <p:tav tm="0">
                                          <p:val>
                                            <p:strVal val="#ppt_y+#ppt_h*1.125000"/>
                                          </p:val>
                                        </p:tav>
                                        <p:tav tm="100000">
                                          <p:val>
                                            <p:strVal val="#ppt_y"/>
                                          </p:val>
                                        </p:tav>
                                      </p:tavLst>
                                    </p:anim>
                                    <p:animEffect transition="in" filter="wipe(up)">
                                      <p:cBhvr>
                                        <p:cTn id="154" dur="500"/>
                                        <p:tgtEl>
                                          <p:spTgt spid="138"/>
                                        </p:tgtEl>
                                      </p:cBhvr>
                                    </p:animEffect>
                                  </p:childTnLst>
                                </p:cTn>
                              </p:par>
                              <p:par>
                                <p:cTn id="155" presetID="12" presetClass="entr" presetSubtype="4" fill="hold" grpId="0" nodeType="withEffect">
                                  <p:stCondLst>
                                    <p:cond delay="600"/>
                                  </p:stCondLst>
                                  <p:childTnLst>
                                    <p:set>
                                      <p:cBhvr>
                                        <p:cTn id="156" dur="1" fill="hold">
                                          <p:stCondLst>
                                            <p:cond delay="0"/>
                                          </p:stCondLst>
                                        </p:cTn>
                                        <p:tgtEl>
                                          <p:spTgt spid="139"/>
                                        </p:tgtEl>
                                        <p:attrNameLst>
                                          <p:attrName>style.visibility</p:attrName>
                                        </p:attrNameLst>
                                      </p:cBhvr>
                                      <p:to>
                                        <p:strVal val="visible"/>
                                      </p:to>
                                    </p:set>
                                    <p:anim calcmode="lin" valueType="num">
                                      <p:cBhvr additive="base">
                                        <p:cTn id="157" dur="500"/>
                                        <p:tgtEl>
                                          <p:spTgt spid="139"/>
                                        </p:tgtEl>
                                        <p:attrNameLst>
                                          <p:attrName>ppt_y</p:attrName>
                                        </p:attrNameLst>
                                      </p:cBhvr>
                                      <p:tavLst>
                                        <p:tav tm="0">
                                          <p:val>
                                            <p:strVal val="#ppt_y+#ppt_h*1.125000"/>
                                          </p:val>
                                        </p:tav>
                                        <p:tav tm="100000">
                                          <p:val>
                                            <p:strVal val="#ppt_y"/>
                                          </p:val>
                                        </p:tav>
                                      </p:tavLst>
                                    </p:anim>
                                    <p:animEffect transition="in" filter="wipe(up)">
                                      <p:cBhvr>
                                        <p:cTn id="158" dur="500"/>
                                        <p:tgtEl>
                                          <p:spTgt spid="139"/>
                                        </p:tgtEl>
                                      </p:cBhvr>
                                    </p:animEffect>
                                  </p:childTnLst>
                                </p:cTn>
                              </p:par>
                              <p:par>
                                <p:cTn id="159" presetID="12" presetClass="entr" presetSubtype="4" fill="hold" grpId="0" nodeType="withEffect">
                                  <p:stCondLst>
                                    <p:cond delay="700"/>
                                  </p:stCondLst>
                                  <p:childTnLst>
                                    <p:set>
                                      <p:cBhvr>
                                        <p:cTn id="160" dur="1" fill="hold">
                                          <p:stCondLst>
                                            <p:cond delay="0"/>
                                          </p:stCondLst>
                                        </p:cTn>
                                        <p:tgtEl>
                                          <p:spTgt spid="140"/>
                                        </p:tgtEl>
                                        <p:attrNameLst>
                                          <p:attrName>style.visibility</p:attrName>
                                        </p:attrNameLst>
                                      </p:cBhvr>
                                      <p:to>
                                        <p:strVal val="visible"/>
                                      </p:to>
                                    </p:set>
                                    <p:anim calcmode="lin" valueType="num">
                                      <p:cBhvr additive="base">
                                        <p:cTn id="161" dur="500"/>
                                        <p:tgtEl>
                                          <p:spTgt spid="140"/>
                                        </p:tgtEl>
                                        <p:attrNameLst>
                                          <p:attrName>ppt_y</p:attrName>
                                        </p:attrNameLst>
                                      </p:cBhvr>
                                      <p:tavLst>
                                        <p:tav tm="0">
                                          <p:val>
                                            <p:strVal val="#ppt_y+#ppt_h*1.125000"/>
                                          </p:val>
                                        </p:tav>
                                        <p:tav tm="100000">
                                          <p:val>
                                            <p:strVal val="#ppt_y"/>
                                          </p:val>
                                        </p:tav>
                                      </p:tavLst>
                                    </p:anim>
                                    <p:animEffect transition="in" filter="wipe(up)">
                                      <p:cBhvr>
                                        <p:cTn id="162" dur="500"/>
                                        <p:tgtEl>
                                          <p:spTgt spid="140"/>
                                        </p:tgtEl>
                                      </p:cBhvr>
                                    </p:animEffect>
                                  </p:childTnLst>
                                </p:cTn>
                              </p:par>
                              <p:par>
                                <p:cTn id="163" presetID="12" presetClass="entr" presetSubtype="4" fill="hold" grpId="0" nodeType="withEffect">
                                  <p:stCondLst>
                                    <p:cond delay="800"/>
                                  </p:stCondLst>
                                  <p:childTnLst>
                                    <p:set>
                                      <p:cBhvr>
                                        <p:cTn id="164" dur="1" fill="hold">
                                          <p:stCondLst>
                                            <p:cond delay="0"/>
                                          </p:stCondLst>
                                        </p:cTn>
                                        <p:tgtEl>
                                          <p:spTgt spid="141"/>
                                        </p:tgtEl>
                                        <p:attrNameLst>
                                          <p:attrName>style.visibility</p:attrName>
                                        </p:attrNameLst>
                                      </p:cBhvr>
                                      <p:to>
                                        <p:strVal val="visible"/>
                                      </p:to>
                                    </p:set>
                                    <p:anim calcmode="lin" valueType="num">
                                      <p:cBhvr additive="base">
                                        <p:cTn id="165" dur="500"/>
                                        <p:tgtEl>
                                          <p:spTgt spid="141"/>
                                        </p:tgtEl>
                                        <p:attrNameLst>
                                          <p:attrName>ppt_y</p:attrName>
                                        </p:attrNameLst>
                                      </p:cBhvr>
                                      <p:tavLst>
                                        <p:tav tm="0">
                                          <p:val>
                                            <p:strVal val="#ppt_y+#ppt_h*1.125000"/>
                                          </p:val>
                                        </p:tav>
                                        <p:tav tm="100000">
                                          <p:val>
                                            <p:strVal val="#ppt_y"/>
                                          </p:val>
                                        </p:tav>
                                      </p:tavLst>
                                    </p:anim>
                                    <p:animEffect transition="in" filter="wipe(up)">
                                      <p:cBhvr>
                                        <p:cTn id="166" dur="500"/>
                                        <p:tgtEl>
                                          <p:spTgt spid="141"/>
                                        </p:tgtEl>
                                      </p:cBhvr>
                                    </p:animEffect>
                                  </p:childTnLst>
                                </p:cTn>
                              </p:par>
                              <p:par>
                                <p:cTn id="167" presetID="12" presetClass="entr" presetSubtype="4" fill="hold" grpId="0" nodeType="withEffect">
                                  <p:stCondLst>
                                    <p:cond delay="900"/>
                                  </p:stCondLst>
                                  <p:childTnLst>
                                    <p:set>
                                      <p:cBhvr>
                                        <p:cTn id="168" dur="1" fill="hold">
                                          <p:stCondLst>
                                            <p:cond delay="0"/>
                                          </p:stCondLst>
                                        </p:cTn>
                                        <p:tgtEl>
                                          <p:spTgt spid="142"/>
                                        </p:tgtEl>
                                        <p:attrNameLst>
                                          <p:attrName>style.visibility</p:attrName>
                                        </p:attrNameLst>
                                      </p:cBhvr>
                                      <p:to>
                                        <p:strVal val="visible"/>
                                      </p:to>
                                    </p:set>
                                    <p:anim calcmode="lin" valueType="num">
                                      <p:cBhvr additive="base">
                                        <p:cTn id="169" dur="500"/>
                                        <p:tgtEl>
                                          <p:spTgt spid="142"/>
                                        </p:tgtEl>
                                        <p:attrNameLst>
                                          <p:attrName>ppt_y</p:attrName>
                                        </p:attrNameLst>
                                      </p:cBhvr>
                                      <p:tavLst>
                                        <p:tav tm="0">
                                          <p:val>
                                            <p:strVal val="#ppt_y+#ppt_h*1.125000"/>
                                          </p:val>
                                        </p:tav>
                                        <p:tav tm="100000">
                                          <p:val>
                                            <p:strVal val="#ppt_y"/>
                                          </p:val>
                                        </p:tav>
                                      </p:tavLst>
                                    </p:anim>
                                    <p:animEffect transition="in" filter="wipe(up)">
                                      <p:cBhvr>
                                        <p:cTn id="170" dur="500"/>
                                        <p:tgtEl>
                                          <p:spTgt spid="142"/>
                                        </p:tgtEl>
                                      </p:cBhvr>
                                    </p:animEffect>
                                  </p:childTnLst>
                                </p:cTn>
                              </p:par>
                              <p:par>
                                <p:cTn id="171" presetID="12" presetClass="entr" presetSubtype="4" fill="hold" grpId="0" nodeType="withEffect">
                                  <p:stCondLst>
                                    <p:cond delay="0"/>
                                  </p:stCondLst>
                                  <p:childTnLst>
                                    <p:set>
                                      <p:cBhvr>
                                        <p:cTn id="172" dur="1" fill="hold">
                                          <p:stCondLst>
                                            <p:cond delay="0"/>
                                          </p:stCondLst>
                                        </p:cTn>
                                        <p:tgtEl>
                                          <p:spTgt spid="143"/>
                                        </p:tgtEl>
                                        <p:attrNameLst>
                                          <p:attrName>style.visibility</p:attrName>
                                        </p:attrNameLst>
                                      </p:cBhvr>
                                      <p:to>
                                        <p:strVal val="visible"/>
                                      </p:to>
                                    </p:set>
                                    <p:anim calcmode="lin" valueType="num">
                                      <p:cBhvr additive="base">
                                        <p:cTn id="173" dur="500"/>
                                        <p:tgtEl>
                                          <p:spTgt spid="143"/>
                                        </p:tgtEl>
                                        <p:attrNameLst>
                                          <p:attrName>ppt_y</p:attrName>
                                        </p:attrNameLst>
                                      </p:cBhvr>
                                      <p:tavLst>
                                        <p:tav tm="0">
                                          <p:val>
                                            <p:strVal val="#ppt_y+#ppt_h*1.125000"/>
                                          </p:val>
                                        </p:tav>
                                        <p:tav tm="100000">
                                          <p:val>
                                            <p:strVal val="#ppt_y"/>
                                          </p:val>
                                        </p:tav>
                                      </p:tavLst>
                                    </p:anim>
                                    <p:animEffect transition="in" filter="wipe(up)">
                                      <p:cBhvr>
                                        <p:cTn id="174" dur="500"/>
                                        <p:tgtEl>
                                          <p:spTgt spid="143"/>
                                        </p:tgtEl>
                                      </p:cBhvr>
                                    </p:animEffect>
                                  </p:childTnLst>
                                </p:cTn>
                              </p:par>
                              <p:par>
                                <p:cTn id="175" presetID="12" presetClass="entr" presetSubtype="4" fill="hold" grpId="0" nodeType="withEffect">
                                  <p:stCondLst>
                                    <p:cond delay="100"/>
                                  </p:stCondLst>
                                  <p:childTnLst>
                                    <p:set>
                                      <p:cBhvr>
                                        <p:cTn id="176" dur="1" fill="hold">
                                          <p:stCondLst>
                                            <p:cond delay="0"/>
                                          </p:stCondLst>
                                        </p:cTn>
                                        <p:tgtEl>
                                          <p:spTgt spid="144"/>
                                        </p:tgtEl>
                                        <p:attrNameLst>
                                          <p:attrName>style.visibility</p:attrName>
                                        </p:attrNameLst>
                                      </p:cBhvr>
                                      <p:to>
                                        <p:strVal val="visible"/>
                                      </p:to>
                                    </p:set>
                                    <p:anim calcmode="lin" valueType="num">
                                      <p:cBhvr additive="base">
                                        <p:cTn id="177" dur="500"/>
                                        <p:tgtEl>
                                          <p:spTgt spid="144"/>
                                        </p:tgtEl>
                                        <p:attrNameLst>
                                          <p:attrName>ppt_y</p:attrName>
                                        </p:attrNameLst>
                                      </p:cBhvr>
                                      <p:tavLst>
                                        <p:tav tm="0">
                                          <p:val>
                                            <p:strVal val="#ppt_y+#ppt_h*1.125000"/>
                                          </p:val>
                                        </p:tav>
                                        <p:tav tm="100000">
                                          <p:val>
                                            <p:strVal val="#ppt_y"/>
                                          </p:val>
                                        </p:tav>
                                      </p:tavLst>
                                    </p:anim>
                                    <p:animEffect transition="in" filter="wipe(up)">
                                      <p:cBhvr>
                                        <p:cTn id="178" dur="500"/>
                                        <p:tgtEl>
                                          <p:spTgt spid="144"/>
                                        </p:tgtEl>
                                      </p:cBhvr>
                                    </p:animEffect>
                                  </p:childTnLst>
                                </p:cTn>
                              </p:par>
                              <p:par>
                                <p:cTn id="179" presetID="12" presetClass="entr" presetSubtype="4" fill="hold" grpId="0" nodeType="withEffect">
                                  <p:stCondLst>
                                    <p:cond delay="200"/>
                                  </p:stCondLst>
                                  <p:childTnLst>
                                    <p:set>
                                      <p:cBhvr>
                                        <p:cTn id="180" dur="1" fill="hold">
                                          <p:stCondLst>
                                            <p:cond delay="0"/>
                                          </p:stCondLst>
                                        </p:cTn>
                                        <p:tgtEl>
                                          <p:spTgt spid="145"/>
                                        </p:tgtEl>
                                        <p:attrNameLst>
                                          <p:attrName>style.visibility</p:attrName>
                                        </p:attrNameLst>
                                      </p:cBhvr>
                                      <p:to>
                                        <p:strVal val="visible"/>
                                      </p:to>
                                    </p:set>
                                    <p:anim calcmode="lin" valueType="num">
                                      <p:cBhvr additive="base">
                                        <p:cTn id="181" dur="500"/>
                                        <p:tgtEl>
                                          <p:spTgt spid="145"/>
                                        </p:tgtEl>
                                        <p:attrNameLst>
                                          <p:attrName>ppt_y</p:attrName>
                                        </p:attrNameLst>
                                      </p:cBhvr>
                                      <p:tavLst>
                                        <p:tav tm="0">
                                          <p:val>
                                            <p:strVal val="#ppt_y+#ppt_h*1.125000"/>
                                          </p:val>
                                        </p:tav>
                                        <p:tav tm="100000">
                                          <p:val>
                                            <p:strVal val="#ppt_y"/>
                                          </p:val>
                                        </p:tav>
                                      </p:tavLst>
                                    </p:anim>
                                    <p:animEffect transition="in" filter="wipe(up)">
                                      <p:cBhvr>
                                        <p:cTn id="182" dur="500"/>
                                        <p:tgtEl>
                                          <p:spTgt spid="145"/>
                                        </p:tgtEl>
                                      </p:cBhvr>
                                    </p:animEffect>
                                  </p:childTnLst>
                                </p:cTn>
                              </p:par>
                              <p:par>
                                <p:cTn id="183" presetID="12" presetClass="entr" presetSubtype="4" fill="hold" grpId="0" nodeType="withEffect">
                                  <p:stCondLst>
                                    <p:cond delay="300"/>
                                  </p:stCondLst>
                                  <p:childTnLst>
                                    <p:set>
                                      <p:cBhvr>
                                        <p:cTn id="184" dur="1" fill="hold">
                                          <p:stCondLst>
                                            <p:cond delay="0"/>
                                          </p:stCondLst>
                                        </p:cTn>
                                        <p:tgtEl>
                                          <p:spTgt spid="146"/>
                                        </p:tgtEl>
                                        <p:attrNameLst>
                                          <p:attrName>style.visibility</p:attrName>
                                        </p:attrNameLst>
                                      </p:cBhvr>
                                      <p:to>
                                        <p:strVal val="visible"/>
                                      </p:to>
                                    </p:set>
                                    <p:anim calcmode="lin" valueType="num">
                                      <p:cBhvr additive="base">
                                        <p:cTn id="185" dur="500"/>
                                        <p:tgtEl>
                                          <p:spTgt spid="146"/>
                                        </p:tgtEl>
                                        <p:attrNameLst>
                                          <p:attrName>ppt_y</p:attrName>
                                        </p:attrNameLst>
                                      </p:cBhvr>
                                      <p:tavLst>
                                        <p:tav tm="0">
                                          <p:val>
                                            <p:strVal val="#ppt_y+#ppt_h*1.125000"/>
                                          </p:val>
                                        </p:tav>
                                        <p:tav tm="100000">
                                          <p:val>
                                            <p:strVal val="#ppt_y"/>
                                          </p:val>
                                        </p:tav>
                                      </p:tavLst>
                                    </p:anim>
                                    <p:animEffect transition="in" filter="wipe(up)">
                                      <p:cBhvr>
                                        <p:cTn id="186" dur="500"/>
                                        <p:tgtEl>
                                          <p:spTgt spid="146"/>
                                        </p:tgtEl>
                                      </p:cBhvr>
                                    </p:animEffect>
                                  </p:childTnLst>
                                </p:cTn>
                              </p:par>
                              <p:par>
                                <p:cTn id="187" presetID="12" presetClass="entr" presetSubtype="4" fill="hold" grpId="0" nodeType="withEffect">
                                  <p:stCondLst>
                                    <p:cond delay="400"/>
                                  </p:stCondLst>
                                  <p:childTnLst>
                                    <p:set>
                                      <p:cBhvr>
                                        <p:cTn id="188" dur="1" fill="hold">
                                          <p:stCondLst>
                                            <p:cond delay="0"/>
                                          </p:stCondLst>
                                        </p:cTn>
                                        <p:tgtEl>
                                          <p:spTgt spid="147"/>
                                        </p:tgtEl>
                                        <p:attrNameLst>
                                          <p:attrName>style.visibility</p:attrName>
                                        </p:attrNameLst>
                                      </p:cBhvr>
                                      <p:to>
                                        <p:strVal val="visible"/>
                                      </p:to>
                                    </p:set>
                                    <p:anim calcmode="lin" valueType="num">
                                      <p:cBhvr additive="base">
                                        <p:cTn id="189" dur="500"/>
                                        <p:tgtEl>
                                          <p:spTgt spid="147"/>
                                        </p:tgtEl>
                                        <p:attrNameLst>
                                          <p:attrName>ppt_y</p:attrName>
                                        </p:attrNameLst>
                                      </p:cBhvr>
                                      <p:tavLst>
                                        <p:tav tm="0">
                                          <p:val>
                                            <p:strVal val="#ppt_y+#ppt_h*1.125000"/>
                                          </p:val>
                                        </p:tav>
                                        <p:tav tm="100000">
                                          <p:val>
                                            <p:strVal val="#ppt_y"/>
                                          </p:val>
                                        </p:tav>
                                      </p:tavLst>
                                    </p:anim>
                                    <p:animEffect transition="in" filter="wipe(up)">
                                      <p:cBhvr>
                                        <p:cTn id="190" dur="500"/>
                                        <p:tgtEl>
                                          <p:spTgt spid="147"/>
                                        </p:tgtEl>
                                      </p:cBhvr>
                                    </p:animEffect>
                                  </p:childTnLst>
                                </p:cTn>
                              </p:par>
                              <p:par>
                                <p:cTn id="191" presetID="12" presetClass="entr" presetSubtype="4" fill="hold" grpId="0" nodeType="withEffect">
                                  <p:stCondLst>
                                    <p:cond delay="500"/>
                                  </p:stCondLst>
                                  <p:childTnLst>
                                    <p:set>
                                      <p:cBhvr>
                                        <p:cTn id="192" dur="1" fill="hold">
                                          <p:stCondLst>
                                            <p:cond delay="0"/>
                                          </p:stCondLst>
                                        </p:cTn>
                                        <p:tgtEl>
                                          <p:spTgt spid="148"/>
                                        </p:tgtEl>
                                        <p:attrNameLst>
                                          <p:attrName>style.visibility</p:attrName>
                                        </p:attrNameLst>
                                      </p:cBhvr>
                                      <p:to>
                                        <p:strVal val="visible"/>
                                      </p:to>
                                    </p:set>
                                    <p:anim calcmode="lin" valueType="num">
                                      <p:cBhvr additive="base">
                                        <p:cTn id="193" dur="500"/>
                                        <p:tgtEl>
                                          <p:spTgt spid="148"/>
                                        </p:tgtEl>
                                        <p:attrNameLst>
                                          <p:attrName>ppt_y</p:attrName>
                                        </p:attrNameLst>
                                      </p:cBhvr>
                                      <p:tavLst>
                                        <p:tav tm="0">
                                          <p:val>
                                            <p:strVal val="#ppt_y+#ppt_h*1.125000"/>
                                          </p:val>
                                        </p:tav>
                                        <p:tav tm="100000">
                                          <p:val>
                                            <p:strVal val="#ppt_y"/>
                                          </p:val>
                                        </p:tav>
                                      </p:tavLst>
                                    </p:anim>
                                    <p:animEffect transition="in" filter="wipe(up)">
                                      <p:cBhvr>
                                        <p:cTn id="194" dur="500"/>
                                        <p:tgtEl>
                                          <p:spTgt spid="148"/>
                                        </p:tgtEl>
                                      </p:cBhvr>
                                    </p:animEffect>
                                  </p:childTnLst>
                                </p:cTn>
                              </p:par>
                              <p:par>
                                <p:cTn id="195" presetID="12" presetClass="entr" presetSubtype="4" fill="hold" grpId="0" nodeType="withEffect">
                                  <p:stCondLst>
                                    <p:cond delay="600"/>
                                  </p:stCondLst>
                                  <p:childTnLst>
                                    <p:set>
                                      <p:cBhvr>
                                        <p:cTn id="196" dur="1" fill="hold">
                                          <p:stCondLst>
                                            <p:cond delay="0"/>
                                          </p:stCondLst>
                                        </p:cTn>
                                        <p:tgtEl>
                                          <p:spTgt spid="149"/>
                                        </p:tgtEl>
                                        <p:attrNameLst>
                                          <p:attrName>style.visibility</p:attrName>
                                        </p:attrNameLst>
                                      </p:cBhvr>
                                      <p:to>
                                        <p:strVal val="visible"/>
                                      </p:to>
                                    </p:set>
                                    <p:anim calcmode="lin" valueType="num">
                                      <p:cBhvr additive="base">
                                        <p:cTn id="197" dur="500"/>
                                        <p:tgtEl>
                                          <p:spTgt spid="149"/>
                                        </p:tgtEl>
                                        <p:attrNameLst>
                                          <p:attrName>ppt_y</p:attrName>
                                        </p:attrNameLst>
                                      </p:cBhvr>
                                      <p:tavLst>
                                        <p:tav tm="0">
                                          <p:val>
                                            <p:strVal val="#ppt_y+#ppt_h*1.125000"/>
                                          </p:val>
                                        </p:tav>
                                        <p:tav tm="100000">
                                          <p:val>
                                            <p:strVal val="#ppt_y"/>
                                          </p:val>
                                        </p:tav>
                                      </p:tavLst>
                                    </p:anim>
                                    <p:animEffect transition="in" filter="wipe(up)">
                                      <p:cBhvr>
                                        <p:cTn id="198" dur="500"/>
                                        <p:tgtEl>
                                          <p:spTgt spid="149"/>
                                        </p:tgtEl>
                                      </p:cBhvr>
                                    </p:animEffect>
                                  </p:childTnLst>
                                </p:cTn>
                              </p:par>
                              <p:par>
                                <p:cTn id="199" presetID="12" presetClass="entr" presetSubtype="4" fill="hold" grpId="0" nodeType="withEffect">
                                  <p:stCondLst>
                                    <p:cond delay="700"/>
                                  </p:stCondLst>
                                  <p:childTnLst>
                                    <p:set>
                                      <p:cBhvr>
                                        <p:cTn id="200" dur="1" fill="hold">
                                          <p:stCondLst>
                                            <p:cond delay="0"/>
                                          </p:stCondLst>
                                        </p:cTn>
                                        <p:tgtEl>
                                          <p:spTgt spid="150"/>
                                        </p:tgtEl>
                                        <p:attrNameLst>
                                          <p:attrName>style.visibility</p:attrName>
                                        </p:attrNameLst>
                                      </p:cBhvr>
                                      <p:to>
                                        <p:strVal val="visible"/>
                                      </p:to>
                                    </p:set>
                                    <p:anim calcmode="lin" valueType="num">
                                      <p:cBhvr additive="base">
                                        <p:cTn id="201" dur="500"/>
                                        <p:tgtEl>
                                          <p:spTgt spid="150"/>
                                        </p:tgtEl>
                                        <p:attrNameLst>
                                          <p:attrName>ppt_y</p:attrName>
                                        </p:attrNameLst>
                                      </p:cBhvr>
                                      <p:tavLst>
                                        <p:tav tm="0">
                                          <p:val>
                                            <p:strVal val="#ppt_y+#ppt_h*1.125000"/>
                                          </p:val>
                                        </p:tav>
                                        <p:tav tm="100000">
                                          <p:val>
                                            <p:strVal val="#ppt_y"/>
                                          </p:val>
                                        </p:tav>
                                      </p:tavLst>
                                    </p:anim>
                                    <p:animEffect transition="in" filter="wipe(up)">
                                      <p:cBhvr>
                                        <p:cTn id="202" dur="500"/>
                                        <p:tgtEl>
                                          <p:spTgt spid="150"/>
                                        </p:tgtEl>
                                      </p:cBhvr>
                                    </p:animEffect>
                                  </p:childTnLst>
                                </p:cTn>
                              </p:par>
                              <p:par>
                                <p:cTn id="203" presetID="12" presetClass="entr" presetSubtype="4" fill="hold" grpId="0" nodeType="withEffect">
                                  <p:stCondLst>
                                    <p:cond delay="800"/>
                                  </p:stCondLst>
                                  <p:childTnLst>
                                    <p:set>
                                      <p:cBhvr>
                                        <p:cTn id="204" dur="1" fill="hold">
                                          <p:stCondLst>
                                            <p:cond delay="0"/>
                                          </p:stCondLst>
                                        </p:cTn>
                                        <p:tgtEl>
                                          <p:spTgt spid="151"/>
                                        </p:tgtEl>
                                        <p:attrNameLst>
                                          <p:attrName>style.visibility</p:attrName>
                                        </p:attrNameLst>
                                      </p:cBhvr>
                                      <p:to>
                                        <p:strVal val="visible"/>
                                      </p:to>
                                    </p:set>
                                    <p:anim calcmode="lin" valueType="num">
                                      <p:cBhvr additive="base">
                                        <p:cTn id="205" dur="500"/>
                                        <p:tgtEl>
                                          <p:spTgt spid="151"/>
                                        </p:tgtEl>
                                        <p:attrNameLst>
                                          <p:attrName>ppt_y</p:attrName>
                                        </p:attrNameLst>
                                      </p:cBhvr>
                                      <p:tavLst>
                                        <p:tav tm="0">
                                          <p:val>
                                            <p:strVal val="#ppt_y+#ppt_h*1.125000"/>
                                          </p:val>
                                        </p:tav>
                                        <p:tav tm="100000">
                                          <p:val>
                                            <p:strVal val="#ppt_y"/>
                                          </p:val>
                                        </p:tav>
                                      </p:tavLst>
                                    </p:anim>
                                    <p:animEffect transition="in" filter="wipe(up)">
                                      <p:cBhvr>
                                        <p:cTn id="206" dur="500"/>
                                        <p:tgtEl>
                                          <p:spTgt spid="151"/>
                                        </p:tgtEl>
                                      </p:cBhvr>
                                    </p:animEffect>
                                  </p:childTnLst>
                                </p:cTn>
                              </p:par>
                              <p:par>
                                <p:cTn id="207" presetID="12" presetClass="entr" presetSubtype="4" fill="hold" grpId="0" nodeType="withEffect">
                                  <p:stCondLst>
                                    <p:cond delay="900"/>
                                  </p:stCondLst>
                                  <p:childTnLst>
                                    <p:set>
                                      <p:cBhvr>
                                        <p:cTn id="208" dur="1" fill="hold">
                                          <p:stCondLst>
                                            <p:cond delay="0"/>
                                          </p:stCondLst>
                                        </p:cTn>
                                        <p:tgtEl>
                                          <p:spTgt spid="152"/>
                                        </p:tgtEl>
                                        <p:attrNameLst>
                                          <p:attrName>style.visibility</p:attrName>
                                        </p:attrNameLst>
                                      </p:cBhvr>
                                      <p:to>
                                        <p:strVal val="visible"/>
                                      </p:to>
                                    </p:set>
                                    <p:anim calcmode="lin" valueType="num">
                                      <p:cBhvr additive="base">
                                        <p:cTn id="209" dur="500"/>
                                        <p:tgtEl>
                                          <p:spTgt spid="152"/>
                                        </p:tgtEl>
                                        <p:attrNameLst>
                                          <p:attrName>ppt_y</p:attrName>
                                        </p:attrNameLst>
                                      </p:cBhvr>
                                      <p:tavLst>
                                        <p:tav tm="0">
                                          <p:val>
                                            <p:strVal val="#ppt_y+#ppt_h*1.125000"/>
                                          </p:val>
                                        </p:tav>
                                        <p:tav tm="100000">
                                          <p:val>
                                            <p:strVal val="#ppt_y"/>
                                          </p:val>
                                        </p:tav>
                                      </p:tavLst>
                                    </p:anim>
                                    <p:animEffect transition="in" filter="wipe(up)">
                                      <p:cBhvr>
                                        <p:cTn id="210" dur="500"/>
                                        <p:tgtEl>
                                          <p:spTgt spid="1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 grpId="0"/>
      <p:bldP spid="134" grpId="0"/>
      <p:bldP spid="135" grpId="0"/>
      <p:bldP spid="136" grpId="0"/>
      <p:bldP spid="137" grpId="0"/>
      <p:bldP spid="138" grpId="0"/>
      <p:bldP spid="139" grpId="0"/>
      <p:bldP spid="140" grpId="0"/>
      <p:bldP spid="141" grpId="0"/>
      <p:bldP spid="142" grpId="0"/>
      <p:bldP spid="143" grpId="0"/>
      <p:bldP spid="144" grpId="0"/>
      <p:bldP spid="145" grpId="0"/>
      <p:bldP spid="146" grpId="0"/>
      <p:bldP spid="147" grpId="0"/>
      <p:bldP spid="148" grpId="0"/>
      <p:bldP spid="149" grpId="0"/>
      <p:bldP spid="150" grpId="0"/>
      <p:bldP spid="151" grpId="0"/>
      <p:bldP spid="152" grpId="0"/>
      <p:bldP spid="153" grpId="0" animBg="1"/>
      <p:bldP spid="154" grpId="0" animBg="1"/>
      <p:bldP spid="155" grpId="0" animBg="1"/>
      <p:bldP spid="156" grpId="0" animBg="1"/>
      <p:bldP spid="157" grpId="0" animBg="1"/>
      <p:bldP spid="158" grpId="0" animBg="1"/>
      <p:bldP spid="159" grpId="0" animBg="1"/>
      <p:bldP spid="160" grpId="0"/>
      <p:bldP spid="161" grpId="0"/>
      <p:bldP spid="162" grpId="0"/>
      <p:bldP spid="163" grpId="0"/>
      <p:bldP spid="164" grpId="0"/>
      <p:bldP spid="165" grpId="0"/>
      <p:bldP spid="166" grpId="0"/>
      <p:bldP spid="167" grpId="0" animBg="1"/>
      <p:bldP spid="168" grpId="0" animBg="1"/>
      <p:bldP spid="169" grpId="0" animBg="1"/>
      <p:bldP spid="170" grpId="0" animBg="1"/>
      <p:bldP spid="171" grpId="0" animBg="1"/>
      <p:bldP spid="172" grpId="0" animBg="1"/>
      <p:bldP spid="173" grpId="0" animBg="1"/>
      <p:bldP spid="174" grpId="0"/>
      <p:bldP spid="175" grpId="0"/>
      <p:bldP spid="176" grpId="0"/>
      <p:bldP spid="177" grpId="0"/>
      <p:bldP spid="178" grpId="0"/>
      <p:bldP spid="179" grpId="0"/>
      <p:bldP spid="180" grpId="0"/>
      <p:bldP spid="181" grpId="0"/>
      <p:bldP spid="182" grpId="0"/>
      <p:bldP spid="183" grpId="0"/>
      <p:bldP spid="184" grpId="0"/>
      <p:bldP spid="185" grpId="0"/>
      <p:bldP spid="186" grpId="0"/>
      <p:bldP spid="187" grpId="0"/>
      <p:bldP spid="8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27" name="AutoShape 24"/>
          <p:cNvSpPr>
            <a:spLocks noChangeArrowheads="1"/>
          </p:cNvSpPr>
          <p:nvPr/>
        </p:nvSpPr>
        <p:spPr bwMode="auto">
          <a:xfrm>
            <a:off x="1064171" y="1214422"/>
            <a:ext cx="3387961" cy="4672227"/>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1" fmla="*/ 0 w 10000"/>
              <a:gd name="connsiteY0-2" fmla="*/ 2000 h 10000"/>
              <a:gd name="connsiteX1-3" fmla="*/ 974 w 10000"/>
              <a:gd name="connsiteY1-4" fmla="*/ 0 h 10000"/>
              <a:gd name="connsiteX2-5" fmla="*/ 10000 w 10000"/>
              <a:gd name="connsiteY2-6" fmla="*/ 0 h 10000"/>
              <a:gd name="connsiteX3-7" fmla="*/ 10000 w 10000"/>
              <a:gd name="connsiteY3-8" fmla="*/ 10000 h 10000"/>
              <a:gd name="connsiteX4-9" fmla="*/ 0 w 10000"/>
              <a:gd name="connsiteY4-10" fmla="*/ 10000 h 10000"/>
              <a:gd name="connsiteX5-11" fmla="*/ 0 w 10000"/>
              <a:gd name="connsiteY5-12" fmla="*/ 2000 h 10000"/>
              <a:gd name="connsiteX0-13" fmla="*/ 0 w 10000"/>
              <a:gd name="connsiteY0-14" fmla="*/ 960 h 10000"/>
              <a:gd name="connsiteX1-15" fmla="*/ 974 w 10000"/>
              <a:gd name="connsiteY1-16" fmla="*/ 0 h 10000"/>
              <a:gd name="connsiteX2-17" fmla="*/ 10000 w 10000"/>
              <a:gd name="connsiteY2-18" fmla="*/ 0 h 10000"/>
              <a:gd name="connsiteX3-19" fmla="*/ 10000 w 10000"/>
              <a:gd name="connsiteY3-20" fmla="*/ 10000 h 10000"/>
              <a:gd name="connsiteX4-21" fmla="*/ 0 w 10000"/>
              <a:gd name="connsiteY4-22" fmla="*/ 10000 h 10000"/>
              <a:gd name="connsiteX5-23" fmla="*/ 0 w 10000"/>
              <a:gd name="connsiteY5-24" fmla="*/ 96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10000" h="10000">
                <a:moveTo>
                  <a:pt x="0" y="960"/>
                </a:moveTo>
                <a:lnTo>
                  <a:pt x="974" y="0"/>
                </a:lnTo>
                <a:lnTo>
                  <a:pt x="10000" y="0"/>
                </a:lnTo>
                <a:lnTo>
                  <a:pt x="10000" y="10000"/>
                </a:lnTo>
                <a:lnTo>
                  <a:pt x="0" y="10000"/>
                </a:lnTo>
                <a:lnTo>
                  <a:pt x="0" y="960"/>
                </a:lnTo>
                <a:close/>
              </a:path>
            </a:pathLst>
          </a:custGeom>
          <a:gradFill flip="none" rotWithShape="1">
            <a:gsLst>
              <a:gs pos="0">
                <a:schemeClr val="accent1">
                  <a:lumMod val="20000"/>
                  <a:lumOff val="80000"/>
                </a:schemeClr>
              </a:gs>
              <a:gs pos="39999">
                <a:srgbClr val="85C2FF"/>
              </a:gs>
              <a:gs pos="70000">
                <a:srgbClr val="C4D6EB"/>
              </a:gs>
              <a:gs pos="100000">
                <a:srgbClr val="FFEBFA"/>
              </a:gs>
            </a:gsLst>
            <a:lin ang="16200000" scaled="0"/>
            <a:tileRect/>
          </a:gradFill>
          <a:ln>
            <a:noFill/>
          </a:ln>
          <a:effectLst>
            <a:outerShdw blurRad="254000" algn="ctr" rotWithShape="0">
              <a:srgbClr val="53D2FF">
                <a:alpha val="80000"/>
              </a:srgbClr>
            </a:outerShdw>
          </a:effectLst>
        </p:spPr>
        <p:txBody>
          <a:bodyPr wrap="none" tIns="0" bIns="684000" anchor="ctr"/>
          <a:lstStyle/>
          <a:p>
            <a:pPr lvl="0" algn="ctr"/>
            <a:endParaRPr lang="zh-CN" altLang="en-US">
              <a:solidFill>
                <a:prstClr val="white"/>
              </a:solidFill>
              <a:latin typeface="Pirulen" panose="02000807050000020004" pitchFamily="2" charset="0"/>
            </a:endParaRPr>
          </a:p>
        </p:txBody>
      </p:sp>
      <p:pic>
        <p:nvPicPr>
          <p:cNvPr id="32" name="Picture 8" descr="C:\Users\Nir\Desktop\未标题-1.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1310180" y="6072206"/>
            <a:ext cx="461313" cy="488015"/>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成长</a:t>
            </a:r>
            <a:r>
              <a:rPr lang="en-US" altLang="zh-CN" sz="2400" b="1" dirty="0" smtClean="0">
                <a:latin typeface="微软雅黑" panose="020B0503020204020204" pitchFamily="34" charset="-122"/>
                <a:ea typeface="微软雅黑" panose="020B0503020204020204" pitchFamily="34" charset="-122"/>
              </a:rPr>
              <a:t>&amp;</a:t>
            </a:r>
            <a:r>
              <a:rPr lang="zh-CN" altLang="en-US" sz="2400" b="1" dirty="0" smtClean="0">
                <a:latin typeface="微软雅黑" panose="020B0503020204020204" pitchFamily="34" charset="-122"/>
                <a:ea typeface="微软雅黑" panose="020B0503020204020204" pitchFamily="34" charset="-122"/>
              </a:rPr>
              <a:t>收获</a:t>
            </a:r>
            <a:endParaRPr lang="zh-CN" altLang="en-US" sz="2400" b="1" dirty="0" smtClean="0">
              <a:latin typeface="微软雅黑" panose="020B0503020204020204" pitchFamily="34" charset="-122"/>
              <a:ea typeface="微软雅黑" panose="020B0503020204020204" pitchFamily="34" charset="-122"/>
            </a:endParaRPr>
          </a:p>
        </p:txBody>
      </p:sp>
      <p:sp>
        <p:nvSpPr>
          <p:cNvPr id="58" name="TextBox 57"/>
          <p:cNvSpPr txBox="1"/>
          <p:nvPr/>
        </p:nvSpPr>
        <p:spPr>
          <a:xfrm>
            <a:off x="1594612" y="1785926"/>
            <a:ext cx="2786082" cy="3170099"/>
          </a:xfrm>
          <a:prstGeom prst="rect">
            <a:avLst/>
          </a:prstGeom>
          <a:noFill/>
        </p:spPr>
        <p:txBody>
          <a:bodyPr wrap="square" rtlCol="0" anchor="ctr">
            <a:spAutoFit/>
          </a:bodyPr>
          <a:lstStyle/>
          <a:p>
            <a:r>
              <a:rPr lang="zh-CN" altLang="en-US" sz="2000" b="1" dirty="0" smtClean="0">
                <a:latin typeface="微软雅黑" panose="020B0503020204020204" pitchFamily="34" charset="-122"/>
                <a:ea typeface="微软雅黑" panose="020B0503020204020204" pitchFamily="34" charset="-122"/>
              </a:rPr>
              <a:t>工    作</a:t>
            </a:r>
            <a:endParaRPr lang="en-US" altLang="zh-CN" sz="2000" b="1" dirty="0" smtClean="0">
              <a:latin typeface="微软雅黑" panose="020B0503020204020204" pitchFamily="34" charset="-122"/>
              <a:ea typeface="微软雅黑" panose="020B0503020204020204" pitchFamily="34" charset="-122"/>
            </a:endParaRPr>
          </a:p>
          <a:p>
            <a:endParaRPr lang="en-US" altLang="zh-CN" sz="2000" b="1" dirty="0" smtClean="0">
              <a:solidFill>
                <a:schemeClr val="bg1"/>
              </a:solidFill>
              <a:latin typeface="微软雅黑" panose="020B0503020204020204" pitchFamily="34" charset="-122"/>
              <a:ea typeface="微软雅黑" panose="020B0503020204020204" pitchFamily="34" charset="-122"/>
            </a:endParaRPr>
          </a:p>
          <a:p>
            <a:endParaRPr lang="en-US" altLang="zh-CN" sz="2000" b="1" dirty="0" smtClean="0">
              <a:solidFill>
                <a:schemeClr val="bg1"/>
              </a:solidFill>
              <a:latin typeface="微软雅黑" panose="020B0503020204020204" pitchFamily="34" charset="-122"/>
              <a:ea typeface="微软雅黑" panose="020B0503020204020204" pitchFamily="34" charset="-122"/>
            </a:endParaRPr>
          </a:p>
          <a:p>
            <a:endParaRPr lang="en-US" altLang="zh-CN" sz="2000" b="1" dirty="0" smtClean="0">
              <a:solidFill>
                <a:schemeClr val="bg1"/>
              </a:solidFill>
              <a:latin typeface="微软雅黑" panose="020B0503020204020204" pitchFamily="34" charset="-122"/>
              <a:ea typeface="微软雅黑" panose="020B0503020204020204" pitchFamily="34" charset="-122"/>
            </a:endParaRPr>
          </a:p>
          <a:p>
            <a:r>
              <a:rPr lang="en-US" altLang="zh-CN" sz="2000" b="1" dirty="0" smtClean="0">
                <a:solidFill>
                  <a:schemeClr val="bg1"/>
                </a:solidFill>
                <a:latin typeface="微软雅黑" panose="020B0503020204020204" pitchFamily="34" charset="-122"/>
                <a:ea typeface="微软雅黑" panose="020B0503020204020204" pitchFamily="34" charset="-122"/>
              </a:rPr>
              <a:t>          </a:t>
            </a:r>
            <a:r>
              <a:rPr lang="zh-CN" altLang="en-US" sz="2000" b="1" dirty="0" smtClean="0">
                <a:latin typeface="微软雅黑" panose="020B0503020204020204" pitchFamily="34" charset="-122"/>
                <a:ea typeface="微软雅黑" panose="020B0503020204020204" pitchFamily="34" charset="-122"/>
              </a:rPr>
              <a:t>生  活</a:t>
            </a:r>
            <a:endParaRPr lang="en-US" altLang="zh-CN" sz="2000" b="1" dirty="0" smtClean="0">
              <a:latin typeface="微软雅黑" panose="020B0503020204020204" pitchFamily="34" charset="-122"/>
              <a:ea typeface="微软雅黑" panose="020B0503020204020204" pitchFamily="34" charset="-122"/>
            </a:endParaRPr>
          </a:p>
          <a:p>
            <a:endParaRPr lang="en-US" altLang="zh-CN" sz="2000" b="1" dirty="0" smtClean="0">
              <a:solidFill>
                <a:schemeClr val="bg1"/>
              </a:solidFill>
              <a:latin typeface="微软雅黑" panose="020B0503020204020204" pitchFamily="34" charset="-122"/>
              <a:ea typeface="微软雅黑" panose="020B0503020204020204" pitchFamily="34" charset="-122"/>
            </a:endParaRPr>
          </a:p>
          <a:p>
            <a:r>
              <a:rPr lang="en-US" altLang="zh-CN" sz="2000" b="1" dirty="0" smtClean="0">
                <a:solidFill>
                  <a:schemeClr val="bg1"/>
                </a:solidFill>
                <a:latin typeface="微软雅黑" panose="020B0503020204020204" pitchFamily="34" charset="-122"/>
                <a:ea typeface="微软雅黑" panose="020B0503020204020204" pitchFamily="34" charset="-122"/>
              </a:rPr>
              <a:t>                   </a:t>
            </a:r>
            <a:endParaRPr lang="en-US" altLang="zh-CN" sz="2000" b="1" dirty="0" smtClean="0">
              <a:solidFill>
                <a:schemeClr val="bg1"/>
              </a:solidFill>
              <a:latin typeface="微软雅黑" panose="020B0503020204020204" pitchFamily="34" charset="-122"/>
              <a:ea typeface="微软雅黑" panose="020B0503020204020204" pitchFamily="34" charset="-122"/>
            </a:endParaRPr>
          </a:p>
          <a:p>
            <a:r>
              <a:rPr lang="en-US" altLang="zh-CN" sz="2000" b="1" dirty="0" smtClean="0">
                <a:latin typeface="微软雅黑" panose="020B0503020204020204" pitchFamily="34" charset="-122"/>
                <a:ea typeface="微软雅黑" panose="020B0503020204020204" pitchFamily="34" charset="-122"/>
              </a:rPr>
              <a:t>                      </a:t>
            </a:r>
            <a:r>
              <a:rPr lang="zh-CN" altLang="en-US" sz="2000" b="1" dirty="0" smtClean="0">
                <a:latin typeface="微软雅黑" panose="020B0503020204020204" pitchFamily="34" charset="-122"/>
                <a:ea typeface="微软雅黑" panose="020B0503020204020204" pitchFamily="34" charset="-122"/>
              </a:rPr>
              <a:t>平   衡</a:t>
            </a:r>
            <a:endParaRPr lang="en-US" altLang="zh-CN" sz="2000" b="1" dirty="0" smtClean="0">
              <a:latin typeface="微软雅黑" panose="020B0503020204020204" pitchFamily="34" charset="-122"/>
              <a:ea typeface="微软雅黑" panose="020B0503020204020204" pitchFamily="34" charset="-122"/>
            </a:endParaRPr>
          </a:p>
          <a:p>
            <a:endParaRPr lang="en-US" altLang="zh-CN" sz="2000" b="1" dirty="0" smtClean="0">
              <a:solidFill>
                <a:schemeClr val="bg1"/>
              </a:solidFill>
              <a:latin typeface="微软雅黑" panose="020B0503020204020204" pitchFamily="34" charset="-122"/>
              <a:ea typeface="微软雅黑" panose="020B0503020204020204" pitchFamily="34" charset="-122"/>
            </a:endParaRPr>
          </a:p>
          <a:p>
            <a:endParaRPr lang="zh-CN" altLang="en-US" sz="2000" b="1" dirty="0" smtClean="0">
              <a:solidFill>
                <a:schemeClr val="bg1"/>
              </a:solidFill>
              <a:latin typeface="微软雅黑" panose="020B0503020204020204" pitchFamily="34" charset="-122"/>
              <a:ea typeface="微软雅黑" panose="020B0503020204020204" pitchFamily="34" charset="-122"/>
            </a:endParaRPr>
          </a:p>
        </p:txBody>
      </p:sp>
      <p:pic>
        <p:nvPicPr>
          <p:cNvPr id="48" name="图片 47" descr="QQ图片20170913113041.jpg"/>
          <p:cNvPicPr>
            <a:picLocks noChangeAspect="1"/>
          </p:cNvPicPr>
          <p:nvPr/>
        </p:nvPicPr>
        <p:blipFill>
          <a:blip r:embed="rId2"/>
          <a:stretch>
            <a:fillRect/>
          </a:stretch>
        </p:blipFill>
        <p:spPr>
          <a:xfrm>
            <a:off x="4452132" y="1214422"/>
            <a:ext cx="6215106" cy="4661330"/>
          </a:xfrm>
          <a:prstGeom prst="rect">
            <a:avLst/>
          </a:prstGeom>
        </p:spPr>
      </p:pic>
      <p:pic>
        <p:nvPicPr>
          <p:cNvPr id="49" name="图片 48" descr="QQ图片20161104112147.jpg"/>
          <p:cNvPicPr>
            <a:picLocks noChangeAspect="1"/>
          </p:cNvPicPr>
          <p:nvPr/>
        </p:nvPicPr>
        <p:blipFill>
          <a:blip r:embed="rId3"/>
          <a:stretch>
            <a:fillRect/>
          </a:stretch>
        </p:blipFill>
        <p:spPr>
          <a:xfrm>
            <a:off x="4309256" y="1214422"/>
            <a:ext cx="6858000" cy="4643470"/>
          </a:xfrm>
          <a:prstGeom prst="rect">
            <a:avLst/>
          </a:prstGeom>
        </p:spPr>
      </p:pic>
      <p:pic>
        <p:nvPicPr>
          <p:cNvPr id="12289" name="Picture 1" descr="D:\用户目录\我的文档\Tencent Files\3227735287\Image\zjex(2]91n3@ic}%wuqz%p0.jpg"/>
          <p:cNvPicPr>
            <a:picLocks noChangeAspect="1" noChangeArrowheads="1"/>
          </p:cNvPicPr>
          <p:nvPr/>
        </p:nvPicPr>
        <p:blipFill>
          <a:blip r:embed="rId4"/>
          <a:srcRect/>
          <a:stretch>
            <a:fillRect/>
          </a:stretch>
        </p:blipFill>
        <p:spPr bwMode="auto">
          <a:xfrm>
            <a:off x="4309256" y="1214422"/>
            <a:ext cx="6858048" cy="4667467"/>
          </a:xfrm>
          <a:prstGeom prst="rect">
            <a:avLst/>
          </a:prstGeom>
          <a:noFill/>
        </p:spPr>
      </p:pic>
      <p:pic>
        <p:nvPicPr>
          <p:cNvPr id="51" name="图片 50" descr="QQ图片20160802110600.jpg"/>
          <p:cNvPicPr>
            <a:picLocks noChangeAspect="1"/>
          </p:cNvPicPr>
          <p:nvPr/>
        </p:nvPicPr>
        <p:blipFill>
          <a:blip r:embed="rId5"/>
          <a:stretch>
            <a:fillRect/>
          </a:stretch>
        </p:blipFill>
        <p:spPr>
          <a:xfrm>
            <a:off x="4309256" y="1285860"/>
            <a:ext cx="6858048" cy="4643470"/>
          </a:xfrm>
          <a:prstGeom prst="rect">
            <a:avLst/>
          </a:prstGeom>
        </p:spPr>
      </p:pic>
      <p:pic>
        <p:nvPicPr>
          <p:cNvPr id="52" name="图片 51" descr="PB060609.JPG"/>
          <p:cNvPicPr>
            <a:picLocks noChangeAspect="1"/>
          </p:cNvPicPr>
          <p:nvPr/>
        </p:nvPicPr>
        <p:blipFill>
          <a:blip r:embed="rId6" cstate="print"/>
          <a:stretch>
            <a:fillRect/>
          </a:stretch>
        </p:blipFill>
        <p:spPr>
          <a:xfrm>
            <a:off x="4309256" y="1214422"/>
            <a:ext cx="6858048" cy="4661330"/>
          </a:xfrm>
          <a:prstGeom prst="rect">
            <a:avLst/>
          </a:prstGeom>
        </p:spPr>
      </p:pic>
      <p:pic>
        <p:nvPicPr>
          <p:cNvPr id="53" name="图片 52" descr="M9D_4278.JPG"/>
          <p:cNvPicPr>
            <a:picLocks noChangeAspect="1"/>
          </p:cNvPicPr>
          <p:nvPr/>
        </p:nvPicPr>
        <p:blipFill>
          <a:blip r:embed="rId7" cstate="print"/>
          <a:stretch>
            <a:fillRect/>
          </a:stretch>
        </p:blipFill>
        <p:spPr>
          <a:xfrm>
            <a:off x="4309256" y="1214422"/>
            <a:ext cx="7085681" cy="4714908"/>
          </a:xfrm>
          <a:prstGeom prst="rect">
            <a:avLst/>
          </a:prstGeom>
        </p:spPr>
      </p:pic>
      <p:pic>
        <p:nvPicPr>
          <p:cNvPr id="39" name="图片 38" descr="保养站长.jpg"/>
          <p:cNvPicPr>
            <a:picLocks noChangeAspect="1"/>
          </p:cNvPicPr>
          <p:nvPr/>
        </p:nvPicPr>
        <p:blipFill>
          <a:blip r:embed="rId8"/>
          <a:stretch>
            <a:fillRect/>
          </a:stretch>
        </p:blipFill>
        <p:spPr>
          <a:xfrm>
            <a:off x="4309256" y="1214422"/>
            <a:ext cx="7072362" cy="4714908"/>
          </a:xfrm>
          <a:prstGeom prst="rect">
            <a:avLst/>
          </a:prstGeom>
        </p:spPr>
      </p:pic>
      <p:pic>
        <p:nvPicPr>
          <p:cNvPr id="40" name="图片 39" descr="企业培训生.jpg"/>
          <p:cNvPicPr>
            <a:picLocks noChangeAspect="1"/>
          </p:cNvPicPr>
          <p:nvPr/>
        </p:nvPicPr>
        <p:blipFill>
          <a:blip r:embed="rId9"/>
          <a:stretch>
            <a:fillRect/>
          </a:stretch>
        </p:blipFill>
        <p:spPr>
          <a:xfrm>
            <a:off x="4309256" y="1214422"/>
            <a:ext cx="7072362" cy="4714908"/>
          </a:xfrm>
          <a:prstGeom prst="rect">
            <a:avLst/>
          </a:prstGeom>
        </p:spPr>
      </p:pic>
      <p:pic>
        <p:nvPicPr>
          <p:cNvPr id="54" name="图片 53" descr="2014年会图片.JPG"/>
          <p:cNvPicPr>
            <a:picLocks noChangeAspect="1"/>
          </p:cNvPicPr>
          <p:nvPr/>
        </p:nvPicPr>
        <p:blipFill>
          <a:blip r:embed="rId10" cstate="print"/>
          <a:stretch>
            <a:fillRect/>
          </a:stretch>
        </p:blipFill>
        <p:spPr>
          <a:xfrm>
            <a:off x="4309256" y="1214421"/>
            <a:ext cx="7072362" cy="4706045"/>
          </a:xfrm>
          <a:prstGeom prst="rect">
            <a:avLst/>
          </a:prstGeom>
        </p:spPr>
      </p:pic>
      <p:grpSp>
        <p:nvGrpSpPr>
          <p:cNvPr id="50" name="组合 49"/>
          <p:cNvGrpSpPr/>
          <p:nvPr/>
        </p:nvGrpSpPr>
        <p:grpSpPr>
          <a:xfrm>
            <a:off x="1380298" y="5072074"/>
            <a:ext cx="2437115" cy="1546283"/>
            <a:chOff x="7031310" y="4619021"/>
            <a:chExt cx="2437115" cy="1546283"/>
          </a:xfrm>
        </p:grpSpPr>
        <p:grpSp>
          <p:nvGrpSpPr>
            <p:cNvPr id="55" name="组合 32"/>
            <p:cNvGrpSpPr/>
            <p:nvPr/>
          </p:nvGrpSpPr>
          <p:grpSpPr>
            <a:xfrm flipV="1">
              <a:off x="7031310" y="5077133"/>
              <a:ext cx="294351" cy="630059"/>
              <a:chOff x="1211900" y="2115662"/>
              <a:chExt cx="220763" cy="472544"/>
            </a:xfrm>
          </p:grpSpPr>
          <p:sp>
            <p:nvSpPr>
              <p:cNvPr id="79" name="矩形 78"/>
              <p:cNvSpPr/>
              <p:nvPr/>
            </p:nvSpPr>
            <p:spPr>
              <a:xfrm>
                <a:off x="1211900" y="2352640"/>
                <a:ext cx="220685" cy="2355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80" name="矩形 79"/>
              <p:cNvSpPr/>
              <p:nvPr/>
            </p:nvSpPr>
            <p:spPr>
              <a:xfrm flipV="1">
                <a:off x="1211978" y="2115662"/>
                <a:ext cx="220685" cy="235566"/>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56" name="组合 35"/>
            <p:cNvGrpSpPr/>
            <p:nvPr/>
          </p:nvGrpSpPr>
          <p:grpSpPr>
            <a:xfrm flipV="1">
              <a:off x="7334706" y="4763042"/>
              <a:ext cx="294351" cy="1258240"/>
              <a:chOff x="1439447" y="1880094"/>
              <a:chExt cx="220763" cy="943680"/>
            </a:xfrm>
          </p:grpSpPr>
          <p:sp>
            <p:nvSpPr>
              <p:cNvPr id="77" name="矩形 76"/>
              <p:cNvSpPr/>
              <p:nvPr/>
            </p:nvSpPr>
            <p:spPr>
              <a:xfrm>
                <a:off x="1439447" y="2352639"/>
                <a:ext cx="220685" cy="4711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78" name="矩形 77"/>
              <p:cNvSpPr/>
              <p:nvPr/>
            </p:nvSpPr>
            <p:spPr>
              <a:xfrm flipV="1">
                <a:off x="1439525" y="1880094"/>
                <a:ext cx="220685" cy="47113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59" name="组合 38"/>
            <p:cNvGrpSpPr/>
            <p:nvPr/>
          </p:nvGrpSpPr>
          <p:grpSpPr>
            <a:xfrm flipV="1">
              <a:off x="7643223" y="5003063"/>
              <a:ext cx="294351" cy="778197"/>
              <a:chOff x="1670835" y="2060110"/>
              <a:chExt cx="220763" cy="583648"/>
            </a:xfrm>
          </p:grpSpPr>
          <p:sp>
            <p:nvSpPr>
              <p:cNvPr id="75" name="矩形 74"/>
              <p:cNvSpPr/>
              <p:nvPr/>
            </p:nvSpPr>
            <p:spPr>
              <a:xfrm>
                <a:off x="1670835" y="2352640"/>
                <a:ext cx="220685" cy="29111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76" name="矩形 75"/>
              <p:cNvSpPr/>
              <p:nvPr/>
            </p:nvSpPr>
            <p:spPr>
              <a:xfrm flipV="1">
                <a:off x="1670913" y="2060110"/>
                <a:ext cx="220685" cy="291118"/>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60" name="组合 41"/>
            <p:cNvGrpSpPr/>
            <p:nvPr/>
          </p:nvGrpSpPr>
          <p:grpSpPr>
            <a:xfrm flipV="1">
              <a:off x="7952834" y="4619021"/>
              <a:ext cx="294351" cy="1546283"/>
              <a:chOff x="1903043" y="1772078"/>
              <a:chExt cx="220763" cy="1159712"/>
            </a:xfrm>
          </p:grpSpPr>
          <p:sp>
            <p:nvSpPr>
              <p:cNvPr id="73" name="矩形 72"/>
              <p:cNvSpPr/>
              <p:nvPr/>
            </p:nvSpPr>
            <p:spPr>
              <a:xfrm>
                <a:off x="1903043" y="2352640"/>
                <a:ext cx="220685" cy="57915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74" name="矩形 73"/>
              <p:cNvSpPr/>
              <p:nvPr/>
            </p:nvSpPr>
            <p:spPr>
              <a:xfrm flipV="1">
                <a:off x="1903121" y="1772078"/>
                <a:ext cx="220685" cy="579150"/>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61" name="组合 44"/>
            <p:cNvGrpSpPr/>
            <p:nvPr/>
          </p:nvGrpSpPr>
          <p:grpSpPr>
            <a:xfrm flipV="1">
              <a:off x="8257870" y="4811039"/>
              <a:ext cx="294351" cy="1162241"/>
              <a:chOff x="2131820" y="1916094"/>
              <a:chExt cx="220763" cy="871680"/>
            </a:xfrm>
          </p:grpSpPr>
          <p:sp>
            <p:nvSpPr>
              <p:cNvPr id="71" name="矩形 70"/>
              <p:cNvSpPr/>
              <p:nvPr/>
            </p:nvSpPr>
            <p:spPr>
              <a:xfrm>
                <a:off x="2131820" y="2352640"/>
                <a:ext cx="220685" cy="43513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72" name="矩形 71"/>
              <p:cNvSpPr/>
              <p:nvPr/>
            </p:nvSpPr>
            <p:spPr>
              <a:xfrm flipV="1">
                <a:off x="2131898" y="1916094"/>
                <a:ext cx="220685" cy="435134"/>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62" name="组合 47"/>
            <p:cNvGrpSpPr/>
            <p:nvPr/>
          </p:nvGrpSpPr>
          <p:grpSpPr>
            <a:xfrm flipV="1">
              <a:off x="8562930" y="4763042"/>
              <a:ext cx="294351" cy="1258240"/>
              <a:chOff x="2360615" y="1880094"/>
              <a:chExt cx="220763" cy="943680"/>
            </a:xfrm>
          </p:grpSpPr>
          <p:sp>
            <p:nvSpPr>
              <p:cNvPr id="69" name="矩形 68"/>
              <p:cNvSpPr/>
              <p:nvPr/>
            </p:nvSpPr>
            <p:spPr>
              <a:xfrm>
                <a:off x="2360615" y="2352639"/>
                <a:ext cx="220685" cy="47113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70" name="矩形 69"/>
              <p:cNvSpPr/>
              <p:nvPr/>
            </p:nvSpPr>
            <p:spPr>
              <a:xfrm flipV="1">
                <a:off x="2360693" y="1880094"/>
                <a:ext cx="220685" cy="471135"/>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63" name="组合 50"/>
            <p:cNvGrpSpPr/>
            <p:nvPr/>
          </p:nvGrpSpPr>
          <p:grpSpPr>
            <a:xfrm flipV="1">
              <a:off x="8869038" y="5003058"/>
              <a:ext cx="294351" cy="778198"/>
              <a:chOff x="2590196" y="2060110"/>
              <a:chExt cx="220763" cy="583648"/>
            </a:xfrm>
          </p:grpSpPr>
          <p:sp>
            <p:nvSpPr>
              <p:cNvPr id="67" name="矩形 66"/>
              <p:cNvSpPr/>
              <p:nvPr/>
            </p:nvSpPr>
            <p:spPr>
              <a:xfrm>
                <a:off x="2590196" y="2352639"/>
                <a:ext cx="220685" cy="29111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68" name="矩形 67"/>
              <p:cNvSpPr/>
              <p:nvPr/>
            </p:nvSpPr>
            <p:spPr>
              <a:xfrm flipV="1">
                <a:off x="2590274" y="2060110"/>
                <a:ext cx="220685" cy="291119"/>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nvGrpSpPr>
            <p:cNvPr id="64" name="组合 53"/>
            <p:cNvGrpSpPr/>
            <p:nvPr/>
          </p:nvGrpSpPr>
          <p:grpSpPr>
            <a:xfrm flipV="1">
              <a:off x="9174074" y="5077134"/>
              <a:ext cx="294351" cy="630056"/>
              <a:chOff x="2818973" y="2115663"/>
              <a:chExt cx="220763" cy="472542"/>
            </a:xfrm>
          </p:grpSpPr>
          <p:sp>
            <p:nvSpPr>
              <p:cNvPr id="65" name="矩形 64"/>
              <p:cNvSpPr/>
              <p:nvPr/>
            </p:nvSpPr>
            <p:spPr>
              <a:xfrm>
                <a:off x="2818973" y="2352639"/>
                <a:ext cx="220685" cy="23556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sp>
            <p:nvSpPr>
              <p:cNvPr id="66" name="矩形 65"/>
              <p:cNvSpPr/>
              <p:nvPr/>
            </p:nvSpPr>
            <p:spPr>
              <a:xfrm flipV="1">
                <a:off x="2819051" y="2115663"/>
                <a:ext cx="220685" cy="235566"/>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565"/>
                <a:endParaRPr lang="zh-CN" altLang="en-US" sz="2400">
                  <a:solidFill>
                    <a:prstClr val="white"/>
                  </a:solidFill>
                </a:endParaRPr>
              </a:p>
            </p:txBody>
          </p:sp>
        </p:grpSp>
      </p:grpSp>
    </p:spTree>
    <p:custDataLst>
      <p:tags r:id="rId11"/>
    </p:custDataLst>
  </p:cSld>
  <p:clrMapOvr>
    <a:masterClrMapping/>
  </p:clrMapOvr>
  <mc:AlternateContent xmlns:mc="http://schemas.openxmlformats.org/markup-compatibility/2006">
    <mc:Choice xmlns:p14="http://schemas.microsoft.com/office/powerpoint/2010/main" Requires="p14">
      <p:transition spd="slow" p14:dur="1300" advTm="4836">
        <p14:pan/>
      </p:transition>
    </mc:Choice>
    <mc:Fallback>
      <p:transition spd="slow" advTm="483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300"/>
                                        <p:tgtEl>
                                          <p:spTgt spid="27"/>
                                        </p:tgtEl>
                                      </p:cBhvr>
                                    </p:animEffect>
                                  </p:childTnLst>
                                </p:cTn>
                              </p:par>
                            </p:childTnLst>
                          </p:cTn>
                        </p:par>
                        <p:par>
                          <p:cTn id="8" fill="hold">
                            <p:stCondLst>
                              <p:cond delay="500"/>
                            </p:stCondLst>
                            <p:childTnLst>
                              <p:par>
                                <p:cTn id="9" presetID="41" presetClass="entr" presetSubtype="0" fill="hold" grpId="0" nodeType="afterEffect">
                                  <p:stCondLst>
                                    <p:cond delay="0"/>
                                  </p:stCondLst>
                                  <p:iterate type="lt">
                                    <p:tmPct val="10000"/>
                                  </p:iterate>
                                  <p:childTnLst>
                                    <p:set>
                                      <p:cBhvr>
                                        <p:cTn id="10" dur="1" fill="hold">
                                          <p:stCondLst>
                                            <p:cond delay="0"/>
                                          </p:stCondLst>
                                        </p:cTn>
                                        <p:tgtEl>
                                          <p:spTgt spid="58"/>
                                        </p:tgtEl>
                                        <p:attrNameLst>
                                          <p:attrName>style.visibility</p:attrName>
                                        </p:attrNameLst>
                                      </p:cBhvr>
                                      <p:to>
                                        <p:strVal val="visible"/>
                                      </p:to>
                                    </p:set>
                                    <p:anim calcmode="lin" valueType="num">
                                      <p:cBhvr>
                                        <p:cTn id="11" dur="500" fill="hold"/>
                                        <p:tgtEl>
                                          <p:spTgt spid="58"/>
                                        </p:tgtEl>
                                        <p:attrNameLst>
                                          <p:attrName>ppt_x</p:attrName>
                                        </p:attrNameLst>
                                      </p:cBhvr>
                                      <p:tavLst>
                                        <p:tav tm="0">
                                          <p:val>
                                            <p:strVal val="#ppt_x"/>
                                          </p:val>
                                        </p:tav>
                                        <p:tav tm="50000">
                                          <p:val>
                                            <p:strVal val="#ppt_x+.1"/>
                                          </p:val>
                                        </p:tav>
                                        <p:tav tm="100000">
                                          <p:val>
                                            <p:strVal val="#ppt_x"/>
                                          </p:val>
                                        </p:tav>
                                      </p:tavLst>
                                    </p:anim>
                                    <p:anim calcmode="lin" valueType="num">
                                      <p:cBhvr>
                                        <p:cTn id="12" dur="500" fill="hold"/>
                                        <p:tgtEl>
                                          <p:spTgt spid="58"/>
                                        </p:tgtEl>
                                        <p:attrNameLst>
                                          <p:attrName>ppt_y</p:attrName>
                                        </p:attrNameLst>
                                      </p:cBhvr>
                                      <p:tavLst>
                                        <p:tav tm="0">
                                          <p:val>
                                            <p:strVal val="#ppt_y"/>
                                          </p:val>
                                        </p:tav>
                                        <p:tav tm="100000">
                                          <p:val>
                                            <p:strVal val="#ppt_y"/>
                                          </p:val>
                                        </p:tav>
                                      </p:tavLst>
                                    </p:anim>
                                    <p:anim calcmode="lin" valueType="num">
                                      <p:cBhvr>
                                        <p:cTn id="13" dur="500" fill="hold"/>
                                        <p:tgtEl>
                                          <p:spTgt spid="58"/>
                                        </p:tgtEl>
                                        <p:attrNameLst>
                                          <p:attrName>ppt_h</p:attrName>
                                        </p:attrNameLst>
                                      </p:cBhvr>
                                      <p:tavLst>
                                        <p:tav tm="0">
                                          <p:val>
                                            <p:strVal val="#ppt_h/10"/>
                                          </p:val>
                                        </p:tav>
                                        <p:tav tm="50000">
                                          <p:val>
                                            <p:strVal val="#ppt_h+.01"/>
                                          </p:val>
                                        </p:tav>
                                        <p:tav tm="100000">
                                          <p:val>
                                            <p:strVal val="#ppt_h"/>
                                          </p:val>
                                        </p:tav>
                                      </p:tavLst>
                                    </p:anim>
                                    <p:anim calcmode="lin" valueType="num">
                                      <p:cBhvr>
                                        <p:cTn id="14" dur="500" fill="hold"/>
                                        <p:tgtEl>
                                          <p:spTgt spid="58"/>
                                        </p:tgtEl>
                                        <p:attrNameLst>
                                          <p:attrName>ppt_w</p:attrName>
                                        </p:attrNameLst>
                                      </p:cBhvr>
                                      <p:tavLst>
                                        <p:tav tm="0">
                                          <p:val>
                                            <p:strVal val="#ppt_w/10"/>
                                          </p:val>
                                        </p:tav>
                                        <p:tav tm="50000">
                                          <p:val>
                                            <p:strVal val="#ppt_w+.01"/>
                                          </p:val>
                                        </p:tav>
                                        <p:tav tm="100000">
                                          <p:val>
                                            <p:strVal val="#ppt_w"/>
                                          </p:val>
                                        </p:tav>
                                      </p:tavLst>
                                    </p:anim>
                                    <p:animEffect transition="in" filter="fade">
                                      <p:cBhvr>
                                        <p:cTn id="15" dur="500" tmFilter="0,0; .5, 1; 1, 1"/>
                                        <p:tgtEl>
                                          <p:spTgt spid="58"/>
                                        </p:tgtEl>
                                      </p:cBhvr>
                                    </p:animEffect>
                                  </p:childTnLst>
                                </p:cTn>
                              </p:par>
                            </p:childTnLst>
                          </p:cTn>
                        </p:par>
                      </p:childTnLst>
                    </p:cTn>
                  </p:par>
                  <p:par>
                    <p:cTn id="16" fill="hold">
                      <p:stCondLst>
                        <p:cond delay="indefinite"/>
                      </p:stCondLst>
                      <p:childTnLst>
                        <p:par>
                          <p:cTn id="17" fill="hold">
                            <p:stCondLst>
                              <p:cond delay="0"/>
                            </p:stCondLst>
                            <p:childTnLst>
                              <p:par>
                                <p:cTn id="18" presetID="12" presetClass="entr" presetSubtype="8" fill="hold" nodeType="clickEffect">
                                  <p:stCondLst>
                                    <p:cond delay="0"/>
                                  </p:stCondLst>
                                  <p:childTnLst>
                                    <p:set>
                                      <p:cBhvr>
                                        <p:cTn id="19" dur="1" fill="hold">
                                          <p:stCondLst>
                                            <p:cond delay="0"/>
                                          </p:stCondLst>
                                        </p:cTn>
                                        <p:tgtEl>
                                          <p:spTgt spid="32"/>
                                        </p:tgtEl>
                                        <p:attrNameLst>
                                          <p:attrName>style.visibility</p:attrName>
                                        </p:attrNameLst>
                                      </p:cBhvr>
                                      <p:to>
                                        <p:strVal val="visible"/>
                                      </p:to>
                                    </p:set>
                                    <p:anim calcmode="lin" valueType="num">
                                      <p:cBhvr additive="base">
                                        <p:cTn id="20" dur="500"/>
                                        <p:tgtEl>
                                          <p:spTgt spid="32"/>
                                        </p:tgtEl>
                                        <p:attrNameLst>
                                          <p:attrName>ppt_x</p:attrName>
                                        </p:attrNameLst>
                                      </p:cBhvr>
                                      <p:tavLst>
                                        <p:tav tm="0">
                                          <p:val>
                                            <p:strVal val="#ppt_x-#ppt_w*1.125000"/>
                                          </p:val>
                                        </p:tav>
                                        <p:tav tm="100000">
                                          <p:val>
                                            <p:strVal val="#ppt_x"/>
                                          </p:val>
                                        </p:tav>
                                      </p:tavLst>
                                    </p:anim>
                                    <p:animEffect transition="in" filter="wipe(right)">
                                      <p:cBhvr>
                                        <p:cTn id="21" dur="500"/>
                                        <p:tgtEl>
                                          <p:spTgt spid="32"/>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48"/>
                                        </p:tgtEl>
                                        <p:attrNameLst>
                                          <p:attrName>style.visibility</p:attrName>
                                        </p:attrNameLst>
                                      </p:cBhvr>
                                      <p:to>
                                        <p:strVal val="visible"/>
                                      </p:to>
                                    </p:set>
                                    <p:animEffect transition="in" filter="wipe(left)">
                                      <p:cBhvr>
                                        <p:cTn id="26" dur="1000"/>
                                        <p:tgtEl>
                                          <p:spTgt spid="4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2000"/>
                                        <p:tgtEl>
                                          <p:spTgt spid="48"/>
                                        </p:tgtEl>
                                      </p:cBhvr>
                                    </p:animEffect>
                                    <p:set>
                                      <p:cBhvr>
                                        <p:cTn id="31" dur="1" fill="hold">
                                          <p:stCondLst>
                                            <p:cond delay="1999"/>
                                          </p:stCondLst>
                                        </p:cTn>
                                        <p:tgtEl>
                                          <p:spTgt spid="48"/>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wipe(left)">
                                      <p:cBhvr>
                                        <p:cTn id="36" dur="1000"/>
                                        <p:tgtEl>
                                          <p:spTgt spid="4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nodeType="clickEffect">
                                  <p:stCondLst>
                                    <p:cond delay="0"/>
                                  </p:stCondLst>
                                  <p:childTnLst>
                                    <p:animEffect transition="out" filter="fade">
                                      <p:cBhvr>
                                        <p:cTn id="40" dur="2000"/>
                                        <p:tgtEl>
                                          <p:spTgt spid="49"/>
                                        </p:tgtEl>
                                      </p:cBhvr>
                                    </p:animEffect>
                                    <p:set>
                                      <p:cBhvr>
                                        <p:cTn id="41" dur="1" fill="hold">
                                          <p:stCondLst>
                                            <p:cond delay="1999"/>
                                          </p:stCondLst>
                                        </p:cTn>
                                        <p:tgtEl>
                                          <p:spTgt spid="49"/>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12289"/>
                                        </p:tgtEl>
                                        <p:attrNameLst>
                                          <p:attrName>style.visibility</p:attrName>
                                        </p:attrNameLst>
                                      </p:cBhvr>
                                      <p:to>
                                        <p:strVal val="visible"/>
                                      </p:to>
                                    </p:set>
                                    <p:animEffect transition="in" filter="wipe(left)">
                                      <p:cBhvr>
                                        <p:cTn id="46" dur="1000"/>
                                        <p:tgtEl>
                                          <p:spTgt spid="12289"/>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xit" presetSubtype="0" fill="hold" nodeType="clickEffect">
                                  <p:stCondLst>
                                    <p:cond delay="0"/>
                                  </p:stCondLst>
                                  <p:childTnLst>
                                    <p:animEffect transition="out" filter="fade">
                                      <p:cBhvr>
                                        <p:cTn id="50" dur="2000"/>
                                        <p:tgtEl>
                                          <p:spTgt spid="12289"/>
                                        </p:tgtEl>
                                      </p:cBhvr>
                                    </p:animEffect>
                                    <p:set>
                                      <p:cBhvr>
                                        <p:cTn id="51" dur="1" fill="hold">
                                          <p:stCondLst>
                                            <p:cond delay="1999"/>
                                          </p:stCondLst>
                                        </p:cTn>
                                        <p:tgtEl>
                                          <p:spTgt spid="12289"/>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22" presetClass="entr" presetSubtype="8" fill="hold" nodeType="clickEffect">
                                  <p:stCondLst>
                                    <p:cond delay="0"/>
                                  </p:stCondLst>
                                  <p:childTnLst>
                                    <p:set>
                                      <p:cBhvr>
                                        <p:cTn id="55" dur="1" fill="hold">
                                          <p:stCondLst>
                                            <p:cond delay="0"/>
                                          </p:stCondLst>
                                        </p:cTn>
                                        <p:tgtEl>
                                          <p:spTgt spid="51"/>
                                        </p:tgtEl>
                                        <p:attrNameLst>
                                          <p:attrName>style.visibility</p:attrName>
                                        </p:attrNameLst>
                                      </p:cBhvr>
                                      <p:to>
                                        <p:strVal val="visible"/>
                                      </p:to>
                                    </p:set>
                                    <p:animEffect transition="in" filter="wipe(left)">
                                      <p:cBhvr>
                                        <p:cTn id="56" dur="1000"/>
                                        <p:tgtEl>
                                          <p:spTgt spid="51"/>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xit" presetSubtype="0" fill="hold" nodeType="clickEffect">
                                  <p:stCondLst>
                                    <p:cond delay="0"/>
                                  </p:stCondLst>
                                  <p:childTnLst>
                                    <p:animEffect transition="out" filter="fade">
                                      <p:cBhvr>
                                        <p:cTn id="60" dur="2000"/>
                                        <p:tgtEl>
                                          <p:spTgt spid="51"/>
                                        </p:tgtEl>
                                      </p:cBhvr>
                                    </p:animEffect>
                                    <p:set>
                                      <p:cBhvr>
                                        <p:cTn id="61" dur="1" fill="hold">
                                          <p:stCondLst>
                                            <p:cond delay="1999"/>
                                          </p:stCondLst>
                                        </p:cTn>
                                        <p:tgtEl>
                                          <p:spTgt spid="51"/>
                                        </p:tgtEl>
                                        <p:attrNameLst>
                                          <p:attrName>style.visibility</p:attrName>
                                        </p:attrNameLst>
                                      </p:cBhvr>
                                      <p:to>
                                        <p:strVal val="hidden"/>
                                      </p:to>
                                    </p:se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nodeType="click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wipe(left)">
                                      <p:cBhvr>
                                        <p:cTn id="66" dur="10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xit" presetSubtype="0" fill="hold" nodeType="clickEffect">
                                  <p:stCondLst>
                                    <p:cond delay="0"/>
                                  </p:stCondLst>
                                  <p:childTnLst>
                                    <p:animEffect transition="out" filter="fade">
                                      <p:cBhvr>
                                        <p:cTn id="70" dur="2000"/>
                                        <p:tgtEl>
                                          <p:spTgt spid="39"/>
                                        </p:tgtEl>
                                      </p:cBhvr>
                                    </p:animEffect>
                                    <p:set>
                                      <p:cBhvr>
                                        <p:cTn id="71" dur="1" fill="hold">
                                          <p:stCondLst>
                                            <p:cond delay="1999"/>
                                          </p:stCondLst>
                                        </p:cTn>
                                        <p:tgtEl>
                                          <p:spTgt spid="39"/>
                                        </p:tgtEl>
                                        <p:attrNameLst>
                                          <p:attrName>style.visibility</p:attrName>
                                        </p:attrNameLst>
                                      </p:cBhvr>
                                      <p:to>
                                        <p:strVal val="hidden"/>
                                      </p:to>
                                    </p:set>
                                  </p:childTnLst>
                                </p:cTn>
                              </p:par>
                            </p:childTnLst>
                          </p:cTn>
                        </p:par>
                      </p:childTnLst>
                    </p:cTn>
                  </p:par>
                  <p:par>
                    <p:cTn id="72" fill="hold">
                      <p:stCondLst>
                        <p:cond delay="indefinite"/>
                      </p:stCondLst>
                      <p:childTnLst>
                        <p:par>
                          <p:cTn id="73" fill="hold">
                            <p:stCondLst>
                              <p:cond delay="0"/>
                            </p:stCondLst>
                            <p:childTnLst>
                              <p:par>
                                <p:cTn id="74" presetID="22" presetClass="entr" presetSubtype="8" fill="hold" nodeType="clickEffect">
                                  <p:stCondLst>
                                    <p:cond delay="0"/>
                                  </p:stCondLst>
                                  <p:childTnLst>
                                    <p:set>
                                      <p:cBhvr>
                                        <p:cTn id="75" dur="1" fill="hold">
                                          <p:stCondLst>
                                            <p:cond delay="0"/>
                                          </p:stCondLst>
                                        </p:cTn>
                                        <p:tgtEl>
                                          <p:spTgt spid="40"/>
                                        </p:tgtEl>
                                        <p:attrNameLst>
                                          <p:attrName>style.visibility</p:attrName>
                                        </p:attrNameLst>
                                      </p:cBhvr>
                                      <p:to>
                                        <p:strVal val="visible"/>
                                      </p:to>
                                    </p:set>
                                    <p:animEffect transition="in" filter="wipe(left)">
                                      <p:cBhvr>
                                        <p:cTn id="76" dur="1000"/>
                                        <p:tgtEl>
                                          <p:spTgt spid="40"/>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xit" presetSubtype="0" fill="hold" nodeType="clickEffect">
                                  <p:stCondLst>
                                    <p:cond delay="0"/>
                                  </p:stCondLst>
                                  <p:childTnLst>
                                    <p:animEffect transition="out" filter="fade">
                                      <p:cBhvr>
                                        <p:cTn id="80" dur="2000"/>
                                        <p:tgtEl>
                                          <p:spTgt spid="40"/>
                                        </p:tgtEl>
                                      </p:cBhvr>
                                    </p:animEffect>
                                    <p:set>
                                      <p:cBhvr>
                                        <p:cTn id="81" dur="1" fill="hold">
                                          <p:stCondLst>
                                            <p:cond delay="1999"/>
                                          </p:stCondLst>
                                        </p:cTn>
                                        <p:tgtEl>
                                          <p:spTgt spid="40"/>
                                        </p:tgtEl>
                                        <p:attrNameLst>
                                          <p:attrName>style.visibility</p:attrName>
                                        </p:attrNameLst>
                                      </p:cBhvr>
                                      <p:to>
                                        <p:strVal val="hidden"/>
                                      </p:to>
                                    </p:set>
                                  </p:childTnLst>
                                </p:cTn>
                              </p:par>
                            </p:childTnLst>
                          </p:cTn>
                        </p:par>
                      </p:childTnLst>
                    </p:cTn>
                  </p:par>
                  <p:par>
                    <p:cTn id="82" fill="hold">
                      <p:stCondLst>
                        <p:cond delay="indefinite"/>
                      </p:stCondLst>
                      <p:childTnLst>
                        <p:par>
                          <p:cTn id="83" fill="hold">
                            <p:stCondLst>
                              <p:cond delay="0"/>
                            </p:stCondLst>
                            <p:childTnLst>
                              <p:par>
                                <p:cTn id="84" presetID="22" presetClass="entr" presetSubtype="8" fill="hold" nodeType="clickEffect">
                                  <p:stCondLst>
                                    <p:cond delay="0"/>
                                  </p:stCondLst>
                                  <p:childTnLst>
                                    <p:set>
                                      <p:cBhvr>
                                        <p:cTn id="85" dur="1" fill="hold">
                                          <p:stCondLst>
                                            <p:cond delay="0"/>
                                          </p:stCondLst>
                                        </p:cTn>
                                        <p:tgtEl>
                                          <p:spTgt spid="52"/>
                                        </p:tgtEl>
                                        <p:attrNameLst>
                                          <p:attrName>style.visibility</p:attrName>
                                        </p:attrNameLst>
                                      </p:cBhvr>
                                      <p:to>
                                        <p:strVal val="visible"/>
                                      </p:to>
                                    </p:set>
                                    <p:animEffect transition="in" filter="wipe(left)">
                                      <p:cBhvr>
                                        <p:cTn id="86" dur="1000"/>
                                        <p:tgtEl>
                                          <p:spTgt spid="52"/>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xit" presetSubtype="0" fill="hold" nodeType="clickEffect">
                                  <p:stCondLst>
                                    <p:cond delay="0"/>
                                  </p:stCondLst>
                                  <p:childTnLst>
                                    <p:animEffect transition="out" filter="fade">
                                      <p:cBhvr>
                                        <p:cTn id="90" dur="2000"/>
                                        <p:tgtEl>
                                          <p:spTgt spid="52"/>
                                        </p:tgtEl>
                                      </p:cBhvr>
                                    </p:animEffect>
                                    <p:set>
                                      <p:cBhvr>
                                        <p:cTn id="91" dur="1" fill="hold">
                                          <p:stCondLst>
                                            <p:cond delay="1999"/>
                                          </p:stCondLst>
                                        </p:cTn>
                                        <p:tgtEl>
                                          <p:spTgt spid="52"/>
                                        </p:tgtEl>
                                        <p:attrNameLst>
                                          <p:attrName>style.visibility</p:attrName>
                                        </p:attrNameLst>
                                      </p:cBhvr>
                                      <p:to>
                                        <p:strVal val="hidden"/>
                                      </p:to>
                                    </p:set>
                                  </p:childTnLst>
                                </p:cTn>
                              </p:par>
                            </p:childTnLst>
                          </p:cTn>
                        </p:par>
                      </p:childTnLst>
                    </p:cTn>
                  </p:par>
                  <p:par>
                    <p:cTn id="92" fill="hold">
                      <p:stCondLst>
                        <p:cond delay="indefinite"/>
                      </p:stCondLst>
                      <p:childTnLst>
                        <p:par>
                          <p:cTn id="93" fill="hold">
                            <p:stCondLst>
                              <p:cond delay="0"/>
                            </p:stCondLst>
                            <p:childTnLst>
                              <p:par>
                                <p:cTn id="94" presetID="22" presetClass="entr" presetSubtype="8" fill="hold" nodeType="clickEffect">
                                  <p:stCondLst>
                                    <p:cond delay="0"/>
                                  </p:stCondLst>
                                  <p:childTnLst>
                                    <p:set>
                                      <p:cBhvr>
                                        <p:cTn id="95" dur="1" fill="hold">
                                          <p:stCondLst>
                                            <p:cond delay="0"/>
                                          </p:stCondLst>
                                        </p:cTn>
                                        <p:tgtEl>
                                          <p:spTgt spid="53"/>
                                        </p:tgtEl>
                                        <p:attrNameLst>
                                          <p:attrName>style.visibility</p:attrName>
                                        </p:attrNameLst>
                                      </p:cBhvr>
                                      <p:to>
                                        <p:strVal val="visible"/>
                                      </p:to>
                                    </p:set>
                                    <p:animEffect transition="in" filter="wipe(left)">
                                      <p:cBhvr>
                                        <p:cTn id="96" dur="1000"/>
                                        <p:tgtEl>
                                          <p:spTgt spid="53"/>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xit" presetSubtype="0" fill="hold" nodeType="clickEffect">
                                  <p:stCondLst>
                                    <p:cond delay="0"/>
                                  </p:stCondLst>
                                  <p:childTnLst>
                                    <p:animEffect transition="out" filter="fade">
                                      <p:cBhvr>
                                        <p:cTn id="100" dur="2000"/>
                                        <p:tgtEl>
                                          <p:spTgt spid="53"/>
                                        </p:tgtEl>
                                      </p:cBhvr>
                                    </p:animEffect>
                                    <p:set>
                                      <p:cBhvr>
                                        <p:cTn id="101" dur="1" fill="hold">
                                          <p:stCondLst>
                                            <p:cond delay="1999"/>
                                          </p:stCondLst>
                                        </p:cTn>
                                        <p:tgtEl>
                                          <p:spTgt spid="53"/>
                                        </p:tgtEl>
                                        <p:attrNameLst>
                                          <p:attrName>style.visibility</p:attrName>
                                        </p:attrNameLst>
                                      </p:cBhvr>
                                      <p:to>
                                        <p:strVal val="hidden"/>
                                      </p:to>
                                    </p:set>
                                  </p:childTnLst>
                                </p:cTn>
                              </p:par>
                            </p:childTnLst>
                          </p:cTn>
                        </p:par>
                      </p:childTnLst>
                    </p:cTn>
                  </p:par>
                  <p:par>
                    <p:cTn id="102" fill="hold">
                      <p:stCondLst>
                        <p:cond delay="indefinite"/>
                      </p:stCondLst>
                      <p:childTnLst>
                        <p:par>
                          <p:cTn id="103" fill="hold">
                            <p:stCondLst>
                              <p:cond delay="0"/>
                            </p:stCondLst>
                            <p:childTnLst>
                              <p:par>
                                <p:cTn id="104" presetID="22" presetClass="entr" presetSubtype="8" fill="hold" nodeType="clickEffect">
                                  <p:stCondLst>
                                    <p:cond delay="0"/>
                                  </p:stCondLst>
                                  <p:childTnLst>
                                    <p:set>
                                      <p:cBhvr>
                                        <p:cTn id="105" dur="1" fill="hold">
                                          <p:stCondLst>
                                            <p:cond delay="0"/>
                                          </p:stCondLst>
                                        </p:cTn>
                                        <p:tgtEl>
                                          <p:spTgt spid="54"/>
                                        </p:tgtEl>
                                        <p:attrNameLst>
                                          <p:attrName>style.visibility</p:attrName>
                                        </p:attrNameLst>
                                      </p:cBhvr>
                                      <p:to>
                                        <p:strVal val="visible"/>
                                      </p:to>
                                    </p:set>
                                    <p:animEffect transition="in" filter="wipe(left)">
                                      <p:cBhvr>
                                        <p:cTn id="106"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0" y="-1"/>
            <a:ext cx="1443043" cy="6858001"/>
            <a:chOff x="0" y="-1"/>
            <a:chExt cx="1443043" cy="6858001"/>
          </a:xfrm>
        </p:grpSpPr>
        <p:sp>
          <p:nvSpPr>
            <p:cNvPr id="3" name="任意多边形 2"/>
            <p:cNvSpPr/>
            <p:nvPr/>
          </p:nvSpPr>
          <p:spPr>
            <a:xfrm rot="16200000" flipV="1">
              <a:off x="-2408598" y="2408598"/>
              <a:ext cx="6260239" cy="1443042"/>
            </a:xfrm>
            <a:custGeom>
              <a:avLst/>
              <a:gdLst>
                <a:gd name="connsiteX0" fmla="*/ 6260239 w 6260239"/>
                <a:gd name="connsiteY0" fmla="*/ 1443042 h 1443042"/>
                <a:gd name="connsiteX1" fmla="*/ 6260239 w 6260239"/>
                <a:gd name="connsiteY1" fmla="*/ 1370077 h 1443042"/>
                <a:gd name="connsiteX2" fmla="*/ 3239468 w 6260239"/>
                <a:gd name="connsiteY2" fmla="*/ 0 h 1443042"/>
                <a:gd name="connsiteX3" fmla="*/ 0 w 6260239"/>
                <a:gd name="connsiteY3" fmla="*/ 1443042 h 1443042"/>
              </a:gdLst>
              <a:ahLst/>
              <a:cxnLst>
                <a:cxn ang="0">
                  <a:pos x="connsiteX0" y="connsiteY0"/>
                </a:cxn>
                <a:cxn ang="0">
                  <a:pos x="connsiteX1" y="connsiteY1"/>
                </a:cxn>
                <a:cxn ang="0">
                  <a:pos x="connsiteX2" y="connsiteY2"/>
                </a:cxn>
                <a:cxn ang="0">
                  <a:pos x="connsiteX3" y="connsiteY3"/>
                </a:cxn>
              </a:cxnLst>
              <a:rect l="l" t="t" r="r" b="b"/>
              <a:pathLst>
                <a:path w="6260239" h="1443042">
                  <a:moveTo>
                    <a:pt x="6260239" y="1443042"/>
                  </a:moveTo>
                  <a:lnTo>
                    <a:pt x="6260239" y="1370077"/>
                  </a:lnTo>
                  <a:lnTo>
                    <a:pt x="3239468" y="0"/>
                  </a:lnTo>
                  <a:lnTo>
                    <a:pt x="0" y="1443042"/>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任意多边形 1"/>
            <p:cNvSpPr/>
            <p:nvPr/>
          </p:nvSpPr>
          <p:spPr>
            <a:xfrm rot="16200000" flipV="1">
              <a:off x="-2476738" y="2938220"/>
              <a:ext cx="6396518" cy="1443041"/>
            </a:xfrm>
            <a:custGeom>
              <a:avLst/>
              <a:gdLst>
                <a:gd name="connsiteX0" fmla="*/ 6396518 w 6396518"/>
                <a:gd name="connsiteY0" fmla="*/ 1443041 h 1443041"/>
                <a:gd name="connsiteX1" fmla="*/ 3214875 w 6396518"/>
                <a:gd name="connsiteY1" fmla="*/ 0 h 1443041"/>
                <a:gd name="connsiteX2" fmla="*/ 0 w 6396518"/>
                <a:gd name="connsiteY2" fmla="*/ 1432086 h 1443041"/>
                <a:gd name="connsiteX3" fmla="*/ 0 w 6396518"/>
                <a:gd name="connsiteY3" fmla="*/ 1443041 h 1443041"/>
              </a:gdLst>
              <a:ahLst/>
              <a:cxnLst>
                <a:cxn ang="0">
                  <a:pos x="connsiteX0" y="connsiteY0"/>
                </a:cxn>
                <a:cxn ang="0">
                  <a:pos x="connsiteX1" y="connsiteY1"/>
                </a:cxn>
                <a:cxn ang="0">
                  <a:pos x="connsiteX2" y="connsiteY2"/>
                </a:cxn>
                <a:cxn ang="0">
                  <a:pos x="connsiteX3" y="connsiteY3"/>
                </a:cxn>
              </a:cxnLst>
              <a:rect l="l" t="t" r="r" b="b"/>
              <a:pathLst>
                <a:path w="6396518" h="1443041">
                  <a:moveTo>
                    <a:pt x="6396518" y="1443041"/>
                  </a:moveTo>
                  <a:lnTo>
                    <a:pt x="3214875" y="0"/>
                  </a:lnTo>
                  <a:lnTo>
                    <a:pt x="0" y="1432086"/>
                  </a:lnTo>
                  <a:lnTo>
                    <a:pt x="0" y="1443041"/>
                  </a:ln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 name="TextBox 4"/>
          <p:cNvSpPr txBox="1"/>
          <p:nvPr/>
        </p:nvSpPr>
        <p:spPr>
          <a:xfrm>
            <a:off x="1666050" y="2000240"/>
            <a:ext cx="8715436" cy="369332"/>
          </a:xfrm>
          <a:prstGeom prst="rect">
            <a:avLst/>
          </a:prstGeom>
          <a:noFill/>
        </p:spPr>
        <p:txBody>
          <a:bodyPr wrap="square" rtlCol="0" anchor="ctr">
            <a:spAutoFit/>
          </a:bodyPr>
          <a:lstStyle/>
          <a:p>
            <a:endParaRPr lang="zh-CN" altLang="en-US" dirty="0" smtClean="0">
              <a:latin typeface="微软雅黑" panose="020B0503020204020204" pitchFamily="34" charset="-122"/>
              <a:ea typeface="微软雅黑" panose="020B0503020204020204" pitchFamily="34" charset="-122"/>
            </a:endParaRPr>
          </a:p>
        </p:txBody>
      </p:sp>
      <p:sp>
        <p:nvSpPr>
          <p:cNvPr id="6" name="矩形 5"/>
          <p:cNvSpPr/>
          <p:nvPr/>
        </p:nvSpPr>
        <p:spPr>
          <a:xfrm>
            <a:off x="3594876" y="2285992"/>
            <a:ext cx="6429420" cy="2185214"/>
          </a:xfrm>
          <a:prstGeom prst="rect">
            <a:avLst/>
          </a:prstGeom>
        </p:spPr>
        <p:txBody>
          <a:bodyPr wrap="square">
            <a:spAutoFit/>
          </a:bodyPr>
          <a:lstStyle/>
          <a:p>
            <a:pPr lvl="0"/>
            <a:r>
              <a:rPr lang="en-US" altLang="x-none" sz="4800" dirty="0" smtClean="0">
                <a:latin typeface="微软雅黑" panose="020B0503020204020204" pitchFamily="34" charset="-122"/>
                <a:ea typeface="微软雅黑" panose="020B0503020204020204" pitchFamily="34" charset="-122"/>
              </a:rPr>
              <a:t>CHAPTER  </a:t>
            </a:r>
            <a:r>
              <a:rPr lang="en-US" altLang="zh-CN" sz="4800" dirty="0" smtClean="0">
                <a:latin typeface="微软雅黑" panose="020B0503020204020204" pitchFamily="34" charset="-122"/>
                <a:ea typeface="微软雅黑" panose="020B0503020204020204" pitchFamily="34" charset="-122"/>
              </a:rPr>
              <a:t>FOUR</a:t>
            </a:r>
            <a:endParaRPr lang="en-US" altLang="x-none" sz="4800" dirty="0" smtClean="0">
              <a:latin typeface="微软雅黑" panose="020B0503020204020204" pitchFamily="34" charset="-122"/>
              <a:ea typeface="微软雅黑" panose="020B0503020204020204" pitchFamily="34" charset="-122"/>
            </a:endParaRPr>
          </a:p>
          <a:p>
            <a:pPr lvl="0"/>
            <a:endParaRPr lang="en-US" altLang="zh-CN" sz="4800" b="1" dirty="0" smtClean="0">
              <a:latin typeface="微软雅黑" panose="020B0503020204020204" pitchFamily="34" charset="-122"/>
              <a:ea typeface="微软雅黑" panose="020B0503020204020204" pitchFamily="34" charset="-122"/>
            </a:endParaRPr>
          </a:p>
          <a:p>
            <a:pPr lvl="0"/>
            <a:r>
              <a:rPr lang="zh-CN" altLang="en-US" sz="4000" dirty="0" smtClean="0">
                <a:latin typeface="Segoe UI Light" panose="020B0502040204020203" pitchFamily="2" charset="0"/>
                <a:ea typeface="微软雅黑" panose="020B0503020204020204" pitchFamily="34" charset="-122"/>
              </a:rPr>
              <a:t> 成长之约</a:t>
            </a:r>
            <a:endParaRPr lang="zh-CN" altLang="en-US" sz="4000" dirty="0">
              <a:latin typeface="Segoe UI Light" panose="020B0502040204020203" pitchFamily="2" charset="0"/>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10" advClick="0" advTm="3178"/>
    </mc:Choice>
    <mc:Fallback>
      <p:transition advClick="0" advTm="31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41" name="矩形 40"/>
          <p:cNvSpPr/>
          <p:nvPr/>
        </p:nvSpPr>
        <p:spPr>
          <a:xfrm>
            <a:off x="0" y="3523645"/>
            <a:ext cx="1020657" cy="1405553"/>
          </a:xfrm>
          <a:prstGeom prst="rect">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400" dirty="0" smtClean="0">
                <a:solidFill>
                  <a:srgbClr val="41A0DA"/>
                </a:solidFill>
                <a:latin typeface="Pirulen" panose="02000807050000020004" pitchFamily="2" charset="0"/>
              </a:rPr>
              <a:t>02</a:t>
            </a:r>
            <a:endParaRPr lang="zh-CN" altLang="en-US" sz="2400" dirty="0">
              <a:solidFill>
                <a:srgbClr val="41A0DA"/>
              </a:solidFill>
              <a:latin typeface="Pirulen" panose="02000807050000020004" pitchFamily="2" charset="0"/>
            </a:endParaRPr>
          </a:p>
        </p:txBody>
      </p:sp>
      <p:sp>
        <p:nvSpPr>
          <p:cNvPr id="42" name="矩形 41"/>
          <p:cNvSpPr/>
          <p:nvPr/>
        </p:nvSpPr>
        <p:spPr>
          <a:xfrm>
            <a:off x="0" y="2143117"/>
            <a:ext cx="1023108" cy="1391320"/>
          </a:xfrm>
          <a:prstGeom prst="rect">
            <a:avLst/>
          </a:prstGeom>
          <a:solidFill>
            <a:schemeClr val="accent5">
              <a:lumMod val="20000"/>
              <a:lumOff val="80000"/>
              <a:alpha val="8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400" dirty="0" smtClean="0">
                <a:solidFill>
                  <a:schemeClr val="tx1"/>
                </a:solidFill>
                <a:latin typeface="Pirulen" panose="02000807050000020004" pitchFamily="2" charset="0"/>
              </a:rPr>
              <a:t>01</a:t>
            </a:r>
            <a:endParaRPr lang="zh-CN" altLang="en-US" sz="2400" dirty="0">
              <a:solidFill>
                <a:schemeClr val="tx1"/>
              </a:solidFill>
              <a:latin typeface="Pirulen" panose="02000807050000020004" pitchFamily="2" charset="0"/>
            </a:endParaRPr>
          </a:p>
        </p:txBody>
      </p:sp>
      <p:sp>
        <p:nvSpPr>
          <p:cNvPr id="49" name="矩形 28"/>
          <p:cNvSpPr/>
          <p:nvPr/>
        </p:nvSpPr>
        <p:spPr>
          <a:xfrm>
            <a:off x="1020659" y="2143117"/>
            <a:ext cx="1995170" cy="1392776"/>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33980"/>
              <a:gd name="connsiteY0-72" fmla="*/ 0 h 1007543"/>
              <a:gd name="connsiteX1-73" fmla="*/ 1829887 w 1833980"/>
              <a:gd name="connsiteY1-74" fmla="*/ 273050 h 1007543"/>
              <a:gd name="connsiteX2-75" fmla="*/ 1833856 w 1833980"/>
              <a:gd name="connsiteY2-76" fmla="*/ 1001193 h 1007543"/>
              <a:gd name="connsiteX3-77" fmla="*/ 0 w 1833980"/>
              <a:gd name="connsiteY3-78" fmla="*/ 1007543 h 1007543"/>
              <a:gd name="connsiteX4-79" fmla="*/ 0 w 1833980"/>
              <a:gd name="connsiteY4-80" fmla="*/ 0 h 1007543"/>
              <a:gd name="connsiteX0-81" fmla="*/ 0 w 1829887"/>
              <a:gd name="connsiteY0-82" fmla="*/ 0 h 1007543"/>
              <a:gd name="connsiteX1-83" fmla="*/ 1829887 w 1829887"/>
              <a:gd name="connsiteY1-84" fmla="*/ 273050 h 1007543"/>
              <a:gd name="connsiteX2-85" fmla="*/ 1829093 w 1829887"/>
              <a:gd name="connsiteY2-86" fmla="*/ 1003575 h 1007543"/>
              <a:gd name="connsiteX3-87" fmla="*/ 0 w 1829887"/>
              <a:gd name="connsiteY3-88" fmla="*/ 1007543 h 1007543"/>
              <a:gd name="connsiteX4-89" fmla="*/ 0 w 1829887"/>
              <a:gd name="connsiteY4-90" fmla="*/ 0 h 100754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29887" h="1007543">
                <a:moveTo>
                  <a:pt x="0" y="0"/>
                </a:moveTo>
                <a:lnTo>
                  <a:pt x="1829887" y="273050"/>
                </a:lnTo>
                <a:cubicBezTo>
                  <a:pt x="1828829" y="608898"/>
                  <a:pt x="1830151" y="667727"/>
                  <a:pt x="1829093" y="1003575"/>
                </a:cubicBezTo>
                <a:lnTo>
                  <a:pt x="0" y="1007543"/>
                </a:lnTo>
                <a:lnTo>
                  <a:pt x="0" y="0"/>
                </a:lnTo>
                <a:close/>
              </a:path>
            </a:pathLst>
          </a:custGeom>
          <a:solidFill>
            <a:schemeClr val="accent5">
              <a:lumMod val="40000"/>
              <a:lumOff val="6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0" name="矩形 28"/>
          <p:cNvSpPr/>
          <p:nvPr/>
        </p:nvSpPr>
        <p:spPr>
          <a:xfrm>
            <a:off x="1020658" y="3528378"/>
            <a:ext cx="1999707" cy="1400820"/>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29887"/>
              <a:gd name="connsiteY0-72" fmla="*/ 0 h 1001193"/>
              <a:gd name="connsiteX1-73" fmla="*/ 1829887 w 1829887"/>
              <a:gd name="connsiteY1-74" fmla="*/ 273050 h 1001193"/>
              <a:gd name="connsiteX2-75" fmla="*/ 1826712 w 1829887"/>
              <a:gd name="connsiteY2-76" fmla="*/ 1001193 h 1001193"/>
              <a:gd name="connsiteX3-77" fmla="*/ 0 w 1829887"/>
              <a:gd name="connsiteY3-78" fmla="*/ 998018 h 1001193"/>
              <a:gd name="connsiteX4-79" fmla="*/ 0 w 1829887"/>
              <a:gd name="connsiteY4-80" fmla="*/ 0 h 1001193"/>
              <a:gd name="connsiteX0-81" fmla="*/ 0 w 1832268"/>
              <a:gd name="connsiteY0-82" fmla="*/ 5556 h 1006749"/>
              <a:gd name="connsiteX1-83" fmla="*/ 1832268 w 1832268"/>
              <a:gd name="connsiteY1-84" fmla="*/ 0 h 1006749"/>
              <a:gd name="connsiteX2-85" fmla="*/ 1826712 w 1832268"/>
              <a:gd name="connsiteY2-86" fmla="*/ 1006749 h 1006749"/>
              <a:gd name="connsiteX3-87" fmla="*/ 0 w 1832268"/>
              <a:gd name="connsiteY3-88" fmla="*/ 1003574 h 1006749"/>
              <a:gd name="connsiteX4-89" fmla="*/ 0 w 1832268"/>
              <a:gd name="connsiteY4-90" fmla="*/ 5556 h 1006749"/>
              <a:gd name="connsiteX0-91" fmla="*/ 0 w 1832268"/>
              <a:gd name="connsiteY0-92" fmla="*/ 5556 h 1003574"/>
              <a:gd name="connsiteX1-93" fmla="*/ 1832268 w 1832268"/>
              <a:gd name="connsiteY1-94" fmla="*/ 0 h 1003574"/>
              <a:gd name="connsiteX2-95" fmla="*/ 1829093 w 1832268"/>
              <a:gd name="connsiteY2-96" fmla="*/ 720999 h 1003574"/>
              <a:gd name="connsiteX3-97" fmla="*/ 0 w 1832268"/>
              <a:gd name="connsiteY3-98" fmla="*/ 1003574 h 1003574"/>
              <a:gd name="connsiteX4-99" fmla="*/ 0 w 1832268"/>
              <a:gd name="connsiteY4-100" fmla="*/ 5556 h 1003574"/>
              <a:gd name="connsiteX0-101" fmla="*/ 0 w 1834048"/>
              <a:gd name="connsiteY0-102" fmla="*/ 5556 h 1003574"/>
              <a:gd name="connsiteX1-103" fmla="*/ 1832268 w 1834048"/>
              <a:gd name="connsiteY1-104" fmla="*/ 0 h 1003574"/>
              <a:gd name="connsiteX2-105" fmla="*/ 1833856 w 1834048"/>
              <a:gd name="connsiteY2-106" fmla="*/ 720999 h 1003574"/>
              <a:gd name="connsiteX3-107" fmla="*/ 0 w 1834048"/>
              <a:gd name="connsiteY3-108" fmla="*/ 1003574 h 1003574"/>
              <a:gd name="connsiteX4-109" fmla="*/ 0 w 1834048"/>
              <a:gd name="connsiteY4-110" fmla="*/ 5556 h 100357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34048" h="1003574">
                <a:moveTo>
                  <a:pt x="0" y="5556"/>
                </a:moveTo>
                <a:lnTo>
                  <a:pt x="1832268" y="0"/>
                </a:lnTo>
                <a:cubicBezTo>
                  <a:pt x="1831210" y="335848"/>
                  <a:pt x="1834914" y="385151"/>
                  <a:pt x="1833856" y="720999"/>
                </a:cubicBezTo>
                <a:lnTo>
                  <a:pt x="0" y="1003574"/>
                </a:lnTo>
                <a:lnTo>
                  <a:pt x="0" y="5556"/>
                </a:lnTo>
                <a:close/>
              </a:path>
            </a:pathLst>
          </a:custGeom>
          <a:solidFill>
            <a:schemeClr val="accent1">
              <a:lumMod val="60000"/>
              <a:lumOff val="4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Freeform 144"/>
          <p:cNvSpPr>
            <a:spLocks noEditPoints="1"/>
          </p:cNvSpPr>
          <p:nvPr/>
        </p:nvSpPr>
        <p:spPr bwMode="black">
          <a:xfrm>
            <a:off x="1789006" y="2767629"/>
            <a:ext cx="373969" cy="660050"/>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noFill/>
          <a:ln w="19050">
            <a:solidFill>
              <a:schemeClr val="bg1"/>
            </a:solidFill>
          </a:ln>
        </p:spPr>
        <p:txBody>
          <a:bodyPr vert="horz" wrap="square" lIns="68589" tIns="34295" rIns="68589" bIns="34295" numCol="1" anchor="t" anchorCtr="0" compatLnSpc="1"/>
          <a:lstStyle/>
          <a:p>
            <a:endParaRPr lang="en-US"/>
          </a:p>
        </p:txBody>
      </p:sp>
      <p:pic>
        <p:nvPicPr>
          <p:cNvPr id="53" name="Picture 34" descr="Efficiency.png"/>
          <p:cNvPicPr>
            <a:picLocks noChangeAspect="1"/>
          </p:cNvPicPr>
          <p:nvPr/>
        </p:nvPicPr>
        <p:blipFill>
          <a:blip r:embed="rId1" cstate="print"/>
          <a:srcRect/>
          <a:stretch>
            <a:fillRect/>
          </a:stretch>
        </p:blipFill>
        <p:spPr bwMode="auto">
          <a:xfrm>
            <a:off x="1570854" y="3635556"/>
            <a:ext cx="810268" cy="752012"/>
          </a:xfrm>
          <a:prstGeom prst="rect">
            <a:avLst/>
          </a:prstGeom>
          <a:noFill/>
          <a:ln>
            <a:noFill/>
          </a:ln>
        </p:spPr>
      </p:pic>
      <p:sp>
        <p:nvSpPr>
          <p:cNvPr id="68" name="等腰三角形 67"/>
          <p:cNvSpPr/>
          <p:nvPr/>
        </p:nvSpPr>
        <p:spPr>
          <a:xfrm rot="5400000">
            <a:off x="4050278" y="1462398"/>
            <a:ext cx="1025542" cy="3101364"/>
          </a:xfrm>
          <a:custGeom>
            <a:avLst/>
            <a:gdLst/>
            <a:ahLst/>
            <a:cxnLst/>
            <a:rect l="l" t="t" r="r" b="b"/>
            <a:pathLst>
              <a:path w="792185" h="3101364">
                <a:moveTo>
                  <a:pt x="0" y="3101364"/>
                </a:moveTo>
                <a:lnTo>
                  <a:pt x="0" y="245938"/>
                </a:lnTo>
                <a:lnTo>
                  <a:pt x="253447" y="245938"/>
                </a:lnTo>
                <a:lnTo>
                  <a:pt x="396091" y="0"/>
                </a:lnTo>
                <a:lnTo>
                  <a:pt x="538735" y="245938"/>
                </a:lnTo>
                <a:lnTo>
                  <a:pt x="792185" y="245938"/>
                </a:lnTo>
                <a:lnTo>
                  <a:pt x="792185" y="3101364"/>
                </a:lnTo>
                <a:close/>
              </a:path>
            </a:pathLst>
          </a:custGeom>
          <a:solidFill>
            <a:schemeClr val="accent5">
              <a:lumMod val="40000"/>
              <a:lumOff val="60000"/>
              <a:alpha val="8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zh-CN" altLang="en-US" sz="2000" dirty="0" smtClean="0">
                <a:solidFill>
                  <a:schemeClr val="tx1"/>
                </a:solidFill>
                <a:latin typeface="微软雅黑" panose="020B0503020204020204" pitchFamily="34" charset="-122"/>
                <a:ea typeface="微软雅黑" panose="020B0503020204020204" pitchFamily="34" charset="-122"/>
              </a:rPr>
              <a:t>新梯销售</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69" name="等腰三角形 68"/>
          <p:cNvSpPr/>
          <p:nvPr/>
        </p:nvSpPr>
        <p:spPr>
          <a:xfrm rot="5400000">
            <a:off x="4041235" y="2499512"/>
            <a:ext cx="1043628" cy="3101364"/>
          </a:xfrm>
          <a:custGeom>
            <a:avLst/>
            <a:gdLst/>
            <a:ahLst/>
            <a:cxnLst/>
            <a:rect l="l" t="t" r="r" b="b"/>
            <a:pathLst>
              <a:path w="792185" h="3101364">
                <a:moveTo>
                  <a:pt x="0" y="3101364"/>
                </a:moveTo>
                <a:lnTo>
                  <a:pt x="0" y="245938"/>
                </a:lnTo>
                <a:lnTo>
                  <a:pt x="253447" y="245938"/>
                </a:lnTo>
                <a:lnTo>
                  <a:pt x="396091" y="0"/>
                </a:lnTo>
                <a:lnTo>
                  <a:pt x="538735" y="245938"/>
                </a:lnTo>
                <a:lnTo>
                  <a:pt x="792185" y="245938"/>
                </a:lnTo>
                <a:lnTo>
                  <a:pt x="792185" y="3101364"/>
                </a:lnTo>
                <a:close/>
              </a:path>
            </a:pathLst>
          </a:cu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zh-CN" altLang="en-US" sz="2000" dirty="0" smtClean="0">
                <a:solidFill>
                  <a:schemeClr val="tx1"/>
                </a:solidFill>
                <a:latin typeface="微软雅黑" panose="020B0503020204020204" pitchFamily="34" charset="-122"/>
                <a:ea typeface="微软雅黑" panose="020B0503020204020204" pitchFamily="34" charset="-122"/>
              </a:rPr>
              <a:t>服务销售</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87" name="TextBox 86"/>
          <p:cNvSpPr txBox="1"/>
          <p:nvPr/>
        </p:nvSpPr>
        <p:spPr>
          <a:xfrm>
            <a:off x="6309520" y="2643182"/>
            <a:ext cx="3888432"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负责所辖区域销售指标的达成、完市场信息的收集及市场动态的把握。</a:t>
            </a:r>
            <a:endParaRPr lang="zh-CN" altLang="en-US" sz="1600" dirty="0">
              <a:latin typeface="微软雅黑" panose="020B0503020204020204" pitchFamily="34" charset="-122"/>
              <a:ea typeface="微软雅黑" panose="020B0503020204020204" pitchFamily="34" charset="-122"/>
            </a:endParaRPr>
          </a:p>
        </p:txBody>
      </p:sp>
      <p:sp>
        <p:nvSpPr>
          <p:cNvPr id="88" name="TextBox 87"/>
          <p:cNvSpPr txBox="1"/>
          <p:nvPr/>
        </p:nvSpPr>
        <p:spPr>
          <a:xfrm>
            <a:off x="6311230" y="3549534"/>
            <a:ext cx="3888432" cy="105259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负责辖区电梯三包、有偿保养、大修改造、质保金等欠款的回收，提高用户满意度，提高电梯到期续签、回签率。</a:t>
            </a:r>
            <a:endParaRPr lang="zh-CN" altLang="en-US" sz="1600" dirty="0">
              <a:latin typeface="微软雅黑" panose="020B0503020204020204" pitchFamily="34" charset="-122"/>
              <a:ea typeface="微软雅黑" panose="020B0503020204020204" pitchFamily="34" charset="-122"/>
            </a:endParaRPr>
          </a:p>
        </p:txBody>
      </p:sp>
      <p:sp>
        <p:nvSpPr>
          <p:cNvPr id="3" name="右大括号 2"/>
          <p:cNvSpPr/>
          <p:nvPr/>
        </p:nvSpPr>
        <p:spPr>
          <a:xfrm>
            <a:off x="10381486" y="2571744"/>
            <a:ext cx="252122" cy="1906763"/>
          </a:xfrm>
          <a:prstGeom prst="rightBrac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0" name="TextBox 89"/>
          <p:cNvSpPr txBox="1"/>
          <p:nvPr/>
        </p:nvSpPr>
        <p:spPr>
          <a:xfrm>
            <a:off x="10737626" y="3149748"/>
            <a:ext cx="1152128" cy="1052596"/>
          </a:xfrm>
          <a:prstGeom prst="rect">
            <a:avLst/>
          </a:prstGeom>
          <a:noFill/>
        </p:spPr>
        <p:txBody>
          <a:bodyPr wrap="square" rtlCol="0">
            <a:spAutoFit/>
          </a:bodyPr>
          <a:lstStyle/>
          <a:p>
            <a:pPr>
              <a:lnSpc>
                <a:spcPct val="130000"/>
              </a:lnSpc>
            </a:pPr>
            <a:r>
              <a:rPr lang="zh-CN" altLang="en-US" sz="1600"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rPr>
              <a:t>专业不限</a:t>
            </a:r>
            <a:endParaRPr lang="en-US" altLang="zh-CN" sz="1600"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endParaRPr>
          </a:p>
          <a:p>
            <a:pPr>
              <a:lnSpc>
                <a:spcPct val="130000"/>
              </a:lnSpc>
            </a:pPr>
            <a:r>
              <a:rPr lang="zh-CN" altLang="en-US" sz="1600"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rPr>
              <a:t>工作地点山东省内</a:t>
            </a:r>
            <a:endParaRPr lang="zh-CN" altLang="en-US" sz="1600" dirty="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endParaRPr>
          </a:p>
        </p:txBody>
      </p:sp>
      <p:sp>
        <p:nvSpPr>
          <p:cNvPr id="32" name="TextBox 31"/>
          <p:cNvSpPr txBox="1"/>
          <p:nvPr/>
        </p:nvSpPr>
        <p:spPr>
          <a:xfrm>
            <a:off x="1380298" y="857232"/>
            <a:ext cx="2286016" cy="369332"/>
          </a:xfrm>
          <a:prstGeom prst="rect">
            <a:avLst/>
          </a:prstGeom>
          <a:noFill/>
        </p:spPr>
        <p:txBody>
          <a:bodyPr wrap="square" rtlCol="0" anchor="ctr">
            <a:spAutoFit/>
          </a:bodyPr>
          <a:lstStyle/>
          <a:p>
            <a:r>
              <a:rPr lang="zh-CN" altLang="en-US" b="1" dirty="0" smtClean="0">
                <a:latin typeface="微软雅黑" panose="020B0503020204020204" pitchFamily="34" charset="-122"/>
                <a:ea typeface="微软雅黑" panose="020B0503020204020204" pitchFamily="34" charset="-122"/>
              </a:rPr>
              <a:t>营销类</a:t>
            </a:r>
            <a:endParaRPr lang="zh-CN" altLang="en-US" b="1" dirty="0" smtClean="0">
              <a:latin typeface="微软雅黑" panose="020B0503020204020204" pitchFamily="34" charset="-122"/>
              <a:ea typeface="微软雅黑" panose="020B0503020204020204" pitchFamily="34" charset="-122"/>
            </a:endParaRPr>
          </a:p>
        </p:txBody>
      </p:sp>
      <p:sp>
        <p:nvSpPr>
          <p:cNvPr id="16" name="TextBox 15"/>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成长之约</a:t>
            </a:r>
            <a:endParaRPr lang="zh-CN" altLang="en-US" sz="2400" b="1" dirty="0" smtClean="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300" advTm="4601">
        <p14:pan dir="d"/>
      </p:transition>
    </mc:Choice>
    <mc:Fallback>
      <p:transition spd="slow" advTm="460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wipe(left)">
                                      <p:cBhvr>
                                        <p:cTn id="7" dur="300"/>
                                        <p:tgtEl>
                                          <p:spTgt spid="4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wipe(left)">
                                      <p:cBhvr>
                                        <p:cTn id="10" dur="300"/>
                                        <p:tgtEl>
                                          <p:spTgt spid="41"/>
                                        </p:tgtEl>
                                      </p:cBhvr>
                                    </p:animEffect>
                                  </p:childTnLst>
                                </p:cTn>
                              </p:par>
                              <p:par>
                                <p:cTn id="11" presetID="22" presetClass="entr" presetSubtype="8" fill="hold" grpId="0" nodeType="withEffect">
                                  <p:stCondLst>
                                    <p:cond delay="250"/>
                                  </p:stCondLst>
                                  <p:childTnLst>
                                    <p:set>
                                      <p:cBhvr>
                                        <p:cTn id="12" dur="1" fill="hold">
                                          <p:stCondLst>
                                            <p:cond delay="0"/>
                                          </p:stCondLst>
                                        </p:cTn>
                                        <p:tgtEl>
                                          <p:spTgt spid="49"/>
                                        </p:tgtEl>
                                        <p:attrNameLst>
                                          <p:attrName>style.visibility</p:attrName>
                                        </p:attrNameLst>
                                      </p:cBhvr>
                                      <p:to>
                                        <p:strVal val="visible"/>
                                      </p:to>
                                    </p:set>
                                    <p:animEffect transition="in" filter="wipe(left)">
                                      <p:cBhvr>
                                        <p:cTn id="13" dur="500"/>
                                        <p:tgtEl>
                                          <p:spTgt spid="49"/>
                                        </p:tgtEl>
                                      </p:cBhvr>
                                    </p:animEffect>
                                  </p:childTnLst>
                                </p:cTn>
                              </p:par>
                              <p:par>
                                <p:cTn id="14" presetID="22" presetClass="entr" presetSubtype="8" fill="hold" grpId="0" nodeType="withEffect">
                                  <p:stCondLst>
                                    <p:cond delay="250"/>
                                  </p:stCondLst>
                                  <p:childTnLst>
                                    <p:set>
                                      <p:cBhvr>
                                        <p:cTn id="15" dur="1" fill="hold">
                                          <p:stCondLst>
                                            <p:cond delay="0"/>
                                          </p:stCondLst>
                                        </p:cTn>
                                        <p:tgtEl>
                                          <p:spTgt spid="50"/>
                                        </p:tgtEl>
                                        <p:attrNameLst>
                                          <p:attrName>style.visibility</p:attrName>
                                        </p:attrNameLst>
                                      </p:cBhvr>
                                      <p:to>
                                        <p:strVal val="visible"/>
                                      </p:to>
                                    </p:set>
                                    <p:animEffect transition="in" filter="wipe(left)">
                                      <p:cBhvr>
                                        <p:cTn id="16" dur="500"/>
                                        <p:tgtEl>
                                          <p:spTgt spid="50"/>
                                        </p:tgtEl>
                                      </p:cBhvr>
                                    </p:animEffect>
                                  </p:childTnLst>
                                </p:cTn>
                              </p:par>
                              <p:par>
                                <p:cTn id="17" presetID="22" presetClass="entr" presetSubtype="8" fill="hold" grpId="0" nodeType="withEffect">
                                  <p:stCondLst>
                                    <p:cond delay="700"/>
                                  </p:stCondLst>
                                  <p:childTnLst>
                                    <p:set>
                                      <p:cBhvr>
                                        <p:cTn id="18" dur="1" fill="hold">
                                          <p:stCondLst>
                                            <p:cond delay="0"/>
                                          </p:stCondLst>
                                        </p:cTn>
                                        <p:tgtEl>
                                          <p:spTgt spid="68"/>
                                        </p:tgtEl>
                                        <p:attrNameLst>
                                          <p:attrName>style.visibility</p:attrName>
                                        </p:attrNameLst>
                                      </p:cBhvr>
                                      <p:to>
                                        <p:strVal val="visible"/>
                                      </p:to>
                                    </p:set>
                                    <p:animEffect transition="in" filter="wipe(left)">
                                      <p:cBhvr>
                                        <p:cTn id="19" dur="500"/>
                                        <p:tgtEl>
                                          <p:spTgt spid="68"/>
                                        </p:tgtEl>
                                      </p:cBhvr>
                                    </p:animEffect>
                                  </p:childTnLst>
                                </p:cTn>
                              </p:par>
                              <p:par>
                                <p:cTn id="20" presetID="22" presetClass="entr" presetSubtype="8" fill="hold" grpId="0" nodeType="withEffect">
                                  <p:stCondLst>
                                    <p:cond delay="700"/>
                                  </p:stCondLst>
                                  <p:childTnLst>
                                    <p:set>
                                      <p:cBhvr>
                                        <p:cTn id="21" dur="1" fill="hold">
                                          <p:stCondLst>
                                            <p:cond delay="0"/>
                                          </p:stCondLst>
                                        </p:cTn>
                                        <p:tgtEl>
                                          <p:spTgt spid="69"/>
                                        </p:tgtEl>
                                        <p:attrNameLst>
                                          <p:attrName>style.visibility</p:attrName>
                                        </p:attrNameLst>
                                      </p:cBhvr>
                                      <p:to>
                                        <p:strVal val="visible"/>
                                      </p:to>
                                    </p:set>
                                    <p:animEffect transition="in" filter="wipe(left)">
                                      <p:cBhvr>
                                        <p:cTn id="22" dur="500"/>
                                        <p:tgtEl>
                                          <p:spTgt spid="69"/>
                                        </p:tgtEl>
                                      </p:cBhvr>
                                    </p:animEffect>
                                  </p:childTnLst>
                                </p:cTn>
                              </p:par>
                              <p:par>
                                <p:cTn id="23" presetID="10" presetClass="entr" presetSubtype="0" fill="hold" grpId="0" nodeType="withEffect">
                                  <p:stCondLst>
                                    <p:cond delay="70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par>
                                <p:cTn id="26" presetID="10" presetClass="entr" presetSubtype="0" fill="hold" nodeType="withEffect">
                                  <p:stCondLst>
                                    <p:cond delay="700"/>
                                  </p:stCondLst>
                                  <p:childTnLst>
                                    <p:set>
                                      <p:cBhvr>
                                        <p:cTn id="27" dur="1" fill="hold">
                                          <p:stCondLst>
                                            <p:cond delay="0"/>
                                          </p:stCondLst>
                                        </p:cTn>
                                        <p:tgtEl>
                                          <p:spTgt spid="53"/>
                                        </p:tgtEl>
                                        <p:attrNameLst>
                                          <p:attrName>style.visibility</p:attrName>
                                        </p:attrNameLst>
                                      </p:cBhvr>
                                      <p:to>
                                        <p:strVal val="visible"/>
                                      </p:to>
                                    </p:set>
                                    <p:animEffect transition="in" filter="fade">
                                      <p:cBhvr>
                                        <p:cTn id="28" dur="500"/>
                                        <p:tgtEl>
                                          <p:spTgt spid="53"/>
                                        </p:tgtEl>
                                      </p:cBhvr>
                                    </p:animEffect>
                                  </p:childTnLst>
                                </p:cTn>
                              </p:par>
                            </p:childTnLst>
                          </p:cTn>
                        </p:par>
                        <p:par>
                          <p:cTn id="29" fill="hold">
                            <p:stCondLst>
                              <p:cond delay="500"/>
                            </p:stCondLst>
                            <p:childTnLst>
                              <p:par>
                                <p:cTn id="30" presetID="10" presetClass="entr" presetSubtype="0" fill="hold" grpId="0" nodeType="afterEffect">
                                  <p:stCondLst>
                                    <p:cond delay="0"/>
                                  </p:stCondLst>
                                  <p:iterate type="lt">
                                    <p:tmPct val="10000"/>
                                  </p:iterate>
                                  <p:childTnLst>
                                    <p:set>
                                      <p:cBhvr>
                                        <p:cTn id="31" dur="1" fill="hold">
                                          <p:stCondLst>
                                            <p:cond delay="0"/>
                                          </p:stCondLst>
                                        </p:cTn>
                                        <p:tgtEl>
                                          <p:spTgt spid="87"/>
                                        </p:tgtEl>
                                        <p:attrNameLst>
                                          <p:attrName>style.visibility</p:attrName>
                                        </p:attrNameLst>
                                      </p:cBhvr>
                                      <p:to>
                                        <p:strVal val="visible"/>
                                      </p:to>
                                    </p:set>
                                    <p:animEffect transition="in" filter="fade">
                                      <p:cBhvr>
                                        <p:cTn id="32" dur="100"/>
                                        <p:tgtEl>
                                          <p:spTgt spid="87"/>
                                        </p:tgtEl>
                                      </p:cBhvr>
                                    </p:animEffect>
                                  </p:childTnLst>
                                </p:cTn>
                              </p:par>
                            </p:childTnLst>
                          </p:cTn>
                        </p:par>
                        <p:par>
                          <p:cTn id="33" fill="hold">
                            <p:stCondLst>
                              <p:cond delay="400"/>
                            </p:stCondLst>
                            <p:childTnLst>
                              <p:par>
                                <p:cTn id="34" presetID="10" presetClass="entr" presetSubtype="0" fill="hold" grpId="0" nodeType="afterEffect">
                                  <p:stCondLst>
                                    <p:cond delay="0"/>
                                  </p:stCondLst>
                                  <p:iterate type="lt">
                                    <p:tmPct val="10000"/>
                                  </p:iterate>
                                  <p:childTnLst>
                                    <p:set>
                                      <p:cBhvr>
                                        <p:cTn id="35" dur="1" fill="hold">
                                          <p:stCondLst>
                                            <p:cond delay="0"/>
                                          </p:stCondLst>
                                        </p:cTn>
                                        <p:tgtEl>
                                          <p:spTgt spid="88"/>
                                        </p:tgtEl>
                                        <p:attrNameLst>
                                          <p:attrName>style.visibility</p:attrName>
                                        </p:attrNameLst>
                                      </p:cBhvr>
                                      <p:to>
                                        <p:strVal val="visible"/>
                                      </p:to>
                                    </p:set>
                                    <p:animEffect transition="in" filter="fade">
                                      <p:cBhvr>
                                        <p:cTn id="36" dur="100"/>
                                        <p:tgtEl>
                                          <p:spTgt spid="88"/>
                                        </p:tgtEl>
                                      </p:cBhvr>
                                    </p:animEffect>
                                  </p:childTnLst>
                                </p:cTn>
                              </p:par>
                            </p:childTnLst>
                          </p:cTn>
                        </p:par>
                        <p:par>
                          <p:cTn id="37" fill="hold">
                            <p:stCondLst>
                              <p:cond delay="990"/>
                            </p:stCondLst>
                            <p:childTnLst>
                              <p:par>
                                <p:cTn id="38" presetID="16" presetClass="entr" presetSubtype="26" fill="hold" grpId="0"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barn(inHorizontal)">
                                      <p:cBhvr>
                                        <p:cTn id="40" dur="500"/>
                                        <p:tgtEl>
                                          <p:spTgt spid="3"/>
                                        </p:tgtEl>
                                      </p:cBhvr>
                                    </p:animEffect>
                                  </p:childTnLst>
                                </p:cTn>
                              </p:par>
                            </p:childTnLst>
                          </p:cTn>
                        </p:par>
                        <p:par>
                          <p:cTn id="41" fill="hold">
                            <p:stCondLst>
                              <p:cond delay="1490"/>
                            </p:stCondLst>
                            <p:childTnLst>
                              <p:par>
                                <p:cTn id="42" presetID="10" presetClass="entr" presetSubtype="0" fill="hold" grpId="0" nodeType="afterEffect">
                                  <p:stCondLst>
                                    <p:cond delay="0"/>
                                  </p:stCondLst>
                                  <p:iterate type="lt">
                                    <p:tmPct val="10000"/>
                                  </p:iterate>
                                  <p:childTnLst>
                                    <p:set>
                                      <p:cBhvr>
                                        <p:cTn id="43" dur="1" fill="hold">
                                          <p:stCondLst>
                                            <p:cond delay="0"/>
                                          </p:stCondLst>
                                        </p:cTn>
                                        <p:tgtEl>
                                          <p:spTgt spid="90"/>
                                        </p:tgtEl>
                                        <p:attrNameLst>
                                          <p:attrName>style.visibility</p:attrName>
                                        </p:attrNameLst>
                                      </p:cBhvr>
                                      <p:to>
                                        <p:strVal val="visible"/>
                                      </p:to>
                                    </p:set>
                                    <p:animEffect transition="in" filter="fade">
                                      <p:cBhvr>
                                        <p:cTn id="44" dur="1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bldLvl="0" animBg="1"/>
      <p:bldP spid="42" grpId="0" bldLvl="0" animBg="1"/>
      <p:bldP spid="49" grpId="0" bldLvl="0" animBg="1"/>
      <p:bldP spid="50" grpId="0" bldLvl="0" animBg="1"/>
      <p:bldP spid="52" grpId="0" bldLvl="0" animBg="1"/>
      <p:bldP spid="68" grpId="0" bldLvl="0" animBg="1"/>
      <p:bldP spid="69" grpId="0" bldLvl="0" animBg="1"/>
      <p:bldP spid="87" grpId="0"/>
      <p:bldP spid="88" grpId="0"/>
      <p:bldP spid="3" grpId="0" bldLvl="0" animBg="1"/>
      <p:bldP spid="90"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40" name="矩形 39"/>
          <p:cNvSpPr/>
          <p:nvPr/>
        </p:nvSpPr>
        <p:spPr>
          <a:xfrm>
            <a:off x="0" y="4622813"/>
            <a:ext cx="1020657" cy="1099169"/>
          </a:xfrm>
          <a:prstGeom prst="rect">
            <a:avLst/>
          </a:prstGeom>
          <a:solidFill>
            <a:srgbClr val="41A0D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400" dirty="0" smtClean="0">
                <a:solidFill>
                  <a:schemeClr val="tx1"/>
                </a:solidFill>
                <a:latin typeface="Pirulen" panose="02000807050000020004" pitchFamily="2" charset="0"/>
              </a:rPr>
              <a:t>04</a:t>
            </a:r>
            <a:endParaRPr lang="zh-CN" altLang="en-US" sz="2400" dirty="0">
              <a:solidFill>
                <a:schemeClr val="tx1"/>
              </a:solidFill>
              <a:latin typeface="Pirulen" panose="02000807050000020004" pitchFamily="2" charset="0"/>
            </a:endParaRPr>
          </a:p>
        </p:txBody>
      </p:sp>
      <p:sp>
        <p:nvSpPr>
          <p:cNvPr id="41" name="矩形 40"/>
          <p:cNvSpPr/>
          <p:nvPr/>
        </p:nvSpPr>
        <p:spPr>
          <a:xfrm>
            <a:off x="0" y="3523645"/>
            <a:ext cx="1020657" cy="1099169"/>
          </a:xfrm>
          <a:prstGeom prst="rect">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400" dirty="0" smtClean="0">
                <a:solidFill>
                  <a:schemeClr val="tx1"/>
                </a:solidFill>
                <a:latin typeface="Pirulen" panose="02000807050000020004" pitchFamily="2" charset="0"/>
              </a:rPr>
              <a:t>03</a:t>
            </a:r>
            <a:endParaRPr lang="zh-CN" altLang="en-US" sz="2400" dirty="0">
              <a:solidFill>
                <a:schemeClr val="tx1"/>
              </a:solidFill>
              <a:latin typeface="Pirulen" panose="02000807050000020004" pitchFamily="2" charset="0"/>
            </a:endParaRPr>
          </a:p>
        </p:txBody>
      </p:sp>
      <p:sp>
        <p:nvSpPr>
          <p:cNvPr id="42" name="矩形 41"/>
          <p:cNvSpPr/>
          <p:nvPr/>
        </p:nvSpPr>
        <p:spPr>
          <a:xfrm>
            <a:off x="0" y="2435267"/>
            <a:ext cx="1020657" cy="1099169"/>
          </a:xfrm>
          <a:prstGeom prst="rect">
            <a:avLst/>
          </a:prstGeom>
          <a:solidFill>
            <a:schemeClr val="accent5">
              <a:lumMod val="40000"/>
              <a:lumOff val="60000"/>
              <a:alpha val="8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400" dirty="0" smtClean="0">
                <a:solidFill>
                  <a:schemeClr val="tx1"/>
                </a:solidFill>
                <a:latin typeface="Pirulen" panose="02000807050000020004" pitchFamily="2" charset="0"/>
              </a:rPr>
              <a:t>02</a:t>
            </a:r>
            <a:endParaRPr lang="zh-CN" altLang="en-US" sz="2400" dirty="0">
              <a:solidFill>
                <a:schemeClr val="tx1"/>
              </a:solidFill>
              <a:latin typeface="Pirulen" panose="02000807050000020004" pitchFamily="2" charset="0"/>
            </a:endParaRPr>
          </a:p>
        </p:txBody>
      </p:sp>
      <p:sp>
        <p:nvSpPr>
          <p:cNvPr id="43" name="矩形 42"/>
          <p:cNvSpPr/>
          <p:nvPr/>
        </p:nvSpPr>
        <p:spPr>
          <a:xfrm>
            <a:off x="0" y="1340770"/>
            <a:ext cx="1020657" cy="1099169"/>
          </a:xfrm>
          <a:prstGeom prst="rect">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chemeClr val="tx1"/>
                </a:solidFill>
                <a:latin typeface="Pirulen" panose="02000807050000020004" pitchFamily="2" charset="0"/>
              </a:rPr>
              <a:t>01</a:t>
            </a:r>
            <a:endParaRPr lang="zh-CN" altLang="en-US" sz="2400" dirty="0">
              <a:solidFill>
                <a:schemeClr val="tx1"/>
              </a:solidFill>
              <a:latin typeface="Pirulen" panose="02000807050000020004" pitchFamily="2" charset="0"/>
            </a:endParaRPr>
          </a:p>
        </p:txBody>
      </p:sp>
      <p:sp>
        <p:nvSpPr>
          <p:cNvPr id="48" name="矩形 28"/>
          <p:cNvSpPr/>
          <p:nvPr/>
        </p:nvSpPr>
        <p:spPr>
          <a:xfrm>
            <a:off x="1020657" y="1340769"/>
            <a:ext cx="1991709" cy="1396262"/>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26712" h="1280593">
                <a:moveTo>
                  <a:pt x="0" y="0"/>
                </a:moveTo>
                <a:lnTo>
                  <a:pt x="1826712" y="555625"/>
                </a:lnTo>
                <a:lnTo>
                  <a:pt x="1826712" y="1280593"/>
                </a:lnTo>
                <a:lnTo>
                  <a:pt x="0" y="1007543"/>
                </a:lnTo>
                <a:lnTo>
                  <a:pt x="0" y="0"/>
                </a:lnTo>
                <a:close/>
              </a:path>
            </a:pathLst>
          </a:custGeom>
          <a:solidFill>
            <a:schemeClr val="accent1">
              <a:lumMod val="60000"/>
              <a:lumOff val="4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28"/>
          <p:cNvSpPr/>
          <p:nvPr/>
        </p:nvSpPr>
        <p:spPr>
          <a:xfrm>
            <a:off x="1020659" y="2437343"/>
            <a:ext cx="1995170" cy="1098549"/>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33980"/>
              <a:gd name="connsiteY0-72" fmla="*/ 0 h 1007543"/>
              <a:gd name="connsiteX1-73" fmla="*/ 1829887 w 1833980"/>
              <a:gd name="connsiteY1-74" fmla="*/ 273050 h 1007543"/>
              <a:gd name="connsiteX2-75" fmla="*/ 1833856 w 1833980"/>
              <a:gd name="connsiteY2-76" fmla="*/ 1001193 h 1007543"/>
              <a:gd name="connsiteX3-77" fmla="*/ 0 w 1833980"/>
              <a:gd name="connsiteY3-78" fmla="*/ 1007543 h 1007543"/>
              <a:gd name="connsiteX4-79" fmla="*/ 0 w 1833980"/>
              <a:gd name="connsiteY4-80" fmla="*/ 0 h 1007543"/>
              <a:gd name="connsiteX0-81" fmla="*/ 0 w 1829887"/>
              <a:gd name="connsiteY0-82" fmla="*/ 0 h 1007543"/>
              <a:gd name="connsiteX1-83" fmla="*/ 1829887 w 1829887"/>
              <a:gd name="connsiteY1-84" fmla="*/ 273050 h 1007543"/>
              <a:gd name="connsiteX2-85" fmla="*/ 1829093 w 1829887"/>
              <a:gd name="connsiteY2-86" fmla="*/ 1003575 h 1007543"/>
              <a:gd name="connsiteX3-87" fmla="*/ 0 w 1829887"/>
              <a:gd name="connsiteY3-88" fmla="*/ 1007543 h 1007543"/>
              <a:gd name="connsiteX4-89" fmla="*/ 0 w 1829887"/>
              <a:gd name="connsiteY4-90" fmla="*/ 0 h 100754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29887" h="1007543">
                <a:moveTo>
                  <a:pt x="0" y="0"/>
                </a:moveTo>
                <a:lnTo>
                  <a:pt x="1829887" y="273050"/>
                </a:lnTo>
                <a:cubicBezTo>
                  <a:pt x="1828829" y="608898"/>
                  <a:pt x="1830151" y="667727"/>
                  <a:pt x="1829093" y="1003575"/>
                </a:cubicBezTo>
                <a:lnTo>
                  <a:pt x="0" y="1007543"/>
                </a:lnTo>
                <a:lnTo>
                  <a:pt x="0" y="0"/>
                </a:lnTo>
                <a:close/>
              </a:path>
            </a:pathLst>
          </a:custGeom>
          <a:solidFill>
            <a:schemeClr val="accent5">
              <a:lumMod val="40000"/>
              <a:lumOff val="6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0" name="矩形 28"/>
          <p:cNvSpPr/>
          <p:nvPr/>
        </p:nvSpPr>
        <p:spPr>
          <a:xfrm>
            <a:off x="1020658" y="3528378"/>
            <a:ext cx="1999707" cy="1094221"/>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29887"/>
              <a:gd name="connsiteY0-72" fmla="*/ 0 h 1001193"/>
              <a:gd name="connsiteX1-73" fmla="*/ 1829887 w 1829887"/>
              <a:gd name="connsiteY1-74" fmla="*/ 273050 h 1001193"/>
              <a:gd name="connsiteX2-75" fmla="*/ 1826712 w 1829887"/>
              <a:gd name="connsiteY2-76" fmla="*/ 1001193 h 1001193"/>
              <a:gd name="connsiteX3-77" fmla="*/ 0 w 1829887"/>
              <a:gd name="connsiteY3-78" fmla="*/ 998018 h 1001193"/>
              <a:gd name="connsiteX4-79" fmla="*/ 0 w 1829887"/>
              <a:gd name="connsiteY4-80" fmla="*/ 0 h 1001193"/>
              <a:gd name="connsiteX0-81" fmla="*/ 0 w 1832268"/>
              <a:gd name="connsiteY0-82" fmla="*/ 5556 h 1006749"/>
              <a:gd name="connsiteX1-83" fmla="*/ 1832268 w 1832268"/>
              <a:gd name="connsiteY1-84" fmla="*/ 0 h 1006749"/>
              <a:gd name="connsiteX2-85" fmla="*/ 1826712 w 1832268"/>
              <a:gd name="connsiteY2-86" fmla="*/ 1006749 h 1006749"/>
              <a:gd name="connsiteX3-87" fmla="*/ 0 w 1832268"/>
              <a:gd name="connsiteY3-88" fmla="*/ 1003574 h 1006749"/>
              <a:gd name="connsiteX4-89" fmla="*/ 0 w 1832268"/>
              <a:gd name="connsiteY4-90" fmla="*/ 5556 h 1006749"/>
              <a:gd name="connsiteX0-91" fmla="*/ 0 w 1832268"/>
              <a:gd name="connsiteY0-92" fmla="*/ 5556 h 1003574"/>
              <a:gd name="connsiteX1-93" fmla="*/ 1832268 w 1832268"/>
              <a:gd name="connsiteY1-94" fmla="*/ 0 h 1003574"/>
              <a:gd name="connsiteX2-95" fmla="*/ 1829093 w 1832268"/>
              <a:gd name="connsiteY2-96" fmla="*/ 720999 h 1003574"/>
              <a:gd name="connsiteX3-97" fmla="*/ 0 w 1832268"/>
              <a:gd name="connsiteY3-98" fmla="*/ 1003574 h 1003574"/>
              <a:gd name="connsiteX4-99" fmla="*/ 0 w 1832268"/>
              <a:gd name="connsiteY4-100" fmla="*/ 5556 h 1003574"/>
              <a:gd name="connsiteX0-101" fmla="*/ 0 w 1834048"/>
              <a:gd name="connsiteY0-102" fmla="*/ 5556 h 1003574"/>
              <a:gd name="connsiteX1-103" fmla="*/ 1832268 w 1834048"/>
              <a:gd name="connsiteY1-104" fmla="*/ 0 h 1003574"/>
              <a:gd name="connsiteX2-105" fmla="*/ 1833856 w 1834048"/>
              <a:gd name="connsiteY2-106" fmla="*/ 720999 h 1003574"/>
              <a:gd name="connsiteX3-107" fmla="*/ 0 w 1834048"/>
              <a:gd name="connsiteY3-108" fmla="*/ 1003574 h 1003574"/>
              <a:gd name="connsiteX4-109" fmla="*/ 0 w 1834048"/>
              <a:gd name="connsiteY4-110" fmla="*/ 5556 h 100357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34048" h="1003574">
                <a:moveTo>
                  <a:pt x="0" y="5556"/>
                </a:moveTo>
                <a:lnTo>
                  <a:pt x="1832268" y="0"/>
                </a:lnTo>
                <a:cubicBezTo>
                  <a:pt x="1831210" y="335848"/>
                  <a:pt x="1834914" y="385151"/>
                  <a:pt x="1833856" y="720999"/>
                </a:cubicBezTo>
                <a:lnTo>
                  <a:pt x="0" y="1003574"/>
                </a:lnTo>
                <a:lnTo>
                  <a:pt x="0" y="5556"/>
                </a:lnTo>
                <a:close/>
              </a:path>
            </a:pathLst>
          </a:custGeom>
          <a:solidFill>
            <a:schemeClr val="accent1">
              <a:lumMod val="40000"/>
              <a:lumOff val="6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28"/>
          <p:cNvSpPr/>
          <p:nvPr/>
        </p:nvSpPr>
        <p:spPr>
          <a:xfrm>
            <a:off x="1015351" y="4308441"/>
            <a:ext cx="2003073" cy="1413571"/>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29887"/>
              <a:gd name="connsiteY0-72" fmla="*/ 0 h 1001193"/>
              <a:gd name="connsiteX1-73" fmla="*/ 1829887 w 1829887"/>
              <a:gd name="connsiteY1-74" fmla="*/ 273050 h 1001193"/>
              <a:gd name="connsiteX2-75" fmla="*/ 1826712 w 1829887"/>
              <a:gd name="connsiteY2-76" fmla="*/ 1001193 h 1001193"/>
              <a:gd name="connsiteX3-77" fmla="*/ 0 w 1829887"/>
              <a:gd name="connsiteY3-78" fmla="*/ 998018 h 1001193"/>
              <a:gd name="connsiteX4-79" fmla="*/ 0 w 1829887"/>
              <a:gd name="connsiteY4-80" fmla="*/ 0 h 1001193"/>
              <a:gd name="connsiteX0-81" fmla="*/ 0 w 1832268"/>
              <a:gd name="connsiteY0-82" fmla="*/ 5556 h 1006749"/>
              <a:gd name="connsiteX1-83" fmla="*/ 1832268 w 1832268"/>
              <a:gd name="connsiteY1-84" fmla="*/ 0 h 1006749"/>
              <a:gd name="connsiteX2-85" fmla="*/ 1826712 w 1832268"/>
              <a:gd name="connsiteY2-86" fmla="*/ 1006749 h 1006749"/>
              <a:gd name="connsiteX3-87" fmla="*/ 0 w 1832268"/>
              <a:gd name="connsiteY3-88" fmla="*/ 1003574 h 1006749"/>
              <a:gd name="connsiteX4-89" fmla="*/ 0 w 1832268"/>
              <a:gd name="connsiteY4-90" fmla="*/ 5556 h 1006749"/>
              <a:gd name="connsiteX0-91" fmla="*/ 0 w 1832268"/>
              <a:gd name="connsiteY0-92" fmla="*/ 5556 h 1003574"/>
              <a:gd name="connsiteX1-93" fmla="*/ 1832268 w 1832268"/>
              <a:gd name="connsiteY1-94" fmla="*/ 0 h 1003574"/>
              <a:gd name="connsiteX2-95" fmla="*/ 1829093 w 1832268"/>
              <a:gd name="connsiteY2-96" fmla="*/ 720999 h 1003574"/>
              <a:gd name="connsiteX3-97" fmla="*/ 0 w 1832268"/>
              <a:gd name="connsiteY3-98" fmla="*/ 1003574 h 1003574"/>
              <a:gd name="connsiteX4-99" fmla="*/ 0 w 1832268"/>
              <a:gd name="connsiteY4-100" fmla="*/ 5556 h 1003574"/>
              <a:gd name="connsiteX0-101" fmla="*/ 0 w 1834649"/>
              <a:gd name="connsiteY0-102" fmla="*/ 793 h 1003574"/>
              <a:gd name="connsiteX1-103" fmla="*/ 1834649 w 1834649"/>
              <a:gd name="connsiteY1-104" fmla="*/ 0 h 1003574"/>
              <a:gd name="connsiteX2-105" fmla="*/ 1831474 w 1834649"/>
              <a:gd name="connsiteY2-106" fmla="*/ 720999 h 1003574"/>
              <a:gd name="connsiteX3-107" fmla="*/ 2381 w 1834649"/>
              <a:gd name="connsiteY3-108" fmla="*/ 1003574 h 1003574"/>
              <a:gd name="connsiteX4-109" fmla="*/ 0 w 1834649"/>
              <a:gd name="connsiteY4-110" fmla="*/ 793 h 1003574"/>
              <a:gd name="connsiteX0-111" fmla="*/ 0 w 1834649"/>
              <a:gd name="connsiteY0-112" fmla="*/ 284162 h 1286943"/>
              <a:gd name="connsiteX1-113" fmla="*/ 1834649 w 1834649"/>
              <a:gd name="connsiteY1-114" fmla="*/ 0 h 1286943"/>
              <a:gd name="connsiteX2-115" fmla="*/ 1831474 w 1834649"/>
              <a:gd name="connsiteY2-116" fmla="*/ 1004368 h 1286943"/>
              <a:gd name="connsiteX3-117" fmla="*/ 2381 w 1834649"/>
              <a:gd name="connsiteY3-118" fmla="*/ 1286943 h 1286943"/>
              <a:gd name="connsiteX4-119" fmla="*/ 0 w 1834649"/>
              <a:gd name="connsiteY4-120" fmla="*/ 284162 h 1286943"/>
              <a:gd name="connsiteX0-121" fmla="*/ 0 w 1834649"/>
              <a:gd name="connsiteY0-122" fmla="*/ 284162 h 1286943"/>
              <a:gd name="connsiteX1-123" fmla="*/ 1834649 w 1834649"/>
              <a:gd name="connsiteY1-124" fmla="*/ 0 h 1286943"/>
              <a:gd name="connsiteX2-125" fmla="*/ 1829093 w 1834649"/>
              <a:gd name="connsiteY2-126" fmla="*/ 721000 h 1286943"/>
              <a:gd name="connsiteX3-127" fmla="*/ 2381 w 1834649"/>
              <a:gd name="connsiteY3-128" fmla="*/ 1286943 h 1286943"/>
              <a:gd name="connsiteX4-129" fmla="*/ 0 w 1834649"/>
              <a:gd name="connsiteY4-130" fmla="*/ 284162 h 1286943"/>
              <a:gd name="connsiteX0-131" fmla="*/ 229 w 1834878"/>
              <a:gd name="connsiteY0-132" fmla="*/ 284162 h 1289324"/>
              <a:gd name="connsiteX1-133" fmla="*/ 1834878 w 1834878"/>
              <a:gd name="connsiteY1-134" fmla="*/ 0 h 1289324"/>
              <a:gd name="connsiteX2-135" fmla="*/ 1829322 w 1834878"/>
              <a:gd name="connsiteY2-136" fmla="*/ 721000 h 1289324"/>
              <a:gd name="connsiteX3-137" fmla="*/ 229 w 1834878"/>
              <a:gd name="connsiteY3-138" fmla="*/ 1289324 h 1289324"/>
              <a:gd name="connsiteX4-139" fmla="*/ 229 w 1834878"/>
              <a:gd name="connsiteY4-140" fmla="*/ 284162 h 1289324"/>
              <a:gd name="connsiteX0-141" fmla="*/ 2486 w 1837135"/>
              <a:gd name="connsiteY0-142" fmla="*/ 284162 h 1296468"/>
              <a:gd name="connsiteX1-143" fmla="*/ 1837135 w 1837135"/>
              <a:gd name="connsiteY1-144" fmla="*/ 0 h 1296468"/>
              <a:gd name="connsiteX2-145" fmla="*/ 1831579 w 1837135"/>
              <a:gd name="connsiteY2-146" fmla="*/ 721000 h 1296468"/>
              <a:gd name="connsiteX3-147" fmla="*/ 105 w 1837135"/>
              <a:gd name="connsiteY3-148" fmla="*/ 1296468 h 1296468"/>
              <a:gd name="connsiteX4-149" fmla="*/ 2486 w 1837135"/>
              <a:gd name="connsiteY4-150" fmla="*/ 284162 h 1296468"/>
              <a:gd name="connsiteX0-151" fmla="*/ 2486 w 1837135"/>
              <a:gd name="connsiteY0-152" fmla="*/ 284162 h 1296468"/>
              <a:gd name="connsiteX1-153" fmla="*/ 1837135 w 1837135"/>
              <a:gd name="connsiteY1-154" fmla="*/ 0 h 1296468"/>
              <a:gd name="connsiteX2-155" fmla="*/ 1836342 w 1837135"/>
              <a:gd name="connsiteY2-156" fmla="*/ 728144 h 1296468"/>
              <a:gd name="connsiteX3-157" fmla="*/ 105 w 1837135"/>
              <a:gd name="connsiteY3-158" fmla="*/ 1296468 h 1296468"/>
              <a:gd name="connsiteX4-159" fmla="*/ 2486 w 1837135"/>
              <a:gd name="connsiteY4-160" fmla="*/ 284162 h 129646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37135" h="1296468">
                <a:moveTo>
                  <a:pt x="2486" y="284162"/>
                </a:moveTo>
                <a:lnTo>
                  <a:pt x="1837135" y="0"/>
                </a:lnTo>
                <a:cubicBezTo>
                  <a:pt x="1836077" y="335848"/>
                  <a:pt x="1837400" y="392296"/>
                  <a:pt x="1836342" y="728144"/>
                </a:cubicBezTo>
                <a:lnTo>
                  <a:pt x="105" y="1296468"/>
                </a:lnTo>
                <a:cubicBezTo>
                  <a:pt x="-689" y="962208"/>
                  <a:pt x="3280" y="618422"/>
                  <a:pt x="2486" y="284162"/>
                </a:cubicBezTo>
                <a:close/>
              </a:path>
            </a:pathLst>
          </a:custGeom>
          <a:solidFill>
            <a:srgbClr val="41A0D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Freeform 144"/>
          <p:cNvSpPr>
            <a:spLocks noEditPoints="1"/>
          </p:cNvSpPr>
          <p:nvPr/>
        </p:nvSpPr>
        <p:spPr bwMode="black">
          <a:xfrm>
            <a:off x="1789006" y="2767629"/>
            <a:ext cx="373969" cy="660050"/>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noFill/>
          <a:ln w="19050">
            <a:solidFill>
              <a:schemeClr val="bg1"/>
            </a:solidFill>
          </a:ln>
        </p:spPr>
        <p:txBody>
          <a:bodyPr vert="horz" wrap="square" lIns="68589" tIns="34295" rIns="68589" bIns="34295" numCol="1" anchor="t" anchorCtr="0" compatLnSpc="1"/>
          <a:lstStyle/>
          <a:p>
            <a:endParaRPr lang="en-US"/>
          </a:p>
        </p:txBody>
      </p:sp>
      <p:pic>
        <p:nvPicPr>
          <p:cNvPr id="53" name="Picture 34" descr="Efficiency.png"/>
          <p:cNvPicPr>
            <a:picLocks noChangeAspect="1"/>
          </p:cNvPicPr>
          <p:nvPr/>
        </p:nvPicPr>
        <p:blipFill>
          <a:blip r:embed="rId1" cstate="print"/>
          <a:srcRect/>
          <a:stretch>
            <a:fillRect/>
          </a:stretch>
        </p:blipFill>
        <p:spPr bwMode="auto">
          <a:xfrm>
            <a:off x="1570854" y="3635556"/>
            <a:ext cx="810268" cy="752012"/>
          </a:xfrm>
          <a:prstGeom prst="rect">
            <a:avLst/>
          </a:prstGeom>
          <a:noFill/>
          <a:ln>
            <a:noFill/>
          </a:ln>
        </p:spPr>
      </p:pic>
      <p:grpSp>
        <p:nvGrpSpPr>
          <p:cNvPr id="2" name="Group 173"/>
          <p:cNvGrpSpPr>
            <a:grpSpLocks noChangeAspect="1"/>
          </p:cNvGrpSpPr>
          <p:nvPr/>
        </p:nvGrpSpPr>
        <p:grpSpPr>
          <a:xfrm>
            <a:off x="1700231" y="4559813"/>
            <a:ext cx="551518" cy="709863"/>
            <a:chOff x="-2773363" y="1651000"/>
            <a:chExt cx="2692401" cy="3448051"/>
          </a:xfrm>
          <a:solidFill>
            <a:schemeClr val="bg1"/>
          </a:solidFill>
        </p:grpSpPr>
        <p:sp>
          <p:nvSpPr>
            <p:cNvPr id="56"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 name="Oval 21"/>
            <p:cNvSpPr>
              <a:spLocks noChangeArrowheads="1"/>
            </p:cNvSpPr>
            <p:nvPr/>
          </p:nvSpPr>
          <p:spPr bwMode="auto">
            <a:xfrm>
              <a:off x="-1055688" y="2462213"/>
              <a:ext cx="171450" cy="1714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 name="Oval 22"/>
            <p:cNvSpPr>
              <a:spLocks noChangeArrowheads="1"/>
            </p:cNvSpPr>
            <p:nvPr/>
          </p:nvSpPr>
          <p:spPr bwMode="auto">
            <a:xfrm>
              <a:off x="-1776413" y="2792413"/>
              <a:ext cx="115888" cy="11906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 name="Freeform 23"/>
            <p:cNvSpPr>
              <a:spLocks noEditPoints="1"/>
            </p:cNvSpPr>
            <p:nvPr/>
          </p:nvSpPr>
          <p:spPr bwMode="auto">
            <a:xfrm>
              <a:off x="-2773363" y="2439988"/>
              <a:ext cx="2692401" cy="2659063"/>
            </a:xfrm>
            <a:custGeom>
              <a:avLst/>
              <a:gdLst>
                <a:gd name="T0" fmla="*/ 605 w 718"/>
                <a:gd name="T1" fmla="*/ 20 h 709"/>
                <a:gd name="T2" fmla="*/ 602 w 718"/>
                <a:gd name="T3" fmla="*/ 58 h 709"/>
                <a:gd name="T4" fmla="*/ 587 w 718"/>
                <a:gd name="T5" fmla="*/ 93 h 709"/>
                <a:gd name="T6" fmla="*/ 563 w 718"/>
                <a:gd name="T7" fmla="*/ 121 h 709"/>
                <a:gd name="T8" fmla="*/ 530 w 718"/>
                <a:gd name="T9" fmla="*/ 141 h 709"/>
                <a:gd name="T10" fmla="*/ 493 w 718"/>
                <a:gd name="T11" fmla="*/ 149 h 709"/>
                <a:gd name="T12" fmla="*/ 456 w 718"/>
                <a:gd name="T13" fmla="*/ 147 h 709"/>
                <a:gd name="T14" fmla="*/ 420 w 718"/>
                <a:gd name="T15" fmla="*/ 134 h 709"/>
                <a:gd name="T16" fmla="*/ 391 w 718"/>
                <a:gd name="T17" fmla="*/ 110 h 709"/>
                <a:gd name="T18" fmla="*/ 371 w 718"/>
                <a:gd name="T19" fmla="*/ 78 h 709"/>
                <a:gd name="T20" fmla="*/ 361 w 718"/>
                <a:gd name="T21" fmla="*/ 42 h 709"/>
                <a:gd name="T22" fmla="*/ 363 w 718"/>
                <a:gd name="T23" fmla="*/ 4 h 709"/>
                <a:gd name="T24" fmla="*/ 68 w 718"/>
                <a:gd name="T25" fmla="*/ 221 h 709"/>
                <a:gd name="T26" fmla="*/ 162 w 718"/>
                <a:gd name="T27" fmla="*/ 514 h 709"/>
                <a:gd name="T28" fmla="*/ 334 w 718"/>
                <a:gd name="T29" fmla="*/ 176 h 709"/>
                <a:gd name="T30" fmla="*/ 311 w 718"/>
                <a:gd name="T31" fmla="*/ 189 h 709"/>
                <a:gd name="T32" fmla="*/ 288 w 718"/>
                <a:gd name="T33" fmla="*/ 197 h 709"/>
                <a:gd name="T34" fmla="*/ 258 w 718"/>
                <a:gd name="T35" fmla="*/ 192 h 709"/>
                <a:gd name="T36" fmla="*/ 234 w 718"/>
                <a:gd name="T37" fmla="*/ 181 h 709"/>
                <a:gd name="T38" fmla="*/ 214 w 718"/>
                <a:gd name="T39" fmla="*/ 164 h 709"/>
                <a:gd name="T40" fmla="*/ 201 w 718"/>
                <a:gd name="T41" fmla="*/ 141 h 709"/>
                <a:gd name="T42" fmla="*/ 195 w 718"/>
                <a:gd name="T43" fmla="*/ 116 h 709"/>
                <a:gd name="T44" fmla="*/ 197 w 718"/>
                <a:gd name="T45" fmla="*/ 89 h 709"/>
                <a:gd name="T46" fmla="*/ 207 w 718"/>
                <a:gd name="T47" fmla="*/ 64 h 709"/>
                <a:gd name="T48" fmla="*/ 225 w 718"/>
                <a:gd name="T49" fmla="*/ 43 h 709"/>
                <a:gd name="T50" fmla="*/ 249 w 718"/>
                <a:gd name="T51" fmla="*/ 29 h 709"/>
                <a:gd name="T52" fmla="*/ 275 w 718"/>
                <a:gd name="T53" fmla="*/ 23 h 709"/>
                <a:gd name="T54" fmla="*/ 305 w 718"/>
                <a:gd name="T55" fmla="*/ 28 h 709"/>
                <a:gd name="T56" fmla="*/ 329 w 718"/>
                <a:gd name="T57" fmla="*/ 38 h 709"/>
                <a:gd name="T58" fmla="*/ 349 w 718"/>
                <a:gd name="T59" fmla="*/ 55 h 709"/>
                <a:gd name="T60" fmla="*/ 362 w 718"/>
                <a:gd name="T61" fmla="*/ 78 h 709"/>
                <a:gd name="T62" fmla="*/ 368 w 718"/>
                <a:gd name="T63" fmla="*/ 104 h 709"/>
                <a:gd name="T64" fmla="*/ 366 w 718"/>
                <a:gd name="T65" fmla="*/ 131 h 709"/>
                <a:gd name="T66" fmla="*/ 356 w 718"/>
                <a:gd name="T67" fmla="*/ 156 h 709"/>
                <a:gd name="T68" fmla="*/ 338 w 718"/>
                <a:gd name="T69" fmla="*/ 176 h 709"/>
                <a:gd name="T70" fmla="*/ 451 w 718"/>
                <a:gd name="T71" fmla="*/ 208 h 709"/>
                <a:gd name="T72" fmla="*/ 444 w 718"/>
                <a:gd name="T73" fmla="*/ 224 h 709"/>
                <a:gd name="T74" fmla="*/ 433 w 718"/>
                <a:gd name="T75" fmla="*/ 237 h 709"/>
                <a:gd name="T76" fmla="*/ 418 w 718"/>
                <a:gd name="T77" fmla="*/ 247 h 709"/>
                <a:gd name="T78" fmla="*/ 401 w 718"/>
                <a:gd name="T79" fmla="*/ 251 h 709"/>
                <a:gd name="T80" fmla="*/ 383 w 718"/>
                <a:gd name="T81" fmla="*/ 250 h 709"/>
                <a:gd name="T82" fmla="*/ 367 w 718"/>
                <a:gd name="T83" fmla="*/ 243 h 709"/>
                <a:gd name="T84" fmla="*/ 353 w 718"/>
                <a:gd name="T85" fmla="*/ 232 h 709"/>
                <a:gd name="T86" fmla="*/ 343 w 718"/>
                <a:gd name="T87" fmla="*/ 217 h 709"/>
                <a:gd name="T88" fmla="*/ 339 w 718"/>
                <a:gd name="T89" fmla="*/ 200 h 709"/>
                <a:gd name="T90" fmla="*/ 340 w 718"/>
                <a:gd name="T91" fmla="*/ 183 h 709"/>
                <a:gd name="T92" fmla="*/ 346 w 718"/>
                <a:gd name="T93" fmla="*/ 166 h 709"/>
                <a:gd name="T94" fmla="*/ 357 w 718"/>
                <a:gd name="T95" fmla="*/ 153 h 709"/>
                <a:gd name="T96" fmla="*/ 372 w 718"/>
                <a:gd name="T97" fmla="*/ 143 h 709"/>
                <a:gd name="T98" fmla="*/ 389 w 718"/>
                <a:gd name="T99" fmla="*/ 138 h 709"/>
                <a:gd name="T100" fmla="*/ 407 w 718"/>
                <a:gd name="T101" fmla="*/ 139 h 709"/>
                <a:gd name="T102" fmla="*/ 423 w 718"/>
                <a:gd name="T103" fmla="*/ 146 h 709"/>
                <a:gd name="T104" fmla="*/ 437 w 718"/>
                <a:gd name="T105" fmla="*/ 157 h 709"/>
                <a:gd name="T106" fmla="*/ 446 w 718"/>
                <a:gd name="T107" fmla="*/ 172 h 709"/>
                <a:gd name="T108" fmla="*/ 451 w 718"/>
                <a:gd name="T109" fmla="*/ 18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709">
                  <a:moveTo>
                    <a:pt x="606" y="330"/>
                  </a:moveTo>
                  <a:cubicBezTo>
                    <a:pt x="718" y="140"/>
                    <a:pt x="627" y="0"/>
                    <a:pt x="627" y="0"/>
                  </a:cubicBezTo>
                  <a:cubicBezTo>
                    <a:pt x="578" y="0"/>
                    <a:pt x="578" y="0"/>
                    <a:pt x="578" y="0"/>
                  </a:cubicBezTo>
                  <a:cubicBezTo>
                    <a:pt x="579" y="4"/>
                    <a:pt x="580" y="9"/>
                    <a:pt x="581" y="13"/>
                  </a:cubicBezTo>
                  <a:cubicBezTo>
                    <a:pt x="601" y="16"/>
                    <a:pt x="601" y="16"/>
                    <a:pt x="601" y="16"/>
                  </a:cubicBezTo>
                  <a:cubicBezTo>
                    <a:pt x="603" y="16"/>
                    <a:pt x="605" y="18"/>
                    <a:pt x="605" y="20"/>
                  </a:cubicBezTo>
                  <a:cubicBezTo>
                    <a:pt x="605" y="20"/>
                    <a:pt x="605" y="20"/>
                    <a:pt x="605" y="20"/>
                  </a:cubicBezTo>
                  <a:cubicBezTo>
                    <a:pt x="605" y="23"/>
                    <a:pt x="604" y="24"/>
                    <a:pt x="601" y="24"/>
                  </a:cubicBezTo>
                  <a:cubicBezTo>
                    <a:pt x="582" y="30"/>
                    <a:pt x="582" y="30"/>
                    <a:pt x="582" y="30"/>
                  </a:cubicBezTo>
                  <a:cubicBezTo>
                    <a:pt x="582" y="35"/>
                    <a:pt x="581" y="40"/>
                    <a:pt x="581" y="45"/>
                  </a:cubicBezTo>
                  <a:cubicBezTo>
                    <a:pt x="599" y="54"/>
                    <a:pt x="599" y="54"/>
                    <a:pt x="599" y="54"/>
                  </a:cubicBezTo>
                  <a:cubicBezTo>
                    <a:pt x="601" y="55"/>
                    <a:pt x="602" y="56"/>
                    <a:pt x="602" y="58"/>
                  </a:cubicBezTo>
                  <a:cubicBezTo>
                    <a:pt x="602" y="58"/>
                    <a:pt x="602" y="59"/>
                    <a:pt x="602" y="59"/>
                  </a:cubicBezTo>
                  <a:cubicBezTo>
                    <a:pt x="601" y="61"/>
                    <a:pt x="599" y="62"/>
                    <a:pt x="597" y="62"/>
                  </a:cubicBezTo>
                  <a:cubicBezTo>
                    <a:pt x="577" y="62"/>
                    <a:pt x="577" y="62"/>
                    <a:pt x="577" y="62"/>
                  </a:cubicBezTo>
                  <a:cubicBezTo>
                    <a:pt x="575" y="66"/>
                    <a:pt x="573" y="71"/>
                    <a:pt x="571" y="75"/>
                  </a:cubicBezTo>
                  <a:cubicBezTo>
                    <a:pt x="585" y="89"/>
                    <a:pt x="585" y="89"/>
                    <a:pt x="585" y="89"/>
                  </a:cubicBezTo>
                  <a:cubicBezTo>
                    <a:pt x="587" y="90"/>
                    <a:pt x="587" y="91"/>
                    <a:pt x="587" y="93"/>
                  </a:cubicBezTo>
                  <a:cubicBezTo>
                    <a:pt x="587" y="94"/>
                    <a:pt x="587" y="94"/>
                    <a:pt x="587" y="95"/>
                  </a:cubicBezTo>
                  <a:cubicBezTo>
                    <a:pt x="585" y="97"/>
                    <a:pt x="583" y="97"/>
                    <a:pt x="581" y="96"/>
                  </a:cubicBezTo>
                  <a:cubicBezTo>
                    <a:pt x="562" y="90"/>
                    <a:pt x="562" y="90"/>
                    <a:pt x="562" y="90"/>
                  </a:cubicBezTo>
                  <a:cubicBezTo>
                    <a:pt x="559" y="94"/>
                    <a:pt x="556" y="97"/>
                    <a:pt x="552" y="101"/>
                  </a:cubicBezTo>
                  <a:cubicBezTo>
                    <a:pt x="562" y="119"/>
                    <a:pt x="562" y="119"/>
                    <a:pt x="562" y="119"/>
                  </a:cubicBezTo>
                  <a:cubicBezTo>
                    <a:pt x="562" y="120"/>
                    <a:pt x="563" y="120"/>
                    <a:pt x="563" y="121"/>
                  </a:cubicBezTo>
                  <a:cubicBezTo>
                    <a:pt x="563" y="122"/>
                    <a:pt x="562" y="124"/>
                    <a:pt x="561" y="124"/>
                  </a:cubicBezTo>
                  <a:cubicBezTo>
                    <a:pt x="559" y="126"/>
                    <a:pt x="557" y="126"/>
                    <a:pt x="555" y="124"/>
                  </a:cubicBezTo>
                  <a:cubicBezTo>
                    <a:pt x="539" y="112"/>
                    <a:pt x="539" y="112"/>
                    <a:pt x="539" y="112"/>
                  </a:cubicBezTo>
                  <a:cubicBezTo>
                    <a:pt x="535" y="114"/>
                    <a:pt x="531" y="117"/>
                    <a:pt x="527" y="119"/>
                  </a:cubicBezTo>
                  <a:cubicBezTo>
                    <a:pt x="530" y="139"/>
                    <a:pt x="530" y="139"/>
                    <a:pt x="530" y="139"/>
                  </a:cubicBezTo>
                  <a:cubicBezTo>
                    <a:pt x="530" y="140"/>
                    <a:pt x="530" y="140"/>
                    <a:pt x="530" y="141"/>
                  </a:cubicBezTo>
                  <a:cubicBezTo>
                    <a:pt x="530" y="142"/>
                    <a:pt x="529" y="144"/>
                    <a:pt x="528" y="145"/>
                  </a:cubicBezTo>
                  <a:cubicBezTo>
                    <a:pt x="526" y="145"/>
                    <a:pt x="523" y="144"/>
                    <a:pt x="522" y="142"/>
                  </a:cubicBezTo>
                  <a:cubicBezTo>
                    <a:pt x="511" y="126"/>
                    <a:pt x="511" y="126"/>
                    <a:pt x="511" y="126"/>
                  </a:cubicBezTo>
                  <a:cubicBezTo>
                    <a:pt x="506" y="127"/>
                    <a:pt x="501" y="128"/>
                    <a:pt x="497" y="129"/>
                  </a:cubicBezTo>
                  <a:cubicBezTo>
                    <a:pt x="493" y="149"/>
                    <a:pt x="493" y="149"/>
                    <a:pt x="493" y="149"/>
                  </a:cubicBezTo>
                  <a:cubicBezTo>
                    <a:pt x="493" y="149"/>
                    <a:pt x="493" y="149"/>
                    <a:pt x="493" y="149"/>
                  </a:cubicBezTo>
                  <a:cubicBezTo>
                    <a:pt x="493" y="151"/>
                    <a:pt x="492" y="153"/>
                    <a:pt x="490" y="153"/>
                  </a:cubicBezTo>
                  <a:cubicBezTo>
                    <a:pt x="490" y="153"/>
                    <a:pt x="490" y="153"/>
                    <a:pt x="489" y="153"/>
                  </a:cubicBezTo>
                  <a:cubicBezTo>
                    <a:pt x="487" y="153"/>
                    <a:pt x="486" y="152"/>
                    <a:pt x="485" y="150"/>
                  </a:cubicBezTo>
                  <a:cubicBezTo>
                    <a:pt x="479" y="130"/>
                    <a:pt x="479" y="130"/>
                    <a:pt x="479" y="130"/>
                  </a:cubicBezTo>
                  <a:cubicBezTo>
                    <a:pt x="475" y="130"/>
                    <a:pt x="470" y="130"/>
                    <a:pt x="465" y="129"/>
                  </a:cubicBezTo>
                  <a:cubicBezTo>
                    <a:pt x="456" y="147"/>
                    <a:pt x="456" y="147"/>
                    <a:pt x="456" y="147"/>
                  </a:cubicBezTo>
                  <a:cubicBezTo>
                    <a:pt x="455" y="149"/>
                    <a:pt x="453" y="151"/>
                    <a:pt x="451" y="150"/>
                  </a:cubicBezTo>
                  <a:cubicBezTo>
                    <a:pt x="449" y="150"/>
                    <a:pt x="448" y="148"/>
                    <a:pt x="448" y="146"/>
                  </a:cubicBezTo>
                  <a:cubicBezTo>
                    <a:pt x="448" y="146"/>
                    <a:pt x="448" y="146"/>
                    <a:pt x="448" y="145"/>
                  </a:cubicBezTo>
                  <a:cubicBezTo>
                    <a:pt x="448" y="125"/>
                    <a:pt x="448" y="125"/>
                    <a:pt x="448" y="125"/>
                  </a:cubicBezTo>
                  <a:cubicBezTo>
                    <a:pt x="444" y="123"/>
                    <a:pt x="439" y="121"/>
                    <a:pt x="435" y="119"/>
                  </a:cubicBezTo>
                  <a:cubicBezTo>
                    <a:pt x="420" y="134"/>
                    <a:pt x="420" y="134"/>
                    <a:pt x="420" y="134"/>
                  </a:cubicBezTo>
                  <a:cubicBezTo>
                    <a:pt x="419" y="135"/>
                    <a:pt x="417" y="136"/>
                    <a:pt x="415" y="135"/>
                  </a:cubicBezTo>
                  <a:cubicBezTo>
                    <a:pt x="414" y="134"/>
                    <a:pt x="413" y="133"/>
                    <a:pt x="413" y="131"/>
                  </a:cubicBezTo>
                  <a:cubicBezTo>
                    <a:pt x="413" y="131"/>
                    <a:pt x="413" y="130"/>
                    <a:pt x="414" y="129"/>
                  </a:cubicBezTo>
                  <a:cubicBezTo>
                    <a:pt x="420" y="110"/>
                    <a:pt x="420" y="110"/>
                    <a:pt x="420" y="110"/>
                  </a:cubicBezTo>
                  <a:cubicBezTo>
                    <a:pt x="416" y="107"/>
                    <a:pt x="413" y="104"/>
                    <a:pt x="409" y="101"/>
                  </a:cubicBezTo>
                  <a:cubicBezTo>
                    <a:pt x="391" y="110"/>
                    <a:pt x="391" y="110"/>
                    <a:pt x="391" y="110"/>
                  </a:cubicBezTo>
                  <a:cubicBezTo>
                    <a:pt x="389" y="111"/>
                    <a:pt x="387" y="111"/>
                    <a:pt x="386" y="109"/>
                  </a:cubicBezTo>
                  <a:cubicBezTo>
                    <a:pt x="385" y="109"/>
                    <a:pt x="385" y="108"/>
                    <a:pt x="385" y="107"/>
                  </a:cubicBezTo>
                  <a:cubicBezTo>
                    <a:pt x="385" y="106"/>
                    <a:pt x="385" y="104"/>
                    <a:pt x="386" y="104"/>
                  </a:cubicBezTo>
                  <a:cubicBezTo>
                    <a:pt x="398" y="87"/>
                    <a:pt x="398" y="87"/>
                    <a:pt x="398" y="87"/>
                  </a:cubicBezTo>
                  <a:cubicBezTo>
                    <a:pt x="395" y="83"/>
                    <a:pt x="393" y="79"/>
                    <a:pt x="391" y="75"/>
                  </a:cubicBezTo>
                  <a:cubicBezTo>
                    <a:pt x="371" y="78"/>
                    <a:pt x="371" y="78"/>
                    <a:pt x="371" y="78"/>
                  </a:cubicBezTo>
                  <a:cubicBezTo>
                    <a:pt x="369" y="79"/>
                    <a:pt x="366" y="78"/>
                    <a:pt x="365" y="76"/>
                  </a:cubicBezTo>
                  <a:cubicBezTo>
                    <a:pt x="365" y="75"/>
                    <a:pt x="365" y="75"/>
                    <a:pt x="365" y="74"/>
                  </a:cubicBezTo>
                  <a:cubicBezTo>
                    <a:pt x="365" y="73"/>
                    <a:pt x="366" y="71"/>
                    <a:pt x="368" y="71"/>
                  </a:cubicBezTo>
                  <a:cubicBezTo>
                    <a:pt x="384" y="59"/>
                    <a:pt x="384" y="59"/>
                    <a:pt x="384" y="59"/>
                  </a:cubicBezTo>
                  <a:cubicBezTo>
                    <a:pt x="383" y="54"/>
                    <a:pt x="382" y="50"/>
                    <a:pt x="381" y="45"/>
                  </a:cubicBezTo>
                  <a:cubicBezTo>
                    <a:pt x="361" y="42"/>
                    <a:pt x="361" y="42"/>
                    <a:pt x="361" y="42"/>
                  </a:cubicBezTo>
                  <a:cubicBezTo>
                    <a:pt x="359" y="42"/>
                    <a:pt x="357" y="40"/>
                    <a:pt x="357" y="38"/>
                  </a:cubicBezTo>
                  <a:cubicBezTo>
                    <a:pt x="357" y="38"/>
                    <a:pt x="357" y="38"/>
                    <a:pt x="357" y="38"/>
                  </a:cubicBezTo>
                  <a:cubicBezTo>
                    <a:pt x="357" y="36"/>
                    <a:pt x="358" y="34"/>
                    <a:pt x="360" y="34"/>
                  </a:cubicBezTo>
                  <a:cubicBezTo>
                    <a:pt x="380" y="28"/>
                    <a:pt x="380" y="28"/>
                    <a:pt x="380" y="28"/>
                  </a:cubicBezTo>
                  <a:cubicBezTo>
                    <a:pt x="380" y="23"/>
                    <a:pt x="380" y="18"/>
                    <a:pt x="381" y="13"/>
                  </a:cubicBezTo>
                  <a:cubicBezTo>
                    <a:pt x="363" y="4"/>
                    <a:pt x="363" y="4"/>
                    <a:pt x="363" y="4"/>
                  </a:cubicBezTo>
                  <a:cubicBezTo>
                    <a:pt x="361" y="4"/>
                    <a:pt x="360" y="2"/>
                    <a:pt x="360" y="0"/>
                  </a:cubicBezTo>
                  <a:cubicBezTo>
                    <a:pt x="360" y="0"/>
                    <a:pt x="360" y="0"/>
                    <a:pt x="360" y="0"/>
                  </a:cubicBezTo>
                  <a:cubicBezTo>
                    <a:pt x="110" y="0"/>
                    <a:pt x="110" y="0"/>
                    <a:pt x="110" y="0"/>
                  </a:cubicBezTo>
                  <a:cubicBezTo>
                    <a:pt x="103" y="41"/>
                    <a:pt x="83" y="85"/>
                    <a:pt x="83" y="85"/>
                  </a:cubicBezTo>
                  <a:cubicBezTo>
                    <a:pt x="71" y="115"/>
                    <a:pt x="79" y="137"/>
                    <a:pt x="79" y="137"/>
                  </a:cubicBezTo>
                  <a:cubicBezTo>
                    <a:pt x="103" y="178"/>
                    <a:pt x="84" y="200"/>
                    <a:pt x="68" y="221"/>
                  </a:cubicBezTo>
                  <a:cubicBezTo>
                    <a:pt x="53" y="242"/>
                    <a:pt x="0" y="315"/>
                    <a:pt x="51" y="317"/>
                  </a:cubicBezTo>
                  <a:cubicBezTo>
                    <a:pt x="99" y="318"/>
                    <a:pt x="84" y="334"/>
                    <a:pt x="84" y="334"/>
                  </a:cubicBezTo>
                  <a:cubicBezTo>
                    <a:pt x="63" y="380"/>
                    <a:pt x="96" y="381"/>
                    <a:pt x="96" y="381"/>
                  </a:cubicBezTo>
                  <a:cubicBezTo>
                    <a:pt x="81" y="408"/>
                    <a:pt x="103" y="409"/>
                    <a:pt x="103" y="409"/>
                  </a:cubicBezTo>
                  <a:cubicBezTo>
                    <a:pt x="135" y="409"/>
                    <a:pt x="118" y="438"/>
                    <a:pt x="118" y="438"/>
                  </a:cubicBezTo>
                  <a:cubicBezTo>
                    <a:pt x="79" y="481"/>
                    <a:pt x="113" y="524"/>
                    <a:pt x="162" y="514"/>
                  </a:cubicBezTo>
                  <a:cubicBezTo>
                    <a:pt x="259" y="494"/>
                    <a:pt x="309" y="527"/>
                    <a:pt x="286" y="597"/>
                  </a:cubicBezTo>
                  <a:cubicBezTo>
                    <a:pt x="263" y="666"/>
                    <a:pt x="232" y="709"/>
                    <a:pt x="232" y="709"/>
                  </a:cubicBezTo>
                  <a:cubicBezTo>
                    <a:pt x="659" y="709"/>
                    <a:pt x="659" y="709"/>
                    <a:pt x="659" y="709"/>
                  </a:cubicBezTo>
                  <a:cubicBezTo>
                    <a:pt x="568" y="521"/>
                    <a:pt x="568" y="521"/>
                    <a:pt x="568" y="521"/>
                  </a:cubicBezTo>
                  <a:cubicBezTo>
                    <a:pt x="540" y="458"/>
                    <a:pt x="606" y="330"/>
                    <a:pt x="606" y="330"/>
                  </a:cubicBezTo>
                  <a:close/>
                  <a:moveTo>
                    <a:pt x="334" y="176"/>
                  </a:moveTo>
                  <a:cubicBezTo>
                    <a:pt x="322" y="168"/>
                    <a:pt x="322" y="168"/>
                    <a:pt x="322" y="168"/>
                  </a:cubicBezTo>
                  <a:cubicBezTo>
                    <a:pt x="320" y="169"/>
                    <a:pt x="317" y="171"/>
                    <a:pt x="314" y="173"/>
                  </a:cubicBezTo>
                  <a:cubicBezTo>
                    <a:pt x="316" y="187"/>
                    <a:pt x="316" y="187"/>
                    <a:pt x="316" y="187"/>
                  </a:cubicBezTo>
                  <a:cubicBezTo>
                    <a:pt x="316" y="187"/>
                    <a:pt x="316" y="188"/>
                    <a:pt x="316" y="188"/>
                  </a:cubicBezTo>
                  <a:cubicBezTo>
                    <a:pt x="316" y="189"/>
                    <a:pt x="315" y="190"/>
                    <a:pt x="314" y="191"/>
                  </a:cubicBezTo>
                  <a:cubicBezTo>
                    <a:pt x="313" y="191"/>
                    <a:pt x="311" y="190"/>
                    <a:pt x="311" y="189"/>
                  </a:cubicBezTo>
                  <a:cubicBezTo>
                    <a:pt x="302" y="177"/>
                    <a:pt x="302" y="177"/>
                    <a:pt x="302" y="177"/>
                  </a:cubicBezTo>
                  <a:cubicBezTo>
                    <a:pt x="299" y="178"/>
                    <a:pt x="296" y="179"/>
                    <a:pt x="293" y="180"/>
                  </a:cubicBezTo>
                  <a:cubicBezTo>
                    <a:pt x="290" y="194"/>
                    <a:pt x="290" y="194"/>
                    <a:pt x="290" y="194"/>
                  </a:cubicBezTo>
                  <a:cubicBezTo>
                    <a:pt x="290" y="194"/>
                    <a:pt x="290" y="194"/>
                    <a:pt x="290" y="194"/>
                  </a:cubicBezTo>
                  <a:cubicBezTo>
                    <a:pt x="290" y="195"/>
                    <a:pt x="289" y="197"/>
                    <a:pt x="288" y="197"/>
                  </a:cubicBezTo>
                  <a:cubicBezTo>
                    <a:pt x="288" y="197"/>
                    <a:pt x="288" y="197"/>
                    <a:pt x="288" y="197"/>
                  </a:cubicBezTo>
                  <a:cubicBezTo>
                    <a:pt x="286" y="197"/>
                    <a:pt x="285" y="196"/>
                    <a:pt x="285" y="194"/>
                  </a:cubicBezTo>
                  <a:cubicBezTo>
                    <a:pt x="281" y="180"/>
                    <a:pt x="281" y="180"/>
                    <a:pt x="281" y="180"/>
                  </a:cubicBezTo>
                  <a:cubicBezTo>
                    <a:pt x="277" y="180"/>
                    <a:pt x="274" y="180"/>
                    <a:pt x="270" y="180"/>
                  </a:cubicBezTo>
                  <a:cubicBezTo>
                    <a:pt x="264" y="192"/>
                    <a:pt x="264" y="192"/>
                    <a:pt x="264" y="192"/>
                  </a:cubicBezTo>
                  <a:cubicBezTo>
                    <a:pt x="264" y="194"/>
                    <a:pt x="262" y="195"/>
                    <a:pt x="261" y="194"/>
                  </a:cubicBezTo>
                  <a:cubicBezTo>
                    <a:pt x="259" y="194"/>
                    <a:pt x="258" y="193"/>
                    <a:pt x="258" y="192"/>
                  </a:cubicBezTo>
                  <a:cubicBezTo>
                    <a:pt x="258" y="191"/>
                    <a:pt x="258" y="191"/>
                    <a:pt x="259" y="191"/>
                  </a:cubicBezTo>
                  <a:cubicBezTo>
                    <a:pt x="259" y="177"/>
                    <a:pt x="259" y="177"/>
                    <a:pt x="259" y="177"/>
                  </a:cubicBezTo>
                  <a:cubicBezTo>
                    <a:pt x="255" y="176"/>
                    <a:pt x="252" y="174"/>
                    <a:pt x="249" y="173"/>
                  </a:cubicBezTo>
                  <a:cubicBezTo>
                    <a:pt x="239" y="183"/>
                    <a:pt x="239" y="183"/>
                    <a:pt x="239" y="183"/>
                  </a:cubicBezTo>
                  <a:cubicBezTo>
                    <a:pt x="238" y="184"/>
                    <a:pt x="237" y="185"/>
                    <a:pt x="235" y="184"/>
                  </a:cubicBezTo>
                  <a:cubicBezTo>
                    <a:pt x="235" y="183"/>
                    <a:pt x="234" y="182"/>
                    <a:pt x="234" y="181"/>
                  </a:cubicBezTo>
                  <a:cubicBezTo>
                    <a:pt x="234" y="181"/>
                    <a:pt x="234" y="180"/>
                    <a:pt x="235" y="180"/>
                  </a:cubicBezTo>
                  <a:cubicBezTo>
                    <a:pt x="239" y="166"/>
                    <a:pt x="239" y="166"/>
                    <a:pt x="239" y="166"/>
                  </a:cubicBezTo>
                  <a:cubicBezTo>
                    <a:pt x="236" y="164"/>
                    <a:pt x="234" y="162"/>
                    <a:pt x="231" y="160"/>
                  </a:cubicBezTo>
                  <a:cubicBezTo>
                    <a:pt x="219" y="166"/>
                    <a:pt x="219" y="166"/>
                    <a:pt x="219" y="166"/>
                  </a:cubicBezTo>
                  <a:cubicBezTo>
                    <a:pt x="218" y="167"/>
                    <a:pt x="216" y="167"/>
                    <a:pt x="215" y="166"/>
                  </a:cubicBezTo>
                  <a:cubicBezTo>
                    <a:pt x="214" y="165"/>
                    <a:pt x="214" y="165"/>
                    <a:pt x="214" y="164"/>
                  </a:cubicBezTo>
                  <a:cubicBezTo>
                    <a:pt x="214" y="163"/>
                    <a:pt x="214" y="163"/>
                    <a:pt x="215" y="162"/>
                  </a:cubicBezTo>
                  <a:cubicBezTo>
                    <a:pt x="224" y="151"/>
                    <a:pt x="224" y="151"/>
                    <a:pt x="224" y="151"/>
                  </a:cubicBezTo>
                  <a:cubicBezTo>
                    <a:pt x="222" y="148"/>
                    <a:pt x="220" y="145"/>
                    <a:pt x="218" y="142"/>
                  </a:cubicBezTo>
                  <a:cubicBezTo>
                    <a:pt x="204" y="144"/>
                    <a:pt x="204" y="144"/>
                    <a:pt x="204" y="144"/>
                  </a:cubicBezTo>
                  <a:cubicBezTo>
                    <a:pt x="203" y="145"/>
                    <a:pt x="201" y="144"/>
                    <a:pt x="201" y="143"/>
                  </a:cubicBezTo>
                  <a:cubicBezTo>
                    <a:pt x="201" y="142"/>
                    <a:pt x="201" y="142"/>
                    <a:pt x="201" y="141"/>
                  </a:cubicBezTo>
                  <a:cubicBezTo>
                    <a:pt x="201" y="140"/>
                    <a:pt x="201" y="139"/>
                    <a:pt x="202" y="139"/>
                  </a:cubicBezTo>
                  <a:cubicBezTo>
                    <a:pt x="214" y="131"/>
                    <a:pt x="214" y="131"/>
                    <a:pt x="214" y="131"/>
                  </a:cubicBezTo>
                  <a:cubicBezTo>
                    <a:pt x="213" y="127"/>
                    <a:pt x="212" y="124"/>
                    <a:pt x="212" y="121"/>
                  </a:cubicBezTo>
                  <a:cubicBezTo>
                    <a:pt x="198" y="119"/>
                    <a:pt x="198" y="119"/>
                    <a:pt x="198" y="119"/>
                  </a:cubicBezTo>
                  <a:cubicBezTo>
                    <a:pt x="196" y="119"/>
                    <a:pt x="195" y="118"/>
                    <a:pt x="195" y="116"/>
                  </a:cubicBezTo>
                  <a:cubicBezTo>
                    <a:pt x="195" y="116"/>
                    <a:pt x="195" y="116"/>
                    <a:pt x="195" y="116"/>
                  </a:cubicBezTo>
                  <a:cubicBezTo>
                    <a:pt x="195" y="114"/>
                    <a:pt x="196" y="113"/>
                    <a:pt x="197" y="113"/>
                  </a:cubicBezTo>
                  <a:cubicBezTo>
                    <a:pt x="211" y="109"/>
                    <a:pt x="211" y="109"/>
                    <a:pt x="211" y="109"/>
                  </a:cubicBezTo>
                  <a:cubicBezTo>
                    <a:pt x="211" y="105"/>
                    <a:pt x="211" y="102"/>
                    <a:pt x="212" y="99"/>
                  </a:cubicBezTo>
                  <a:cubicBezTo>
                    <a:pt x="199" y="92"/>
                    <a:pt x="199" y="92"/>
                    <a:pt x="199" y="92"/>
                  </a:cubicBezTo>
                  <a:cubicBezTo>
                    <a:pt x="198" y="92"/>
                    <a:pt x="197" y="91"/>
                    <a:pt x="197" y="89"/>
                  </a:cubicBezTo>
                  <a:cubicBezTo>
                    <a:pt x="197" y="89"/>
                    <a:pt x="197" y="89"/>
                    <a:pt x="197" y="89"/>
                  </a:cubicBezTo>
                  <a:cubicBezTo>
                    <a:pt x="197" y="87"/>
                    <a:pt x="199" y="86"/>
                    <a:pt x="200" y="87"/>
                  </a:cubicBezTo>
                  <a:cubicBezTo>
                    <a:pt x="215" y="87"/>
                    <a:pt x="215" y="87"/>
                    <a:pt x="215" y="87"/>
                  </a:cubicBezTo>
                  <a:cubicBezTo>
                    <a:pt x="216" y="84"/>
                    <a:pt x="217" y="81"/>
                    <a:pt x="218" y="78"/>
                  </a:cubicBezTo>
                  <a:cubicBezTo>
                    <a:pt x="208" y="68"/>
                    <a:pt x="208" y="68"/>
                    <a:pt x="208" y="68"/>
                  </a:cubicBezTo>
                  <a:cubicBezTo>
                    <a:pt x="208" y="67"/>
                    <a:pt x="207" y="66"/>
                    <a:pt x="207" y="65"/>
                  </a:cubicBezTo>
                  <a:cubicBezTo>
                    <a:pt x="207" y="65"/>
                    <a:pt x="207" y="64"/>
                    <a:pt x="207" y="64"/>
                  </a:cubicBezTo>
                  <a:cubicBezTo>
                    <a:pt x="208" y="62"/>
                    <a:pt x="210" y="62"/>
                    <a:pt x="211" y="63"/>
                  </a:cubicBezTo>
                  <a:cubicBezTo>
                    <a:pt x="225" y="67"/>
                    <a:pt x="225" y="67"/>
                    <a:pt x="225" y="67"/>
                  </a:cubicBezTo>
                  <a:cubicBezTo>
                    <a:pt x="227" y="65"/>
                    <a:pt x="229" y="62"/>
                    <a:pt x="232" y="60"/>
                  </a:cubicBezTo>
                  <a:cubicBezTo>
                    <a:pt x="225" y="47"/>
                    <a:pt x="225" y="47"/>
                    <a:pt x="225" y="47"/>
                  </a:cubicBezTo>
                  <a:cubicBezTo>
                    <a:pt x="225" y="46"/>
                    <a:pt x="224" y="46"/>
                    <a:pt x="224" y="45"/>
                  </a:cubicBezTo>
                  <a:cubicBezTo>
                    <a:pt x="224" y="44"/>
                    <a:pt x="225" y="44"/>
                    <a:pt x="225" y="43"/>
                  </a:cubicBezTo>
                  <a:cubicBezTo>
                    <a:pt x="227" y="42"/>
                    <a:pt x="228" y="42"/>
                    <a:pt x="229" y="43"/>
                  </a:cubicBezTo>
                  <a:cubicBezTo>
                    <a:pt x="241" y="52"/>
                    <a:pt x="241" y="52"/>
                    <a:pt x="241" y="52"/>
                  </a:cubicBezTo>
                  <a:cubicBezTo>
                    <a:pt x="243" y="50"/>
                    <a:pt x="246" y="48"/>
                    <a:pt x="249" y="47"/>
                  </a:cubicBezTo>
                  <a:cubicBezTo>
                    <a:pt x="247" y="33"/>
                    <a:pt x="247" y="33"/>
                    <a:pt x="247" y="33"/>
                  </a:cubicBezTo>
                  <a:cubicBezTo>
                    <a:pt x="247" y="32"/>
                    <a:pt x="247" y="32"/>
                    <a:pt x="247" y="32"/>
                  </a:cubicBezTo>
                  <a:cubicBezTo>
                    <a:pt x="247" y="30"/>
                    <a:pt x="248" y="29"/>
                    <a:pt x="249" y="29"/>
                  </a:cubicBezTo>
                  <a:cubicBezTo>
                    <a:pt x="250" y="28"/>
                    <a:pt x="252" y="29"/>
                    <a:pt x="252" y="31"/>
                  </a:cubicBezTo>
                  <a:cubicBezTo>
                    <a:pt x="261" y="42"/>
                    <a:pt x="261" y="42"/>
                    <a:pt x="261" y="42"/>
                  </a:cubicBezTo>
                  <a:cubicBezTo>
                    <a:pt x="264" y="41"/>
                    <a:pt x="267" y="40"/>
                    <a:pt x="270" y="40"/>
                  </a:cubicBezTo>
                  <a:cubicBezTo>
                    <a:pt x="273" y="26"/>
                    <a:pt x="273" y="26"/>
                    <a:pt x="273" y="26"/>
                  </a:cubicBezTo>
                  <a:cubicBezTo>
                    <a:pt x="273" y="26"/>
                    <a:pt x="273" y="26"/>
                    <a:pt x="273" y="26"/>
                  </a:cubicBezTo>
                  <a:cubicBezTo>
                    <a:pt x="273" y="24"/>
                    <a:pt x="274" y="23"/>
                    <a:pt x="275" y="23"/>
                  </a:cubicBezTo>
                  <a:cubicBezTo>
                    <a:pt x="277" y="23"/>
                    <a:pt x="278" y="24"/>
                    <a:pt x="278" y="25"/>
                  </a:cubicBezTo>
                  <a:cubicBezTo>
                    <a:pt x="282" y="39"/>
                    <a:pt x="282" y="39"/>
                    <a:pt x="282" y="39"/>
                  </a:cubicBezTo>
                  <a:cubicBezTo>
                    <a:pt x="286" y="39"/>
                    <a:pt x="289" y="39"/>
                    <a:pt x="293" y="40"/>
                  </a:cubicBezTo>
                  <a:cubicBezTo>
                    <a:pt x="299" y="27"/>
                    <a:pt x="299" y="27"/>
                    <a:pt x="299" y="27"/>
                  </a:cubicBezTo>
                  <a:cubicBezTo>
                    <a:pt x="299" y="26"/>
                    <a:pt x="301" y="25"/>
                    <a:pt x="302" y="25"/>
                  </a:cubicBezTo>
                  <a:cubicBezTo>
                    <a:pt x="304" y="25"/>
                    <a:pt x="305" y="27"/>
                    <a:pt x="305" y="28"/>
                  </a:cubicBezTo>
                  <a:cubicBezTo>
                    <a:pt x="305" y="28"/>
                    <a:pt x="305" y="28"/>
                    <a:pt x="304" y="29"/>
                  </a:cubicBezTo>
                  <a:cubicBezTo>
                    <a:pt x="304" y="43"/>
                    <a:pt x="304" y="43"/>
                    <a:pt x="304" y="43"/>
                  </a:cubicBezTo>
                  <a:cubicBezTo>
                    <a:pt x="308" y="44"/>
                    <a:pt x="311" y="45"/>
                    <a:pt x="314" y="47"/>
                  </a:cubicBezTo>
                  <a:cubicBezTo>
                    <a:pt x="324" y="37"/>
                    <a:pt x="324" y="37"/>
                    <a:pt x="324" y="37"/>
                  </a:cubicBezTo>
                  <a:cubicBezTo>
                    <a:pt x="325" y="35"/>
                    <a:pt x="326" y="35"/>
                    <a:pt x="328" y="36"/>
                  </a:cubicBezTo>
                  <a:cubicBezTo>
                    <a:pt x="328" y="36"/>
                    <a:pt x="329" y="37"/>
                    <a:pt x="329" y="38"/>
                  </a:cubicBezTo>
                  <a:cubicBezTo>
                    <a:pt x="329" y="39"/>
                    <a:pt x="329" y="39"/>
                    <a:pt x="328" y="40"/>
                  </a:cubicBezTo>
                  <a:cubicBezTo>
                    <a:pt x="324" y="53"/>
                    <a:pt x="324" y="53"/>
                    <a:pt x="324" y="53"/>
                  </a:cubicBezTo>
                  <a:cubicBezTo>
                    <a:pt x="327" y="55"/>
                    <a:pt x="329" y="57"/>
                    <a:pt x="332" y="60"/>
                  </a:cubicBezTo>
                  <a:cubicBezTo>
                    <a:pt x="344" y="53"/>
                    <a:pt x="344" y="53"/>
                    <a:pt x="344" y="53"/>
                  </a:cubicBezTo>
                  <a:cubicBezTo>
                    <a:pt x="345" y="52"/>
                    <a:pt x="347" y="52"/>
                    <a:pt x="348" y="54"/>
                  </a:cubicBezTo>
                  <a:cubicBezTo>
                    <a:pt x="349" y="54"/>
                    <a:pt x="349" y="55"/>
                    <a:pt x="349" y="55"/>
                  </a:cubicBezTo>
                  <a:cubicBezTo>
                    <a:pt x="349" y="56"/>
                    <a:pt x="349" y="57"/>
                    <a:pt x="348" y="58"/>
                  </a:cubicBezTo>
                  <a:cubicBezTo>
                    <a:pt x="339" y="69"/>
                    <a:pt x="339" y="69"/>
                    <a:pt x="339" y="69"/>
                  </a:cubicBezTo>
                  <a:cubicBezTo>
                    <a:pt x="341" y="72"/>
                    <a:pt x="343" y="75"/>
                    <a:pt x="345" y="78"/>
                  </a:cubicBezTo>
                  <a:cubicBezTo>
                    <a:pt x="359" y="75"/>
                    <a:pt x="359" y="75"/>
                    <a:pt x="359" y="75"/>
                  </a:cubicBezTo>
                  <a:cubicBezTo>
                    <a:pt x="360" y="75"/>
                    <a:pt x="362" y="76"/>
                    <a:pt x="362" y="77"/>
                  </a:cubicBezTo>
                  <a:cubicBezTo>
                    <a:pt x="362" y="77"/>
                    <a:pt x="362" y="78"/>
                    <a:pt x="362" y="78"/>
                  </a:cubicBezTo>
                  <a:cubicBezTo>
                    <a:pt x="362" y="79"/>
                    <a:pt x="362" y="80"/>
                    <a:pt x="361" y="81"/>
                  </a:cubicBezTo>
                  <a:cubicBezTo>
                    <a:pt x="349" y="89"/>
                    <a:pt x="349" y="89"/>
                    <a:pt x="349" y="89"/>
                  </a:cubicBezTo>
                  <a:cubicBezTo>
                    <a:pt x="350" y="92"/>
                    <a:pt x="351" y="95"/>
                    <a:pt x="351" y="99"/>
                  </a:cubicBezTo>
                  <a:cubicBezTo>
                    <a:pt x="365" y="101"/>
                    <a:pt x="365" y="101"/>
                    <a:pt x="365" y="101"/>
                  </a:cubicBezTo>
                  <a:cubicBezTo>
                    <a:pt x="367" y="101"/>
                    <a:pt x="368" y="102"/>
                    <a:pt x="368" y="104"/>
                  </a:cubicBezTo>
                  <a:cubicBezTo>
                    <a:pt x="368" y="104"/>
                    <a:pt x="368" y="104"/>
                    <a:pt x="368" y="104"/>
                  </a:cubicBezTo>
                  <a:cubicBezTo>
                    <a:pt x="368" y="105"/>
                    <a:pt x="367" y="106"/>
                    <a:pt x="366" y="107"/>
                  </a:cubicBezTo>
                  <a:cubicBezTo>
                    <a:pt x="352" y="111"/>
                    <a:pt x="352" y="111"/>
                    <a:pt x="352" y="111"/>
                  </a:cubicBezTo>
                  <a:cubicBezTo>
                    <a:pt x="352" y="114"/>
                    <a:pt x="352" y="118"/>
                    <a:pt x="351" y="121"/>
                  </a:cubicBezTo>
                  <a:cubicBezTo>
                    <a:pt x="364" y="127"/>
                    <a:pt x="364" y="127"/>
                    <a:pt x="364" y="127"/>
                  </a:cubicBezTo>
                  <a:cubicBezTo>
                    <a:pt x="365" y="128"/>
                    <a:pt x="366" y="129"/>
                    <a:pt x="366" y="130"/>
                  </a:cubicBezTo>
                  <a:cubicBezTo>
                    <a:pt x="366" y="130"/>
                    <a:pt x="366" y="130"/>
                    <a:pt x="366" y="131"/>
                  </a:cubicBezTo>
                  <a:cubicBezTo>
                    <a:pt x="366" y="132"/>
                    <a:pt x="364" y="133"/>
                    <a:pt x="363" y="133"/>
                  </a:cubicBezTo>
                  <a:cubicBezTo>
                    <a:pt x="348" y="133"/>
                    <a:pt x="348" y="133"/>
                    <a:pt x="348" y="133"/>
                  </a:cubicBezTo>
                  <a:cubicBezTo>
                    <a:pt x="347" y="136"/>
                    <a:pt x="346" y="139"/>
                    <a:pt x="345" y="142"/>
                  </a:cubicBezTo>
                  <a:cubicBezTo>
                    <a:pt x="355" y="152"/>
                    <a:pt x="355" y="152"/>
                    <a:pt x="355" y="152"/>
                  </a:cubicBezTo>
                  <a:cubicBezTo>
                    <a:pt x="355" y="153"/>
                    <a:pt x="356" y="153"/>
                    <a:pt x="356" y="154"/>
                  </a:cubicBezTo>
                  <a:cubicBezTo>
                    <a:pt x="356" y="155"/>
                    <a:pt x="356" y="155"/>
                    <a:pt x="356" y="156"/>
                  </a:cubicBezTo>
                  <a:cubicBezTo>
                    <a:pt x="355" y="157"/>
                    <a:pt x="353" y="158"/>
                    <a:pt x="352" y="157"/>
                  </a:cubicBezTo>
                  <a:cubicBezTo>
                    <a:pt x="338" y="152"/>
                    <a:pt x="338" y="152"/>
                    <a:pt x="338" y="152"/>
                  </a:cubicBezTo>
                  <a:cubicBezTo>
                    <a:pt x="336" y="155"/>
                    <a:pt x="334" y="157"/>
                    <a:pt x="331" y="160"/>
                  </a:cubicBezTo>
                  <a:cubicBezTo>
                    <a:pt x="338" y="173"/>
                    <a:pt x="338" y="173"/>
                    <a:pt x="338" y="173"/>
                  </a:cubicBezTo>
                  <a:cubicBezTo>
                    <a:pt x="338" y="173"/>
                    <a:pt x="339" y="174"/>
                    <a:pt x="339" y="174"/>
                  </a:cubicBezTo>
                  <a:cubicBezTo>
                    <a:pt x="339" y="175"/>
                    <a:pt x="338" y="176"/>
                    <a:pt x="338" y="176"/>
                  </a:cubicBezTo>
                  <a:cubicBezTo>
                    <a:pt x="336" y="177"/>
                    <a:pt x="335" y="177"/>
                    <a:pt x="334" y="176"/>
                  </a:cubicBezTo>
                  <a:close/>
                  <a:moveTo>
                    <a:pt x="451" y="192"/>
                  </a:moveTo>
                  <a:cubicBezTo>
                    <a:pt x="442" y="195"/>
                    <a:pt x="442" y="195"/>
                    <a:pt x="442" y="195"/>
                  </a:cubicBezTo>
                  <a:cubicBezTo>
                    <a:pt x="442" y="197"/>
                    <a:pt x="442" y="200"/>
                    <a:pt x="441" y="202"/>
                  </a:cubicBezTo>
                  <a:cubicBezTo>
                    <a:pt x="450" y="206"/>
                    <a:pt x="450" y="206"/>
                    <a:pt x="450" y="206"/>
                  </a:cubicBezTo>
                  <a:cubicBezTo>
                    <a:pt x="451" y="206"/>
                    <a:pt x="451" y="207"/>
                    <a:pt x="451" y="208"/>
                  </a:cubicBezTo>
                  <a:cubicBezTo>
                    <a:pt x="451" y="208"/>
                    <a:pt x="451" y="208"/>
                    <a:pt x="451" y="208"/>
                  </a:cubicBezTo>
                  <a:cubicBezTo>
                    <a:pt x="451" y="209"/>
                    <a:pt x="450" y="210"/>
                    <a:pt x="449" y="210"/>
                  </a:cubicBezTo>
                  <a:cubicBezTo>
                    <a:pt x="439" y="210"/>
                    <a:pt x="439" y="210"/>
                    <a:pt x="439" y="210"/>
                  </a:cubicBezTo>
                  <a:cubicBezTo>
                    <a:pt x="439" y="212"/>
                    <a:pt x="438" y="214"/>
                    <a:pt x="437" y="216"/>
                  </a:cubicBezTo>
                  <a:cubicBezTo>
                    <a:pt x="444" y="223"/>
                    <a:pt x="444" y="223"/>
                    <a:pt x="444" y="223"/>
                  </a:cubicBezTo>
                  <a:cubicBezTo>
                    <a:pt x="444" y="223"/>
                    <a:pt x="444" y="224"/>
                    <a:pt x="444" y="224"/>
                  </a:cubicBezTo>
                  <a:cubicBezTo>
                    <a:pt x="444" y="225"/>
                    <a:pt x="444" y="225"/>
                    <a:pt x="444" y="225"/>
                  </a:cubicBezTo>
                  <a:cubicBezTo>
                    <a:pt x="444" y="226"/>
                    <a:pt x="443" y="226"/>
                    <a:pt x="442" y="226"/>
                  </a:cubicBezTo>
                  <a:cubicBezTo>
                    <a:pt x="433" y="223"/>
                    <a:pt x="433" y="223"/>
                    <a:pt x="433" y="223"/>
                  </a:cubicBezTo>
                  <a:cubicBezTo>
                    <a:pt x="431" y="224"/>
                    <a:pt x="430" y="226"/>
                    <a:pt x="428" y="228"/>
                  </a:cubicBezTo>
                  <a:cubicBezTo>
                    <a:pt x="433" y="236"/>
                    <a:pt x="433" y="236"/>
                    <a:pt x="433" y="236"/>
                  </a:cubicBezTo>
                  <a:cubicBezTo>
                    <a:pt x="433" y="237"/>
                    <a:pt x="433" y="237"/>
                    <a:pt x="433" y="237"/>
                  </a:cubicBezTo>
                  <a:cubicBezTo>
                    <a:pt x="433" y="238"/>
                    <a:pt x="433" y="239"/>
                    <a:pt x="432" y="239"/>
                  </a:cubicBezTo>
                  <a:cubicBezTo>
                    <a:pt x="431" y="240"/>
                    <a:pt x="430" y="239"/>
                    <a:pt x="430" y="239"/>
                  </a:cubicBezTo>
                  <a:cubicBezTo>
                    <a:pt x="422" y="233"/>
                    <a:pt x="422" y="233"/>
                    <a:pt x="422" y="233"/>
                  </a:cubicBezTo>
                  <a:cubicBezTo>
                    <a:pt x="420" y="234"/>
                    <a:pt x="418" y="235"/>
                    <a:pt x="416" y="236"/>
                  </a:cubicBezTo>
                  <a:cubicBezTo>
                    <a:pt x="418" y="246"/>
                    <a:pt x="418" y="246"/>
                    <a:pt x="418" y="246"/>
                  </a:cubicBezTo>
                  <a:cubicBezTo>
                    <a:pt x="418" y="246"/>
                    <a:pt x="418" y="246"/>
                    <a:pt x="418" y="247"/>
                  </a:cubicBezTo>
                  <a:cubicBezTo>
                    <a:pt x="418" y="247"/>
                    <a:pt x="417" y="248"/>
                    <a:pt x="417" y="248"/>
                  </a:cubicBezTo>
                  <a:cubicBezTo>
                    <a:pt x="416" y="249"/>
                    <a:pt x="415" y="248"/>
                    <a:pt x="414" y="247"/>
                  </a:cubicBezTo>
                  <a:cubicBezTo>
                    <a:pt x="409" y="239"/>
                    <a:pt x="409" y="239"/>
                    <a:pt x="409" y="239"/>
                  </a:cubicBezTo>
                  <a:cubicBezTo>
                    <a:pt x="407" y="240"/>
                    <a:pt x="404" y="241"/>
                    <a:pt x="402" y="241"/>
                  </a:cubicBezTo>
                  <a:cubicBezTo>
                    <a:pt x="401" y="250"/>
                    <a:pt x="401" y="250"/>
                    <a:pt x="401" y="250"/>
                  </a:cubicBezTo>
                  <a:cubicBezTo>
                    <a:pt x="401" y="250"/>
                    <a:pt x="401" y="251"/>
                    <a:pt x="401" y="251"/>
                  </a:cubicBezTo>
                  <a:cubicBezTo>
                    <a:pt x="401" y="252"/>
                    <a:pt x="400" y="252"/>
                    <a:pt x="399" y="252"/>
                  </a:cubicBezTo>
                  <a:cubicBezTo>
                    <a:pt x="399" y="252"/>
                    <a:pt x="399" y="252"/>
                    <a:pt x="399" y="252"/>
                  </a:cubicBezTo>
                  <a:cubicBezTo>
                    <a:pt x="398" y="252"/>
                    <a:pt x="397" y="252"/>
                    <a:pt x="397" y="251"/>
                  </a:cubicBezTo>
                  <a:cubicBezTo>
                    <a:pt x="394" y="242"/>
                    <a:pt x="394" y="242"/>
                    <a:pt x="394" y="242"/>
                  </a:cubicBezTo>
                  <a:cubicBezTo>
                    <a:pt x="392" y="242"/>
                    <a:pt x="390" y="241"/>
                    <a:pt x="387" y="241"/>
                  </a:cubicBezTo>
                  <a:cubicBezTo>
                    <a:pt x="383" y="250"/>
                    <a:pt x="383" y="250"/>
                    <a:pt x="383" y="250"/>
                  </a:cubicBezTo>
                  <a:cubicBezTo>
                    <a:pt x="383" y="251"/>
                    <a:pt x="382" y="251"/>
                    <a:pt x="381" y="251"/>
                  </a:cubicBezTo>
                  <a:cubicBezTo>
                    <a:pt x="380" y="251"/>
                    <a:pt x="379" y="250"/>
                    <a:pt x="379" y="249"/>
                  </a:cubicBezTo>
                  <a:cubicBezTo>
                    <a:pt x="379" y="249"/>
                    <a:pt x="379" y="249"/>
                    <a:pt x="379" y="249"/>
                  </a:cubicBezTo>
                  <a:cubicBezTo>
                    <a:pt x="380" y="239"/>
                    <a:pt x="380" y="239"/>
                    <a:pt x="380" y="239"/>
                  </a:cubicBezTo>
                  <a:cubicBezTo>
                    <a:pt x="377" y="238"/>
                    <a:pt x="375" y="237"/>
                    <a:pt x="373" y="236"/>
                  </a:cubicBezTo>
                  <a:cubicBezTo>
                    <a:pt x="367" y="243"/>
                    <a:pt x="367" y="243"/>
                    <a:pt x="367" y="243"/>
                  </a:cubicBezTo>
                  <a:cubicBezTo>
                    <a:pt x="366" y="244"/>
                    <a:pt x="365" y="244"/>
                    <a:pt x="364" y="244"/>
                  </a:cubicBezTo>
                  <a:cubicBezTo>
                    <a:pt x="364" y="243"/>
                    <a:pt x="363" y="243"/>
                    <a:pt x="363" y="242"/>
                  </a:cubicBezTo>
                  <a:cubicBezTo>
                    <a:pt x="363" y="242"/>
                    <a:pt x="363" y="242"/>
                    <a:pt x="364" y="241"/>
                  </a:cubicBezTo>
                  <a:cubicBezTo>
                    <a:pt x="367" y="232"/>
                    <a:pt x="367" y="232"/>
                    <a:pt x="367" y="232"/>
                  </a:cubicBezTo>
                  <a:cubicBezTo>
                    <a:pt x="365" y="231"/>
                    <a:pt x="363" y="229"/>
                    <a:pt x="361" y="228"/>
                  </a:cubicBezTo>
                  <a:cubicBezTo>
                    <a:pt x="353" y="232"/>
                    <a:pt x="353" y="232"/>
                    <a:pt x="353" y="232"/>
                  </a:cubicBezTo>
                  <a:cubicBezTo>
                    <a:pt x="352" y="233"/>
                    <a:pt x="351" y="233"/>
                    <a:pt x="350" y="232"/>
                  </a:cubicBezTo>
                  <a:cubicBezTo>
                    <a:pt x="350" y="232"/>
                    <a:pt x="350" y="231"/>
                    <a:pt x="350" y="231"/>
                  </a:cubicBezTo>
                  <a:cubicBezTo>
                    <a:pt x="350" y="230"/>
                    <a:pt x="350" y="230"/>
                    <a:pt x="351" y="229"/>
                  </a:cubicBezTo>
                  <a:cubicBezTo>
                    <a:pt x="356" y="222"/>
                    <a:pt x="356" y="222"/>
                    <a:pt x="356" y="222"/>
                  </a:cubicBezTo>
                  <a:cubicBezTo>
                    <a:pt x="355" y="220"/>
                    <a:pt x="354" y="218"/>
                    <a:pt x="353" y="216"/>
                  </a:cubicBezTo>
                  <a:cubicBezTo>
                    <a:pt x="343" y="217"/>
                    <a:pt x="343" y="217"/>
                    <a:pt x="343" y="217"/>
                  </a:cubicBezTo>
                  <a:cubicBezTo>
                    <a:pt x="342" y="218"/>
                    <a:pt x="341" y="217"/>
                    <a:pt x="341" y="216"/>
                  </a:cubicBezTo>
                  <a:cubicBezTo>
                    <a:pt x="341" y="216"/>
                    <a:pt x="341" y="216"/>
                    <a:pt x="341" y="216"/>
                  </a:cubicBezTo>
                  <a:cubicBezTo>
                    <a:pt x="341" y="215"/>
                    <a:pt x="341" y="214"/>
                    <a:pt x="342" y="214"/>
                  </a:cubicBezTo>
                  <a:cubicBezTo>
                    <a:pt x="350" y="208"/>
                    <a:pt x="350" y="208"/>
                    <a:pt x="350" y="208"/>
                  </a:cubicBezTo>
                  <a:cubicBezTo>
                    <a:pt x="349" y="206"/>
                    <a:pt x="349" y="204"/>
                    <a:pt x="348" y="202"/>
                  </a:cubicBezTo>
                  <a:cubicBezTo>
                    <a:pt x="339" y="200"/>
                    <a:pt x="339" y="200"/>
                    <a:pt x="339" y="200"/>
                  </a:cubicBezTo>
                  <a:cubicBezTo>
                    <a:pt x="338" y="200"/>
                    <a:pt x="337" y="200"/>
                    <a:pt x="337" y="199"/>
                  </a:cubicBezTo>
                  <a:cubicBezTo>
                    <a:pt x="337" y="199"/>
                    <a:pt x="337" y="198"/>
                    <a:pt x="337" y="198"/>
                  </a:cubicBezTo>
                  <a:cubicBezTo>
                    <a:pt x="337" y="197"/>
                    <a:pt x="338" y="197"/>
                    <a:pt x="339" y="197"/>
                  </a:cubicBezTo>
                  <a:cubicBezTo>
                    <a:pt x="348" y="194"/>
                    <a:pt x="348" y="194"/>
                    <a:pt x="348" y="194"/>
                  </a:cubicBezTo>
                  <a:cubicBezTo>
                    <a:pt x="348" y="191"/>
                    <a:pt x="348" y="189"/>
                    <a:pt x="348" y="187"/>
                  </a:cubicBezTo>
                  <a:cubicBezTo>
                    <a:pt x="340" y="183"/>
                    <a:pt x="340" y="183"/>
                    <a:pt x="340" y="183"/>
                  </a:cubicBezTo>
                  <a:cubicBezTo>
                    <a:pt x="339" y="182"/>
                    <a:pt x="338" y="182"/>
                    <a:pt x="338" y="181"/>
                  </a:cubicBezTo>
                  <a:cubicBezTo>
                    <a:pt x="338" y="181"/>
                    <a:pt x="338" y="181"/>
                    <a:pt x="338" y="180"/>
                  </a:cubicBezTo>
                  <a:cubicBezTo>
                    <a:pt x="339" y="179"/>
                    <a:pt x="340" y="179"/>
                    <a:pt x="341" y="179"/>
                  </a:cubicBezTo>
                  <a:cubicBezTo>
                    <a:pt x="350" y="179"/>
                    <a:pt x="350" y="179"/>
                    <a:pt x="350" y="179"/>
                  </a:cubicBezTo>
                  <a:cubicBezTo>
                    <a:pt x="351" y="177"/>
                    <a:pt x="352" y="175"/>
                    <a:pt x="353" y="173"/>
                  </a:cubicBezTo>
                  <a:cubicBezTo>
                    <a:pt x="346" y="166"/>
                    <a:pt x="346" y="166"/>
                    <a:pt x="346" y="166"/>
                  </a:cubicBezTo>
                  <a:cubicBezTo>
                    <a:pt x="346" y="166"/>
                    <a:pt x="345" y="165"/>
                    <a:pt x="345" y="165"/>
                  </a:cubicBezTo>
                  <a:cubicBezTo>
                    <a:pt x="345" y="164"/>
                    <a:pt x="345" y="164"/>
                    <a:pt x="345" y="164"/>
                  </a:cubicBezTo>
                  <a:cubicBezTo>
                    <a:pt x="346" y="163"/>
                    <a:pt x="347" y="163"/>
                    <a:pt x="348" y="163"/>
                  </a:cubicBezTo>
                  <a:cubicBezTo>
                    <a:pt x="357" y="166"/>
                    <a:pt x="357" y="166"/>
                    <a:pt x="357" y="166"/>
                  </a:cubicBezTo>
                  <a:cubicBezTo>
                    <a:pt x="358" y="164"/>
                    <a:pt x="360" y="163"/>
                    <a:pt x="361" y="161"/>
                  </a:cubicBezTo>
                  <a:cubicBezTo>
                    <a:pt x="357" y="153"/>
                    <a:pt x="357" y="153"/>
                    <a:pt x="357" y="153"/>
                  </a:cubicBezTo>
                  <a:cubicBezTo>
                    <a:pt x="357" y="152"/>
                    <a:pt x="357" y="152"/>
                    <a:pt x="357" y="151"/>
                  </a:cubicBezTo>
                  <a:cubicBezTo>
                    <a:pt x="357" y="151"/>
                    <a:pt x="357" y="150"/>
                    <a:pt x="357" y="150"/>
                  </a:cubicBezTo>
                  <a:cubicBezTo>
                    <a:pt x="358" y="149"/>
                    <a:pt x="359" y="149"/>
                    <a:pt x="360" y="150"/>
                  </a:cubicBezTo>
                  <a:cubicBezTo>
                    <a:pt x="368" y="156"/>
                    <a:pt x="368" y="156"/>
                    <a:pt x="368" y="156"/>
                  </a:cubicBezTo>
                  <a:cubicBezTo>
                    <a:pt x="369" y="155"/>
                    <a:pt x="371" y="153"/>
                    <a:pt x="373" y="152"/>
                  </a:cubicBezTo>
                  <a:cubicBezTo>
                    <a:pt x="372" y="143"/>
                    <a:pt x="372" y="143"/>
                    <a:pt x="372" y="143"/>
                  </a:cubicBezTo>
                  <a:cubicBezTo>
                    <a:pt x="372" y="143"/>
                    <a:pt x="372" y="143"/>
                    <a:pt x="372" y="142"/>
                  </a:cubicBezTo>
                  <a:cubicBezTo>
                    <a:pt x="372" y="142"/>
                    <a:pt x="372" y="141"/>
                    <a:pt x="373" y="141"/>
                  </a:cubicBezTo>
                  <a:cubicBezTo>
                    <a:pt x="374" y="140"/>
                    <a:pt x="375" y="141"/>
                    <a:pt x="375" y="142"/>
                  </a:cubicBezTo>
                  <a:cubicBezTo>
                    <a:pt x="381" y="149"/>
                    <a:pt x="381" y="149"/>
                    <a:pt x="381" y="149"/>
                  </a:cubicBezTo>
                  <a:cubicBezTo>
                    <a:pt x="383" y="149"/>
                    <a:pt x="385" y="148"/>
                    <a:pt x="387" y="148"/>
                  </a:cubicBezTo>
                  <a:cubicBezTo>
                    <a:pt x="389" y="138"/>
                    <a:pt x="389" y="138"/>
                    <a:pt x="389" y="138"/>
                  </a:cubicBezTo>
                  <a:cubicBezTo>
                    <a:pt x="389" y="138"/>
                    <a:pt x="389" y="138"/>
                    <a:pt x="389" y="138"/>
                  </a:cubicBezTo>
                  <a:cubicBezTo>
                    <a:pt x="389" y="137"/>
                    <a:pt x="390" y="136"/>
                    <a:pt x="391" y="136"/>
                  </a:cubicBezTo>
                  <a:cubicBezTo>
                    <a:pt x="392" y="136"/>
                    <a:pt x="393" y="137"/>
                    <a:pt x="393" y="138"/>
                  </a:cubicBezTo>
                  <a:cubicBezTo>
                    <a:pt x="395" y="147"/>
                    <a:pt x="395" y="147"/>
                    <a:pt x="395" y="147"/>
                  </a:cubicBezTo>
                  <a:cubicBezTo>
                    <a:pt x="398" y="147"/>
                    <a:pt x="400" y="147"/>
                    <a:pt x="402" y="148"/>
                  </a:cubicBezTo>
                  <a:cubicBezTo>
                    <a:pt x="407" y="139"/>
                    <a:pt x="407" y="139"/>
                    <a:pt x="407" y="139"/>
                  </a:cubicBezTo>
                  <a:cubicBezTo>
                    <a:pt x="407" y="138"/>
                    <a:pt x="408" y="138"/>
                    <a:pt x="409" y="138"/>
                  </a:cubicBezTo>
                  <a:cubicBezTo>
                    <a:pt x="410" y="138"/>
                    <a:pt x="410" y="139"/>
                    <a:pt x="410" y="140"/>
                  </a:cubicBezTo>
                  <a:cubicBezTo>
                    <a:pt x="410" y="140"/>
                    <a:pt x="410" y="140"/>
                    <a:pt x="410" y="140"/>
                  </a:cubicBezTo>
                  <a:cubicBezTo>
                    <a:pt x="410" y="150"/>
                    <a:pt x="410" y="150"/>
                    <a:pt x="410" y="150"/>
                  </a:cubicBezTo>
                  <a:cubicBezTo>
                    <a:pt x="412" y="150"/>
                    <a:pt x="414" y="151"/>
                    <a:pt x="416" y="152"/>
                  </a:cubicBezTo>
                  <a:cubicBezTo>
                    <a:pt x="423" y="146"/>
                    <a:pt x="423" y="146"/>
                    <a:pt x="423" y="146"/>
                  </a:cubicBezTo>
                  <a:cubicBezTo>
                    <a:pt x="424" y="145"/>
                    <a:pt x="425" y="145"/>
                    <a:pt x="426" y="145"/>
                  </a:cubicBezTo>
                  <a:cubicBezTo>
                    <a:pt x="426" y="145"/>
                    <a:pt x="426" y="146"/>
                    <a:pt x="426" y="147"/>
                  </a:cubicBezTo>
                  <a:cubicBezTo>
                    <a:pt x="426" y="147"/>
                    <a:pt x="426" y="147"/>
                    <a:pt x="426" y="148"/>
                  </a:cubicBezTo>
                  <a:cubicBezTo>
                    <a:pt x="423" y="157"/>
                    <a:pt x="423" y="157"/>
                    <a:pt x="423" y="157"/>
                  </a:cubicBezTo>
                  <a:cubicBezTo>
                    <a:pt x="425" y="158"/>
                    <a:pt x="427" y="159"/>
                    <a:pt x="428" y="161"/>
                  </a:cubicBezTo>
                  <a:cubicBezTo>
                    <a:pt x="437" y="157"/>
                    <a:pt x="437" y="157"/>
                    <a:pt x="437" y="157"/>
                  </a:cubicBezTo>
                  <a:cubicBezTo>
                    <a:pt x="437" y="156"/>
                    <a:pt x="439" y="156"/>
                    <a:pt x="439" y="157"/>
                  </a:cubicBezTo>
                  <a:cubicBezTo>
                    <a:pt x="440" y="157"/>
                    <a:pt x="440" y="158"/>
                    <a:pt x="440" y="158"/>
                  </a:cubicBezTo>
                  <a:cubicBezTo>
                    <a:pt x="440" y="159"/>
                    <a:pt x="440" y="159"/>
                    <a:pt x="439" y="160"/>
                  </a:cubicBezTo>
                  <a:cubicBezTo>
                    <a:pt x="433" y="167"/>
                    <a:pt x="433" y="167"/>
                    <a:pt x="433" y="167"/>
                  </a:cubicBezTo>
                  <a:cubicBezTo>
                    <a:pt x="435" y="169"/>
                    <a:pt x="436" y="171"/>
                    <a:pt x="437" y="173"/>
                  </a:cubicBezTo>
                  <a:cubicBezTo>
                    <a:pt x="446" y="172"/>
                    <a:pt x="446" y="172"/>
                    <a:pt x="446" y="172"/>
                  </a:cubicBezTo>
                  <a:cubicBezTo>
                    <a:pt x="447" y="171"/>
                    <a:pt x="448" y="172"/>
                    <a:pt x="449" y="173"/>
                  </a:cubicBezTo>
                  <a:cubicBezTo>
                    <a:pt x="449" y="173"/>
                    <a:pt x="449" y="173"/>
                    <a:pt x="449" y="173"/>
                  </a:cubicBezTo>
                  <a:cubicBezTo>
                    <a:pt x="449" y="174"/>
                    <a:pt x="448" y="175"/>
                    <a:pt x="448" y="175"/>
                  </a:cubicBezTo>
                  <a:cubicBezTo>
                    <a:pt x="440" y="180"/>
                    <a:pt x="440" y="180"/>
                    <a:pt x="440" y="180"/>
                  </a:cubicBezTo>
                  <a:cubicBezTo>
                    <a:pt x="441" y="183"/>
                    <a:pt x="441" y="185"/>
                    <a:pt x="441" y="187"/>
                  </a:cubicBezTo>
                  <a:cubicBezTo>
                    <a:pt x="451" y="189"/>
                    <a:pt x="451" y="189"/>
                    <a:pt x="451" y="189"/>
                  </a:cubicBezTo>
                  <a:cubicBezTo>
                    <a:pt x="452" y="188"/>
                    <a:pt x="453" y="189"/>
                    <a:pt x="453" y="190"/>
                  </a:cubicBezTo>
                  <a:cubicBezTo>
                    <a:pt x="453" y="190"/>
                    <a:pt x="453" y="190"/>
                    <a:pt x="453" y="190"/>
                  </a:cubicBezTo>
                  <a:cubicBezTo>
                    <a:pt x="453" y="191"/>
                    <a:pt x="452" y="192"/>
                    <a:pt x="451" y="1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 name="Oval 24"/>
            <p:cNvSpPr>
              <a:spLocks noChangeArrowheads="1"/>
            </p:cNvSpPr>
            <p:nvPr/>
          </p:nvSpPr>
          <p:spPr bwMode="auto">
            <a:xfrm>
              <a:off x="-1333500" y="3128963"/>
              <a:ext cx="77788" cy="79375"/>
            </a:xfrm>
            <a:prstGeom prst="ellipse">
              <a:avLst/>
            </a:prstGeom>
            <a:grpFill/>
            <a:ln w="9525">
              <a:solidFill>
                <a:schemeClr val="tx1"/>
              </a:solidFill>
              <a:round/>
            </a:ln>
          </p:spPr>
          <p:txBody>
            <a:bodyPr vert="horz" wrap="square" lIns="91440" tIns="45720" rIns="91440" bIns="45720" numCol="1" anchor="t" anchorCtr="0" compatLnSpc="1"/>
            <a:lstStyle/>
            <a:p>
              <a:endParaRPr lang="en-US"/>
            </a:p>
          </p:txBody>
        </p:sp>
        <p:sp>
          <p:nvSpPr>
            <p:cNvPr id="65" name="Freeform 25"/>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6" name="Freeform 89"/>
          <p:cNvSpPr>
            <a:spLocks noEditPoints="1"/>
          </p:cNvSpPr>
          <p:nvPr/>
        </p:nvSpPr>
        <p:spPr bwMode="black">
          <a:xfrm>
            <a:off x="1600779" y="1944847"/>
            <a:ext cx="684731" cy="440664"/>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61735" tIns="30867" rIns="61735" bIns="30867" numCol="1" anchor="t" anchorCtr="0" compatLnSpc="1"/>
          <a:lstStyle/>
          <a:p>
            <a:endParaRPr lang="en-US" sz="1200"/>
          </a:p>
        </p:txBody>
      </p:sp>
      <p:sp>
        <p:nvSpPr>
          <p:cNvPr id="67" name="等腰三角形 66"/>
          <p:cNvSpPr/>
          <p:nvPr/>
        </p:nvSpPr>
        <p:spPr>
          <a:xfrm rot="5400000">
            <a:off x="4166956" y="790257"/>
            <a:ext cx="792185" cy="3101364"/>
          </a:xfrm>
          <a:custGeom>
            <a:avLst/>
            <a:gdLst/>
            <a:ahLst/>
            <a:cxnLst/>
            <a:rect l="l" t="t" r="r" b="b"/>
            <a:pathLst>
              <a:path w="792185" h="3101364">
                <a:moveTo>
                  <a:pt x="0" y="3101364"/>
                </a:moveTo>
                <a:lnTo>
                  <a:pt x="0" y="245938"/>
                </a:lnTo>
                <a:lnTo>
                  <a:pt x="253447" y="245938"/>
                </a:lnTo>
                <a:lnTo>
                  <a:pt x="396091" y="0"/>
                </a:lnTo>
                <a:lnTo>
                  <a:pt x="538735" y="245938"/>
                </a:lnTo>
                <a:lnTo>
                  <a:pt x="792185" y="245938"/>
                </a:lnTo>
                <a:lnTo>
                  <a:pt x="792185" y="3101364"/>
                </a:lnTo>
                <a:close/>
              </a:path>
            </a:pathLst>
          </a:cu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sz="2000" dirty="0" smtClean="0">
                <a:solidFill>
                  <a:schemeClr val="tx1"/>
                </a:solidFill>
                <a:latin typeface="微软雅黑" panose="020B0503020204020204" pitchFamily="34" charset="-122"/>
                <a:ea typeface="微软雅黑" panose="020B0503020204020204" pitchFamily="34" charset="-122"/>
              </a:rPr>
              <a:t>项目管理</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68" name="等腰三角形 67"/>
          <p:cNvSpPr/>
          <p:nvPr/>
        </p:nvSpPr>
        <p:spPr>
          <a:xfrm rot="5400000">
            <a:off x="4166956" y="1579075"/>
            <a:ext cx="792185" cy="3101364"/>
          </a:xfrm>
          <a:custGeom>
            <a:avLst/>
            <a:gdLst/>
            <a:ahLst/>
            <a:cxnLst/>
            <a:rect l="l" t="t" r="r" b="b"/>
            <a:pathLst>
              <a:path w="792185" h="3101364">
                <a:moveTo>
                  <a:pt x="0" y="3101364"/>
                </a:moveTo>
                <a:lnTo>
                  <a:pt x="0" y="245938"/>
                </a:lnTo>
                <a:lnTo>
                  <a:pt x="253447" y="245938"/>
                </a:lnTo>
                <a:lnTo>
                  <a:pt x="396091" y="0"/>
                </a:lnTo>
                <a:lnTo>
                  <a:pt x="538735" y="245938"/>
                </a:lnTo>
                <a:lnTo>
                  <a:pt x="792185" y="245938"/>
                </a:lnTo>
                <a:lnTo>
                  <a:pt x="792185" y="3101364"/>
                </a:lnTo>
                <a:close/>
              </a:path>
            </a:pathLst>
          </a:custGeom>
          <a:solidFill>
            <a:schemeClr val="accent5">
              <a:lumMod val="40000"/>
              <a:lumOff val="60000"/>
              <a:alpha val="8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zh-CN" altLang="en-US" sz="2000" dirty="0" smtClean="0">
                <a:solidFill>
                  <a:schemeClr val="tx1"/>
                </a:solidFill>
                <a:latin typeface="微软雅黑" panose="020B0503020204020204" pitchFamily="34" charset="-122"/>
                <a:ea typeface="微软雅黑" panose="020B0503020204020204" pitchFamily="34" charset="-122"/>
              </a:rPr>
              <a:t>质量管理</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69" name="等腰三角形 68"/>
          <p:cNvSpPr/>
          <p:nvPr/>
        </p:nvSpPr>
        <p:spPr>
          <a:xfrm rot="5400000">
            <a:off x="4172110" y="2368637"/>
            <a:ext cx="781878" cy="3101364"/>
          </a:xfrm>
          <a:custGeom>
            <a:avLst/>
            <a:gdLst/>
            <a:ahLst/>
            <a:cxnLst/>
            <a:rect l="l" t="t" r="r" b="b"/>
            <a:pathLst>
              <a:path w="792185" h="3101364">
                <a:moveTo>
                  <a:pt x="0" y="3101364"/>
                </a:moveTo>
                <a:lnTo>
                  <a:pt x="0" y="245938"/>
                </a:lnTo>
                <a:lnTo>
                  <a:pt x="253447" y="245938"/>
                </a:lnTo>
                <a:lnTo>
                  <a:pt x="396091" y="0"/>
                </a:lnTo>
                <a:lnTo>
                  <a:pt x="538735" y="245938"/>
                </a:lnTo>
                <a:lnTo>
                  <a:pt x="792185" y="245938"/>
                </a:lnTo>
                <a:lnTo>
                  <a:pt x="792185" y="3101364"/>
                </a:lnTo>
                <a:close/>
              </a:path>
            </a:pathLst>
          </a:custGeom>
          <a:solidFill>
            <a:schemeClr val="accent1">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zh-CN" altLang="en-US" sz="2000" dirty="0" smtClean="0">
                <a:solidFill>
                  <a:schemeClr val="tx1"/>
                </a:solidFill>
                <a:latin typeface="微软雅黑" panose="020B0503020204020204" pitchFamily="34" charset="-122"/>
                <a:ea typeface="微软雅黑" panose="020B0503020204020204" pitchFamily="34" charset="-122"/>
              </a:rPr>
              <a:t>售后管理</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70" name="等腰三角形 69"/>
          <p:cNvSpPr/>
          <p:nvPr/>
        </p:nvSpPr>
        <p:spPr>
          <a:xfrm rot="5400000">
            <a:off x="4166956" y="3155668"/>
            <a:ext cx="792185" cy="3101364"/>
          </a:xfrm>
          <a:custGeom>
            <a:avLst/>
            <a:gdLst/>
            <a:ahLst/>
            <a:cxnLst/>
            <a:rect l="l" t="t" r="r" b="b"/>
            <a:pathLst>
              <a:path w="792185" h="3101364">
                <a:moveTo>
                  <a:pt x="0" y="3101364"/>
                </a:moveTo>
                <a:lnTo>
                  <a:pt x="0" y="245938"/>
                </a:lnTo>
                <a:lnTo>
                  <a:pt x="253975" y="245938"/>
                </a:lnTo>
                <a:lnTo>
                  <a:pt x="396619" y="0"/>
                </a:lnTo>
                <a:lnTo>
                  <a:pt x="539263" y="245938"/>
                </a:lnTo>
                <a:lnTo>
                  <a:pt x="792185" y="245938"/>
                </a:lnTo>
                <a:lnTo>
                  <a:pt x="792185" y="3101364"/>
                </a:lnTo>
                <a:close/>
              </a:path>
            </a:pathLst>
          </a:custGeom>
          <a:solidFill>
            <a:srgbClr val="41A0D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zh-CN" altLang="en-US" sz="2000" dirty="0" smtClean="0">
                <a:solidFill>
                  <a:schemeClr val="tx1"/>
                </a:solidFill>
                <a:latin typeface="微软雅黑" panose="020B0503020204020204" pitchFamily="34" charset="-122"/>
                <a:ea typeface="微软雅黑" panose="020B0503020204020204" pitchFamily="34" charset="-122"/>
              </a:rPr>
              <a:t>技术支持</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86" name="TextBox 85"/>
          <p:cNvSpPr txBox="1"/>
          <p:nvPr/>
        </p:nvSpPr>
        <p:spPr>
          <a:xfrm>
            <a:off x="6309520" y="1857364"/>
            <a:ext cx="4141694"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负责对安装工程进行全程协调、管理和监控，协助电梯售前及完工后相关工作的开展。</a:t>
            </a:r>
            <a:endParaRPr lang="zh-CN" altLang="en-US" sz="1600" dirty="0">
              <a:latin typeface="微软雅黑" panose="020B0503020204020204" pitchFamily="34" charset="-122"/>
              <a:ea typeface="微软雅黑" panose="020B0503020204020204" pitchFamily="34" charset="-122"/>
            </a:endParaRPr>
          </a:p>
        </p:txBody>
      </p:sp>
      <p:sp>
        <p:nvSpPr>
          <p:cNvPr id="87" name="TextBox 86"/>
          <p:cNvSpPr txBox="1"/>
          <p:nvPr/>
        </p:nvSpPr>
        <p:spPr>
          <a:xfrm>
            <a:off x="6309520" y="2643182"/>
            <a:ext cx="4141694"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通过对各区域安装现场及维保现场质量监督、用户满意度调查，协助区域提升质量</a:t>
            </a:r>
            <a:endParaRPr lang="zh-CN" altLang="en-US" sz="1600" dirty="0">
              <a:latin typeface="微软雅黑" panose="020B0503020204020204" pitchFamily="34" charset="-122"/>
              <a:ea typeface="微软雅黑" panose="020B0503020204020204" pitchFamily="34" charset="-122"/>
            </a:endParaRPr>
          </a:p>
        </p:txBody>
      </p:sp>
      <p:sp>
        <p:nvSpPr>
          <p:cNvPr id="88" name="TextBox 87"/>
          <p:cNvSpPr txBox="1"/>
          <p:nvPr/>
        </p:nvSpPr>
        <p:spPr>
          <a:xfrm>
            <a:off x="6311230" y="3549534"/>
            <a:ext cx="4284570"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负责保养质量管理，确保增加用户满意度，提高电梯到期续签、回签率，控制站内成本。</a:t>
            </a:r>
            <a:endParaRPr lang="zh-CN" altLang="en-US" sz="1600" dirty="0">
              <a:latin typeface="微软雅黑" panose="020B0503020204020204" pitchFamily="34" charset="-122"/>
              <a:ea typeface="微软雅黑" panose="020B0503020204020204" pitchFamily="34" charset="-122"/>
            </a:endParaRPr>
          </a:p>
        </p:txBody>
      </p:sp>
      <p:sp>
        <p:nvSpPr>
          <p:cNvPr id="89" name="TextBox 88"/>
          <p:cNvSpPr txBox="1"/>
          <p:nvPr/>
        </p:nvSpPr>
        <p:spPr>
          <a:xfrm>
            <a:off x="6311230" y="4346108"/>
            <a:ext cx="3888432"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负责按要求完成电梯</a:t>
            </a:r>
            <a:r>
              <a:rPr lang="en-US" altLang="zh-CN" sz="1600" dirty="0" smtClean="0">
                <a:latin typeface="微软雅黑" panose="020B0503020204020204" pitchFamily="34" charset="-122"/>
                <a:ea typeface="微软雅黑" panose="020B0503020204020204" pitchFamily="34" charset="-122"/>
              </a:rPr>
              <a:t>/</a:t>
            </a:r>
            <a:r>
              <a:rPr lang="zh-CN" altLang="en-US" sz="1600" dirty="0" smtClean="0">
                <a:latin typeface="微软雅黑" panose="020B0503020204020204" pitchFamily="34" charset="-122"/>
                <a:ea typeface="微软雅黑" panose="020B0503020204020204" pitchFamily="34" charset="-122"/>
              </a:rPr>
              <a:t>扶梯的维保技术支持、大修改造工程实施。</a:t>
            </a:r>
            <a:endParaRPr lang="zh-CN" altLang="en-US" sz="1600" dirty="0">
              <a:latin typeface="微软雅黑" panose="020B0503020204020204" pitchFamily="34" charset="-122"/>
              <a:ea typeface="微软雅黑" panose="020B0503020204020204" pitchFamily="34" charset="-122"/>
            </a:endParaRPr>
          </a:p>
        </p:txBody>
      </p:sp>
      <p:sp>
        <p:nvSpPr>
          <p:cNvPr id="3" name="右大括号 2"/>
          <p:cNvSpPr/>
          <p:nvPr/>
        </p:nvSpPr>
        <p:spPr>
          <a:xfrm>
            <a:off x="10343678" y="2165179"/>
            <a:ext cx="288032" cy="2715249"/>
          </a:xfrm>
          <a:prstGeom prst="rightBrac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0" name="TextBox 89"/>
          <p:cNvSpPr txBox="1"/>
          <p:nvPr/>
        </p:nvSpPr>
        <p:spPr>
          <a:xfrm>
            <a:off x="10738676" y="2714620"/>
            <a:ext cx="1152128" cy="1692771"/>
          </a:xfrm>
          <a:prstGeom prst="rect">
            <a:avLst/>
          </a:prstGeom>
          <a:noFill/>
        </p:spPr>
        <p:txBody>
          <a:bodyPr wrap="square" rtlCol="0">
            <a:spAutoFit/>
          </a:bodyPr>
          <a:lstStyle/>
          <a:p>
            <a:pPr>
              <a:lnSpc>
                <a:spcPct val="130000"/>
              </a:lnSpc>
            </a:pPr>
            <a:r>
              <a:rPr lang="zh-CN" altLang="en-US" sz="1600"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rPr>
              <a:t>机械类、机电类、电气类、工程类等相关专业</a:t>
            </a:r>
            <a:endParaRPr lang="zh-CN" altLang="en-US" sz="1600" dirty="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endParaRPr>
          </a:p>
        </p:txBody>
      </p:sp>
      <p:sp>
        <p:nvSpPr>
          <p:cNvPr id="33" name="TextBox 32"/>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成长之约</a:t>
            </a:r>
            <a:endParaRPr lang="zh-CN" altLang="en-US" sz="2400" b="1" dirty="0" smtClean="0">
              <a:latin typeface="微软雅黑" panose="020B0503020204020204" pitchFamily="34" charset="-122"/>
              <a:ea typeface="微软雅黑" panose="020B0503020204020204" pitchFamily="34" charset="-122"/>
            </a:endParaRPr>
          </a:p>
        </p:txBody>
      </p:sp>
      <p:sp>
        <p:nvSpPr>
          <p:cNvPr id="34" name="TextBox 33"/>
          <p:cNvSpPr txBox="1"/>
          <p:nvPr/>
        </p:nvSpPr>
        <p:spPr>
          <a:xfrm>
            <a:off x="1308860" y="785794"/>
            <a:ext cx="2286016" cy="369332"/>
          </a:xfrm>
          <a:prstGeom prst="rect">
            <a:avLst/>
          </a:prstGeom>
          <a:noFill/>
        </p:spPr>
        <p:txBody>
          <a:bodyPr wrap="square" rtlCol="0" anchor="ctr">
            <a:spAutoFit/>
          </a:bodyPr>
          <a:lstStyle/>
          <a:p>
            <a:r>
              <a:rPr lang="zh-CN" altLang="en-US" b="1" dirty="0" smtClean="0">
                <a:latin typeface="微软雅黑" panose="020B0503020204020204" pitchFamily="34" charset="-122"/>
                <a:ea typeface="微软雅黑" panose="020B0503020204020204" pitchFamily="34" charset="-122"/>
              </a:rPr>
              <a:t>工程类</a:t>
            </a:r>
            <a:endParaRPr lang="zh-CN" altLang="en-US" b="1" dirty="0" smtClean="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300" advTm="4601">
        <p14:pan dir="d"/>
      </p:transition>
    </mc:Choice>
    <mc:Fallback>
      <p:transition spd="slow" advTm="460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300"/>
                                        <p:tgtEl>
                                          <p:spTgt spid="4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wipe(left)">
                                      <p:cBhvr>
                                        <p:cTn id="10" dur="300"/>
                                        <p:tgtEl>
                                          <p:spTgt spid="42"/>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wipe(left)">
                                      <p:cBhvr>
                                        <p:cTn id="13" dur="300"/>
                                        <p:tgtEl>
                                          <p:spTgt spid="41"/>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left)">
                                      <p:cBhvr>
                                        <p:cTn id="16" dur="300"/>
                                        <p:tgtEl>
                                          <p:spTgt spid="40"/>
                                        </p:tgtEl>
                                      </p:cBhvr>
                                    </p:animEffect>
                                  </p:childTnLst>
                                </p:cTn>
                              </p:par>
                              <p:par>
                                <p:cTn id="17" presetID="22" presetClass="entr" presetSubtype="8" fill="hold" grpId="0" nodeType="withEffect">
                                  <p:stCondLst>
                                    <p:cond delay="250"/>
                                  </p:stCondLst>
                                  <p:childTnLst>
                                    <p:set>
                                      <p:cBhvr>
                                        <p:cTn id="18" dur="1" fill="hold">
                                          <p:stCondLst>
                                            <p:cond delay="0"/>
                                          </p:stCondLst>
                                        </p:cTn>
                                        <p:tgtEl>
                                          <p:spTgt spid="48"/>
                                        </p:tgtEl>
                                        <p:attrNameLst>
                                          <p:attrName>style.visibility</p:attrName>
                                        </p:attrNameLst>
                                      </p:cBhvr>
                                      <p:to>
                                        <p:strVal val="visible"/>
                                      </p:to>
                                    </p:set>
                                    <p:animEffect transition="in" filter="wipe(left)">
                                      <p:cBhvr>
                                        <p:cTn id="19" dur="500"/>
                                        <p:tgtEl>
                                          <p:spTgt spid="48"/>
                                        </p:tgtEl>
                                      </p:cBhvr>
                                    </p:animEffect>
                                  </p:childTnLst>
                                </p:cTn>
                              </p:par>
                              <p:par>
                                <p:cTn id="20" presetID="22" presetClass="entr" presetSubtype="8" fill="hold" grpId="0" nodeType="withEffect">
                                  <p:stCondLst>
                                    <p:cond delay="250"/>
                                  </p:stCondLst>
                                  <p:childTnLst>
                                    <p:set>
                                      <p:cBhvr>
                                        <p:cTn id="21" dur="1" fill="hold">
                                          <p:stCondLst>
                                            <p:cond delay="0"/>
                                          </p:stCondLst>
                                        </p:cTn>
                                        <p:tgtEl>
                                          <p:spTgt spid="49"/>
                                        </p:tgtEl>
                                        <p:attrNameLst>
                                          <p:attrName>style.visibility</p:attrName>
                                        </p:attrNameLst>
                                      </p:cBhvr>
                                      <p:to>
                                        <p:strVal val="visible"/>
                                      </p:to>
                                    </p:set>
                                    <p:animEffect transition="in" filter="wipe(left)">
                                      <p:cBhvr>
                                        <p:cTn id="22" dur="500"/>
                                        <p:tgtEl>
                                          <p:spTgt spid="49"/>
                                        </p:tgtEl>
                                      </p:cBhvr>
                                    </p:animEffect>
                                  </p:childTnLst>
                                </p:cTn>
                              </p:par>
                              <p:par>
                                <p:cTn id="23" presetID="22" presetClass="entr" presetSubtype="8" fill="hold" grpId="0" nodeType="withEffect">
                                  <p:stCondLst>
                                    <p:cond delay="250"/>
                                  </p:stCondLst>
                                  <p:childTnLst>
                                    <p:set>
                                      <p:cBhvr>
                                        <p:cTn id="24" dur="1" fill="hold">
                                          <p:stCondLst>
                                            <p:cond delay="0"/>
                                          </p:stCondLst>
                                        </p:cTn>
                                        <p:tgtEl>
                                          <p:spTgt spid="50"/>
                                        </p:tgtEl>
                                        <p:attrNameLst>
                                          <p:attrName>style.visibility</p:attrName>
                                        </p:attrNameLst>
                                      </p:cBhvr>
                                      <p:to>
                                        <p:strVal val="visible"/>
                                      </p:to>
                                    </p:set>
                                    <p:animEffect transition="in" filter="wipe(left)">
                                      <p:cBhvr>
                                        <p:cTn id="25" dur="500"/>
                                        <p:tgtEl>
                                          <p:spTgt spid="50"/>
                                        </p:tgtEl>
                                      </p:cBhvr>
                                    </p:animEffect>
                                  </p:childTnLst>
                                </p:cTn>
                              </p:par>
                              <p:par>
                                <p:cTn id="26" presetID="22" presetClass="entr" presetSubtype="8" fill="hold" grpId="0" nodeType="withEffect">
                                  <p:stCondLst>
                                    <p:cond delay="250"/>
                                  </p:stCondLst>
                                  <p:childTnLst>
                                    <p:set>
                                      <p:cBhvr>
                                        <p:cTn id="27" dur="1" fill="hold">
                                          <p:stCondLst>
                                            <p:cond delay="0"/>
                                          </p:stCondLst>
                                        </p:cTn>
                                        <p:tgtEl>
                                          <p:spTgt spid="51"/>
                                        </p:tgtEl>
                                        <p:attrNameLst>
                                          <p:attrName>style.visibility</p:attrName>
                                        </p:attrNameLst>
                                      </p:cBhvr>
                                      <p:to>
                                        <p:strVal val="visible"/>
                                      </p:to>
                                    </p:set>
                                    <p:animEffect transition="in" filter="wipe(left)">
                                      <p:cBhvr>
                                        <p:cTn id="28" dur="500"/>
                                        <p:tgtEl>
                                          <p:spTgt spid="51"/>
                                        </p:tgtEl>
                                      </p:cBhvr>
                                    </p:animEffect>
                                  </p:childTnLst>
                                </p:cTn>
                              </p:par>
                              <p:par>
                                <p:cTn id="29" presetID="22" presetClass="entr" presetSubtype="8" fill="hold" grpId="0" nodeType="withEffect">
                                  <p:stCondLst>
                                    <p:cond delay="700"/>
                                  </p:stCondLst>
                                  <p:childTnLst>
                                    <p:set>
                                      <p:cBhvr>
                                        <p:cTn id="30" dur="1" fill="hold">
                                          <p:stCondLst>
                                            <p:cond delay="0"/>
                                          </p:stCondLst>
                                        </p:cTn>
                                        <p:tgtEl>
                                          <p:spTgt spid="67"/>
                                        </p:tgtEl>
                                        <p:attrNameLst>
                                          <p:attrName>style.visibility</p:attrName>
                                        </p:attrNameLst>
                                      </p:cBhvr>
                                      <p:to>
                                        <p:strVal val="visible"/>
                                      </p:to>
                                    </p:set>
                                    <p:animEffect transition="in" filter="wipe(left)">
                                      <p:cBhvr>
                                        <p:cTn id="31" dur="500"/>
                                        <p:tgtEl>
                                          <p:spTgt spid="67"/>
                                        </p:tgtEl>
                                      </p:cBhvr>
                                    </p:animEffect>
                                  </p:childTnLst>
                                </p:cTn>
                              </p:par>
                              <p:par>
                                <p:cTn id="32" presetID="22" presetClass="entr" presetSubtype="8" fill="hold" grpId="0" nodeType="withEffect">
                                  <p:stCondLst>
                                    <p:cond delay="700"/>
                                  </p:stCondLst>
                                  <p:childTnLst>
                                    <p:set>
                                      <p:cBhvr>
                                        <p:cTn id="33" dur="1" fill="hold">
                                          <p:stCondLst>
                                            <p:cond delay="0"/>
                                          </p:stCondLst>
                                        </p:cTn>
                                        <p:tgtEl>
                                          <p:spTgt spid="68"/>
                                        </p:tgtEl>
                                        <p:attrNameLst>
                                          <p:attrName>style.visibility</p:attrName>
                                        </p:attrNameLst>
                                      </p:cBhvr>
                                      <p:to>
                                        <p:strVal val="visible"/>
                                      </p:to>
                                    </p:set>
                                    <p:animEffect transition="in" filter="wipe(left)">
                                      <p:cBhvr>
                                        <p:cTn id="34" dur="500"/>
                                        <p:tgtEl>
                                          <p:spTgt spid="68"/>
                                        </p:tgtEl>
                                      </p:cBhvr>
                                    </p:animEffect>
                                  </p:childTnLst>
                                </p:cTn>
                              </p:par>
                              <p:par>
                                <p:cTn id="35" presetID="22" presetClass="entr" presetSubtype="8" fill="hold" grpId="0" nodeType="withEffect">
                                  <p:stCondLst>
                                    <p:cond delay="700"/>
                                  </p:stCondLst>
                                  <p:childTnLst>
                                    <p:set>
                                      <p:cBhvr>
                                        <p:cTn id="36" dur="1" fill="hold">
                                          <p:stCondLst>
                                            <p:cond delay="0"/>
                                          </p:stCondLst>
                                        </p:cTn>
                                        <p:tgtEl>
                                          <p:spTgt spid="69"/>
                                        </p:tgtEl>
                                        <p:attrNameLst>
                                          <p:attrName>style.visibility</p:attrName>
                                        </p:attrNameLst>
                                      </p:cBhvr>
                                      <p:to>
                                        <p:strVal val="visible"/>
                                      </p:to>
                                    </p:set>
                                    <p:animEffect transition="in" filter="wipe(left)">
                                      <p:cBhvr>
                                        <p:cTn id="37" dur="500"/>
                                        <p:tgtEl>
                                          <p:spTgt spid="69"/>
                                        </p:tgtEl>
                                      </p:cBhvr>
                                    </p:animEffect>
                                  </p:childTnLst>
                                </p:cTn>
                              </p:par>
                              <p:par>
                                <p:cTn id="38" presetID="22" presetClass="entr" presetSubtype="8" fill="hold" grpId="0" nodeType="withEffect">
                                  <p:stCondLst>
                                    <p:cond delay="700"/>
                                  </p:stCondLst>
                                  <p:childTnLst>
                                    <p:set>
                                      <p:cBhvr>
                                        <p:cTn id="39" dur="1" fill="hold">
                                          <p:stCondLst>
                                            <p:cond delay="0"/>
                                          </p:stCondLst>
                                        </p:cTn>
                                        <p:tgtEl>
                                          <p:spTgt spid="70"/>
                                        </p:tgtEl>
                                        <p:attrNameLst>
                                          <p:attrName>style.visibility</p:attrName>
                                        </p:attrNameLst>
                                      </p:cBhvr>
                                      <p:to>
                                        <p:strVal val="visible"/>
                                      </p:to>
                                    </p:set>
                                    <p:animEffect transition="in" filter="wipe(left)">
                                      <p:cBhvr>
                                        <p:cTn id="40" dur="500"/>
                                        <p:tgtEl>
                                          <p:spTgt spid="70"/>
                                        </p:tgtEl>
                                      </p:cBhvr>
                                    </p:animEffect>
                                  </p:childTnLst>
                                </p:cTn>
                              </p:par>
                              <p:par>
                                <p:cTn id="41" presetID="10" presetClass="entr" presetSubtype="0" fill="hold" grpId="0" nodeType="withEffect">
                                  <p:stCondLst>
                                    <p:cond delay="70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500"/>
                                        <p:tgtEl>
                                          <p:spTgt spid="66"/>
                                        </p:tgtEl>
                                      </p:cBhvr>
                                    </p:animEffect>
                                  </p:childTnLst>
                                </p:cTn>
                              </p:par>
                              <p:par>
                                <p:cTn id="44" presetID="10" presetClass="entr" presetSubtype="0" fill="hold" grpId="0" nodeType="withEffect">
                                  <p:stCondLst>
                                    <p:cond delay="700"/>
                                  </p:stCondLst>
                                  <p:childTnLst>
                                    <p:set>
                                      <p:cBhvr>
                                        <p:cTn id="45" dur="1" fill="hold">
                                          <p:stCondLst>
                                            <p:cond delay="0"/>
                                          </p:stCondLst>
                                        </p:cTn>
                                        <p:tgtEl>
                                          <p:spTgt spid="52"/>
                                        </p:tgtEl>
                                        <p:attrNameLst>
                                          <p:attrName>style.visibility</p:attrName>
                                        </p:attrNameLst>
                                      </p:cBhvr>
                                      <p:to>
                                        <p:strVal val="visible"/>
                                      </p:to>
                                    </p:set>
                                    <p:animEffect transition="in" filter="fade">
                                      <p:cBhvr>
                                        <p:cTn id="46" dur="500"/>
                                        <p:tgtEl>
                                          <p:spTgt spid="52"/>
                                        </p:tgtEl>
                                      </p:cBhvr>
                                    </p:animEffect>
                                  </p:childTnLst>
                                </p:cTn>
                              </p:par>
                              <p:par>
                                <p:cTn id="47" presetID="10" presetClass="entr" presetSubtype="0" fill="hold" nodeType="withEffect">
                                  <p:stCondLst>
                                    <p:cond delay="70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par>
                                <p:cTn id="50" presetID="10" presetClass="entr" presetSubtype="0" fill="hold" nodeType="withEffect">
                                  <p:stCondLst>
                                    <p:cond delay="70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childTnLst>
                          </p:cTn>
                        </p:par>
                        <p:par>
                          <p:cTn id="53" fill="hold">
                            <p:stCondLst>
                              <p:cond delay="500"/>
                            </p:stCondLst>
                            <p:childTnLst>
                              <p:par>
                                <p:cTn id="54" presetID="10" presetClass="entr" presetSubtype="0" fill="hold" grpId="0" nodeType="afterEffect">
                                  <p:stCondLst>
                                    <p:cond delay="0"/>
                                  </p:stCondLst>
                                  <p:iterate type="lt">
                                    <p:tmPct val="10000"/>
                                  </p:iterate>
                                  <p:childTnLst>
                                    <p:set>
                                      <p:cBhvr>
                                        <p:cTn id="55" dur="1" fill="hold">
                                          <p:stCondLst>
                                            <p:cond delay="0"/>
                                          </p:stCondLst>
                                        </p:cTn>
                                        <p:tgtEl>
                                          <p:spTgt spid="86"/>
                                        </p:tgtEl>
                                        <p:attrNameLst>
                                          <p:attrName>style.visibility</p:attrName>
                                        </p:attrNameLst>
                                      </p:cBhvr>
                                      <p:to>
                                        <p:strVal val="visible"/>
                                      </p:to>
                                    </p:set>
                                    <p:animEffect transition="in" filter="fade">
                                      <p:cBhvr>
                                        <p:cTn id="56" dur="100"/>
                                        <p:tgtEl>
                                          <p:spTgt spid="86"/>
                                        </p:tgtEl>
                                      </p:cBhvr>
                                    </p:animEffect>
                                  </p:childTnLst>
                                </p:cTn>
                              </p:par>
                            </p:childTnLst>
                          </p:cTn>
                        </p:par>
                        <p:par>
                          <p:cTn id="57" fill="hold">
                            <p:stCondLst>
                              <p:cond delay="469"/>
                            </p:stCondLst>
                            <p:childTnLst>
                              <p:par>
                                <p:cTn id="58" presetID="10" presetClass="entr" presetSubtype="0" fill="hold" grpId="0" nodeType="afterEffect">
                                  <p:stCondLst>
                                    <p:cond delay="0"/>
                                  </p:stCondLst>
                                  <p:iterate type="lt">
                                    <p:tmPct val="10000"/>
                                  </p:iterate>
                                  <p:childTnLst>
                                    <p:set>
                                      <p:cBhvr>
                                        <p:cTn id="59" dur="1" fill="hold">
                                          <p:stCondLst>
                                            <p:cond delay="0"/>
                                          </p:stCondLst>
                                        </p:cTn>
                                        <p:tgtEl>
                                          <p:spTgt spid="87"/>
                                        </p:tgtEl>
                                        <p:attrNameLst>
                                          <p:attrName>style.visibility</p:attrName>
                                        </p:attrNameLst>
                                      </p:cBhvr>
                                      <p:to>
                                        <p:strVal val="visible"/>
                                      </p:to>
                                    </p:set>
                                    <p:animEffect transition="in" filter="fade">
                                      <p:cBhvr>
                                        <p:cTn id="60" dur="100"/>
                                        <p:tgtEl>
                                          <p:spTgt spid="87"/>
                                        </p:tgtEl>
                                      </p:cBhvr>
                                    </p:animEffect>
                                  </p:childTnLst>
                                </p:cTn>
                              </p:par>
                            </p:childTnLst>
                          </p:cTn>
                        </p:par>
                        <p:par>
                          <p:cTn id="61" fill="hold">
                            <p:stCondLst>
                              <p:cond delay="920"/>
                            </p:stCondLst>
                            <p:childTnLst>
                              <p:par>
                                <p:cTn id="62" presetID="10" presetClass="entr" presetSubtype="0" fill="hold" grpId="0" nodeType="afterEffect">
                                  <p:stCondLst>
                                    <p:cond delay="0"/>
                                  </p:stCondLst>
                                  <p:iterate type="lt">
                                    <p:tmPct val="10000"/>
                                  </p:iterate>
                                  <p:childTnLst>
                                    <p:set>
                                      <p:cBhvr>
                                        <p:cTn id="63" dur="1" fill="hold">
                                          <p:stCondLst>
                                            <p:cond delay="0"/>
                                          </p:stCondLst>
                                        </p:cTn>
                                        <p:tgtEl>
                                          <p:spTgt spid="88"/>
                                        </p:tgtEl>
                                        <p:attrNameLst>
                                          <p:attrName>style.visibility</p:attrName>
                                        </p:attrNameLst>
                                      </p:cBhvr>
                                      <p:to>
                                        <p:strVal val="visible"/>
                                      </p:to>
                                    </p:set>
                                    <p:animEffect transition="in" filter="fade">
                                      <p:cBhvr>
                                        <p:cTn id="64" dur="100"/>
                                        <p:tgtEl>
                                          <p:spTgt spid="88"/>
                                        </p:tgtEl>
                                      </p:cBhvr>
                                    </p:animEffect>
                                  </p:childTnLst>
                                </p:cTn>
                              </p:par>
                            </p:childTnLst>
                          </p:cTn>
                        </p:par>
                        <p:par>
                          <p:cTn id="65" fill="hold">
                            <p:stCondLst>
                              <p:cond delay="1400"/>
                            </p:stCondLst>
                            <p:childTnLst>
                              <p:par>
                                <p:cTn id="66" presetID="10" presetClass="entr" presetSubtype="0" fill="hold" grpId="0" nodeType="afterEffect">
                                  <p:stCondLst>
                                    <p:cond delay="0"/>
                                  </p:stCondLst>
                                  <p:iterate type="lt">
                                    <p:tmPct val="10000"/>
                                  </p:iterate>
                                  <p:childTnLst>
                                    <p:set>
                                      <p:cBhvr>
                                        <p:cTn id="67" dur="1" fill="hold">
                                          <p:stCondLst>
                                            <p:cond delay="0"/>
                                          </p:stCondLst>
                                        </p:cTn>
                                        <p:tgtEl>
                                          <p:spTgt spid="89"/>
                                        </p:tgtEl>
                                        <p:attrNameLst>
                                          <p:attrName>style.visibility</p:attrName>
                                        </p:attrNameLst>
                                      </p:cBhvr>
                                      <p:to>
                                        <p:strVal val="visible"/>
                                      </p:to>
                                    </p:set>
                                    <p:animEffect transition="in" filter="fade">
                                      <p:cBhvr>
                                        <p:cTn id="68" dur="100"/>
                                        <p:tgtEl>
                                          <p:spTgt spid="89"/>
                                        </p:tgtEl>
                                      </p:cBhvr>
                                    </p:animEffect>
                                  </p:childTnLst>
                                </p:cTn>
                              </p:par>
                            </p:childTnLst>
                          </p:cTn>
                        </p:par>
                        <p:par>
                          <p:cTn id="69" fill="hold">
                            <p:stCondLst>
                              <p:cond delay="1780"/>
                            </p:stCondLst>
                            <p:childTnLst>
                              <p:par>
                                <p:cTn id="70" presetID="16" presetClass="entr" presetSubtype="26" fill="hold" grpId="0" nodeType="afterEffect">
                                  <p:stCondLst>
                                    <p:cond delay="0"/>
                                  </p:stCondLst>
                                  <p:childTnLst>
                                    <p:set>
                                      <p:cBhvr>
                                        <p:cTn id="71" dur="1" fill="hold">
                                          <p:stCondLst>
                                            <p:cond delay="0"/>
                                          </p:stCondLst>
                                        </p:cTn>
                                        <p:tgtEl>
                                          <p:spTgt spid="3"/>
                                        </p:tgtEl>
                                        <p:attrNameLst>
                                          <p:attrName>style.visibility</p:attrName>
                                        </p:attrNameLst>
                                      </p:cBhvr>
                                      <p:to>
                                        <p:strVal val="visible"/>
                                      </p:to>
                                    </p:set>
                                    <p:animEffect transition="in" filter="barn(inHorizontal)">
                                      <p:cBhvr>
                                        <p:cTn id="72" dur="500"/>
                                        <p:tgtEl>
                                          <p:spTgt spid="3"/>
                                        </p:tgtEl>
                                      </p:cBhvr>
                                    </p:animEffect>
                                  </p:childTnLst>
                                </p:cTn>
                              </p:par>
                            </p:childTnLst>
                          </p:cTn>
                        </p:par>
                        <p:par>
                          <p:cTn id="73" fill="hold">
                            <p:stCondLst>
                              <p:cond delay="2280"/>
                            </p:stCondLst>
                            <p:childTnLst>
                              <p:par>
                                <p:cTn id="74" presetID="10" presetClass="entr" presetSubtype="0" fill="hold" grpId="0" nodeType="afterEffect">
                                  <p:stCondLst>
                                    <p:cond delay="0"/>
                                  </p:stCondLst>
                                  <p:iterate type="lt">
                                    <p:tmPct val="10000"/>
                                  </p:iterate>
                                  <p:childTnLst>
                                    <p:set>
                                      <p:cBhvr>
                                        <p:cTn id="75" dur="1" fill="hold">
                                          <p:stCondLst>
                                            <p:cond delay="0"/>
                                          </p:stCondLst>
                                        </p:cTn>
                                        <p:tgtEl>
                                          <p:spTgt spid="90"/>
                                        </p:tgtEl>
                                        <p:attrNameLst>
                                          <p:attrName>style.visibility</p:attrName>
                                        </p:attrNameLst>
                                      </p:cBhvr>
                                      <p:to>
                                        <p:strVal val="visible"/>
                                      </p:to>
                                    </p:set>
                                    <p:animEffect transition="in" filter="fade">
                                      <p:cBhvr>
                                        <p:cTn id="76" dur="1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8" grpId="0" animBg="1"/>
      <p:bldP spid="49" grpId="0" animBg="1"/>
      <p:bldP spid="50" grpId="0" animBg="1"/>
      <p:bldP spid="51" grpId="0" animBg="1"/>
      <p:bldP spid="52" grpId="0" animBg="1"/>
      <p:bldP spid="66" grpId="0" animBg="1"/>
      <p:bldP spid="67" grpId="0" animBg="1"/>
      <p:bldP spid="68" grpId="0" animBg="1"/>
      <p:bldP spid="69" grpId="0" animBg="1"/>
      <p:bldP spid="70" grpId="0" animBg="1"/>
      <p:bldP spid="86" grpId="0"/>
      <p:bldP spid="87" grpId="0"/>
      <p:bldP spid="88" grpId="0"/>
      <p:bldP spid="89" grpId="0"/>
      <p:bldP spid="3" grpId="0" animBg="1"/>
      <p:bldP spid="9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40" name="矩形 39"/>
          <p:cNvSpPr/>
          <p:nvPr/>
        </p:nvSpPr>
        <p:spPr>
          <a:xfrm>
            <a:off x="0" y="4622813"/>
            <a:ext cx="1020657" cy="1099169"/>
          </a:xfrm>
          <a:prstGeom prst="rect">
            <a:avLst/>
          </a:prstGeom>
          <a:solidFill>
            <a:srgbClr val="41A0D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400" dirty="0" smtClean="0">
                <a:solidFill>
                  <a:schemeClr val="tx1"/>
                </a:solidFill>
                <a:latin typeface="Pirulen" panose="02000807050000020004" pitchFamily="2" charset="0"/>
              </a:rPr>
              <a:t>04</a:t>
            </a:r>
            <a:endParaRPr lang="zh-CN" altLang="en-US" sz="2400" dirty="0">
              <a:solidFill>
                <a:schemeClr val="tx1"/>
              </a:solidFill>
              <a:latin typeface="Pirulen" panose="02000807050000020004" pitchFamily="2" charset="0"/>
            </a:endParaRPr>
          </a:p>
        </p:txBody>
      </p:sp>
      <p:sp>
        <p:nvSpPr>
          <p:cNvPr id="41" name="矩形 40"/>
          <p:cNvSpPr/>
          <p:nvPr/>
        </p:nvSpPr>
        <p:spPr>
          <a:xfrm>
            <a:off x="0" y="3523645"/>
            <a:ext cx="1020657" cy="1099169"/>
          </a:xfrm>
          <a:prstGeom prst="rect">
            <a:avLst/>
          </a:prstGeom>
          <a:solidFill>
            <a:schemeClr val="accent1">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400" dirty="0" smtClean="0">
                <a:solidFill>
                  <a:schemeClr val="tx1"/>
                </a:solidFill>
                <a:latin typeface="Pirulen" panose="02000807050000020004" pitchFamily="2" charset="0"/>
              </a:rPr>
              <a:t>03</a:t>
            </a:r>
            <a:endParaRPr lang="zh-CN" altLang="en-US" sz="2400" dirty="0">
              <a:solidFill>
                <a:schemeClr val="tx1"/>
              </a:solidFill>
              <a:latin typeface="Pirulen" panose="02000807050000020004" pitchFamily="2" charset="0"/>
            </a:endParaRPr>
          </a:p>
        </p:txBody>
      </p:sp>
      <p:sp>
        <p:nvSpPr>
          <p:cNvPr id="42" name="矩形 41"/>
          <p:cNvSpPr/>
          <p:nvPr/>
        </p:nvSpPr>
        <p:spPr>
          <a:xfrm>
            <a:off x="0" y="2435267"/>
            <a:ext cx="1020657" cy="1099169"/>
          </a:xfrm>
          <a:prstGeom prst="rect">
            <a:avLst/>
          </a:prstGeom>
          <a:solidFill>
            <a:schemeClr val="accent5">
              <a:lumMod val="40000"/>
              <a:lumOff val="60000"/>
              <a:alpha val="8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400" dirty="0" smtClean="0">
                <a:solidFill>
                  <a:schemeClr val="tx1"/>
                </a:solidFill>
                <a:latin typeface="Pirulen" panose="02000807050000020004" pitchFamily="2" charset="0"/>
              </a:rPr>
              <a:t>02</a:t>
            </a:r>
            <a:endParaRPr lang="zh-CN" altLang="en-US" sz="2400" dirty="0">
              <a:solidFill>
                <a:schemeClr val="tx1"/>
              </a:solidFill>
              <a:latin typeface="Pirulen" panose="02000807050000020004" pitchFamily="2" charset="0"/>
            </a:endParaRPr>
          </a:p>
        </p:txBody>
      </p:sp>
      <p:sp>
        <p:nvSpPr>
          <p:cNvPr id="43" name="矩形 42"/>
          <p:cNvSpPr/>
          <p:nvPr/>
        </p:nvSpPr>
        <p:spPr>
          <a:xfrm>
            <a:off x="0" y="1340770"/>
            <a:ext cx="1020657" cy="1099169"/>
          </a:xfrm>
          <a:prstGeom prst="rect">
            <a:avLst/>
          </a:pr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smtClean="0">
                <a:solidFill>
                  <a:schemeClr val="tx1"/>
                </a:solidFill>
                <a:latin typeface="Pirulen" panose="02000807050000020004" pitchFamily="2" charset="0"/>
              </a:rPr>
              <a:t>01</a:t>
            </a:r>
            <a:endParaRPr lang="zh-CN" altLang="en-US" sz="2400" dirty="0">
              <a:solidFill>
                <a:schemeClr val="tx1"/>
              </a:solidFill>
              <a:latin typeface="Pirulen" panose="02000807050000020004" pitchFamily="2" charset="0"/>
            </a:endParaRPr>
          </a:p>
        </p:txBody>
      </p:sp>
      <p:sp>
        <p:nvSpPr>
          <p:cNvPr id="48" name="矩形 28"/>
          <p:cNvSpPr/>
          <p:nvPr/>
        </p:nvSpPr>
        <p:spPr>
          <a:xfrm>
            <a:off x="1020657" y="1340769"/>
            <a:ext cx="1991709" cy="1396262"/>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26712" h="1280593">
                <a:moveTo>
                  <a:pt x="0" y="0"/>
                </a:moveTo>
                <a:lnTo>
                  <a:pt x="1826712" y="555625"/>
                </a:lnTo>
                <a:lnTo>
                  <a:pt x="1826712" y="1280593"/>
                </a:lnTo>
                <a:lnTo>
                  <a:pt x="0" y="1007543"/>
                </a:lnTo>
                <a:lnTo>
                  <a:pt x="0" y="0"/>
                </a:lnTo>
                <a:close/>
              </a:path>
            </a:pathLst>
          </a:custGeom>
          <a:solidFill>
            <a:schemeClr val="accent1">
              <a:lumMod val="60000"/>
              <a:lumOff val="4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28"/>
          <p:cNvSpPr/>
          <p:nvPr/>
        </p:nvSpPr>
        <p:spPr>
          <a:xfrm>
            <a:off x="1020659" y="2437343"/>
            <a:ext cx="1995170" cy="1098549"/>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33980"/>
              <a:gd name="connsiteY0-72" fmla="*/ 0 h 1007543"/>
              <a:gd name="connsiteX1-73" fmla="*/ 1829887 w 1833980"/>
              <a:gd name="connsiteY1-74" fmla="*/ 273050 h 1007543"/>
              <a:gd name="connsiteX2-75" fmla="*/ 1833856 w 1833980"/>
              <a:gd name="connsiteY2-76" fmla="*/ 1001193 h 1007543"/>
              <a:gd name="connsiteX3-77" fmla="*/ 0 w 1833980"/>
              <a:gd name="connsiteY3-78" fmla="*/ 1007543 h 1007543"/>
              <a:gd name="connsiteX4-79" fmla="*/ 0 w 1833980"/>
              <a:gd name="connsiteY4-80" fmla="*/ 0 h 1007543"/>
              <a:gd name="connsiteX0-81" fmla="*/ 0 w 1829887"/>
              <a:gd name="connsiteY0-82" fmla="*/ 0 h 1007543"/>
              <a:gd name="connsiteX1-83" fmla="*/ 1829887 w 1829887"/>
              <a:gd name="connsiteY1-84" fmla="*/ 273050 h 1007543"/>
              <a:gd name="connsiteX2-85" fmla="*/ 1829093 w 1829887"/>
              <a:gd name="connsiteY2-86" fmla="*/ 1003575 h 1007543"/>
              <a:gd name="connsiteX3-87" fmla="*/ 0 w 1829887"/>
              <a:gd name="connsiteY3-88" fmla="*/ 1007543 h 1007543"/>
              <a:gd name="connsiteX4-89" fmla="*/ 0 w 1829887"/>
              <a:gd name="connsiteY4-90" fmla="*/ 0 h 100754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29887" h="1007543">
                <a:moveTo>
                  <a:pt x="0" y="0"/>
                </a:moveTo>
                <a:lnTo>
                  <a:pt x="1829887" y="273050"/>
                </a:lnTo>
                <a:cubicBezTo>
                  <a:pt x="1828829" y="608898"/>
                  <a:pt x="1830151" y="667727"/>
                  <a:pt x="1829093" y="1003575"/>
                </a:cubicBezTo>
                <a:lnTo>
                  <a:pt x="0" y="1007543"/>
                </a:lnTo>
                <a:lnTo>
                  <a:pt x="0" y="0"/>
                </a:lnTo>
                <a:close/>
              </a:path>
            </a:pathLst>
          </a:custGeom>
          <a:solidFill>
            <a:schemeClr val="accent5">
              <a:lumMod val="40000"/>
              <a:lumOff val="6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0" name="矩形 28"/>
          <p:cNvSpPr/>
          <p:nvPr/>
        </p:nvSpPr>
        <p:spPr>
          <a:xfrm>
            <a:off x="1020658" y="3528378"/>
            <a:ext cx="1999707" cy="1094221"/>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29887"/>
              <a:gd name="connsiteY0-72" fmla="*/ 0 h 1001193"/>
              <a:gd name="connsiteX1-73" fmla="*/ 1829887 w 1829887"/>
              <a:gd name="connsiteY1-74" fmla="*/ 273050 h 1001193"/>
              <a:gd name="connsiteX2-75" fmla="*/ 1826712 w 1829887"/>
              <a:gd name="connsiteY2-76" fmla="*/ 1001193 h 1001193"/>
              <a:gd name="connsiteX3-77" fmla="*/ 0 w 1829887"/>
              <a:gd name="connsiteY3-78" fmla="*/ 998018 h 1001193"/>
              <a:gd name="connsiteX4-79" fmla="*/ 0 w 1829887"/>
              <a:gd name="connsiteY4-80" fmla="*/ 0 h 1001193"/>
              <a:gd name="connsiteX0-81" fmla="*/ 0 w 1832268"/>
              <a:gd name="connsiteY0-82" fmla="*/ 5556 h 1006749"/>
              <a:gd name="connsiteX1-83" fmla="*/ 1832268 w 1832268"/>
              <a:gd name="connsiteY1-84" fmla="*/ 0 h 1006749"/>
              <a:gd name="connsiteX2-85" fmla="*/ 1826712 w 1832268"/>
              <a:gd name="connsiteY2-86" fmla="*/ 1006749 h 1006749"/>
              <a:gd name="connsiteX3-87" fmla="*/ 0 w 1832268"/>
              <a:gd name="connsiteY3-88" fmla="*/ 1003574 h 1006749"/>
              <a:gd name="connsiteX4-89" fmla="*/ 0 w 1832268"/>
              <a:gd name="connsiteY4-90" fmla="*/ 5556 h 1006749"/>
              <a:gd name="connsiteX0-91" fmla="*/ 0 w 1832268"/>
              <a:gd name="connsiteY0-92" fmla="*/ 5556 h 1003574"/>
              <a:gd name="connsiteX1-93" fmla="*/ 1832268 w 1832268"/>
              <a:gd name="connsiteY1-94" fmla="*/ 0 h 1003574"/>
              <a:gd name="connsiteX2-95" fmla="*/ 1829093 w 1832268"/>
              <a:gd name="connsiteY2-96" fmla="*/ 720999 h 1003574"/>
              <a:gd name="connsiteX3-97" fmla="*/ 0 w 1832268"/>
              <a:gd name="connsiteY3-98" fmla="*/ 1003574 h 1003574"/>
              <a:gd name="connsiteX4-99" fmla="*/ 0 w 1832268"/>
              <a:gd name="connsiteY4-100" fmla="*/ 5556 h 1003574"/>
              <a:gd name="connsiteX0-101" fmla="*/ 0 w 1834048"/>
              <a:gd name="connsiteY0-102" fmla="*/ 5556 h 1003574"/>
              <a:gd name="connsiteX1-103" fmla="*/ 1832268 w 1834048"/>
              <a:gd name="connsiteY1-104" fmla="*/ 0 h 1003574"/>
              <a:gd name="connsiteX2-105" fmla="*/ 1833856 w 1834048"/>
              <a:gd name="connsiteY2-106" fmla="*/ 720999 h 1003574"/>
              <a:gd name="connsiteX3-107" fmla="*/ 0 w 1834048"/>
              <a:gd name="connsiteY3-108" fmla="*/ 1003574 h 1003574"/>
              <a:gd name="connsiteX4-109" fmla="*/ 0 w 1834048"/>
              <a:gd name="connsiteY4-110" fmla="*/ 5556 h 1003574"/>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34048" h="1003574">
                <a:moveTo>
                  <a:pt x="0" y="5556"/>
                </a:moveTo>
                <a:lnTo>
                  <a:pt x="1832268" y="0"/>
                </a:lnTo>
                <a:cubicBezTo>
                  <a:pt x="1831210" y="335848"/>
                  <a:pt x="1834914" y="385151"/>
                  <a:pt x="1833856" y="720999"/>
                </a:cubicBezTo>
                <a:lnTo>
                  <a:pt x="0" y="1003574"/>
                </a:lnTo>
                <a:lnTo>
                  <a:pt x="0" y="5556"/>
                </a:lnTo>
                <a:close/>
              </a:path>
            </a:pathLst>
          </a:custGeom>
          <a:solidFill>
            <a:schemeClr val="accent1">
              <a:lumMod val="40000"/>
              <a:lumOff val="6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28"/>
          <p:cNvSpPr/>
          <p:nvPr/>
        </p:nvSpPr>
        <p:spPr>
          <a:xfrm>
            <a:off x="1015351" y="4308441"/>
            <a:ext cx="2003073" cy="1413571"/>
          </a:xfrm>
          <a:custGeom>
            <a:avLst/>
            <a:gdLst>
              <a:gd name="connsiteX0" fmla="*/ 0 w 1826712"/>
              <a:gd name="connsiteY0" fmla="*/ 0 h 1280593"/>
              <a:gd name="connsiteX1" fmla="*/ 1826712 w 1826712"/>
              <a:gd name="connsiteY1" fmla="*/ 0 h 1280593"/>
              <a:gd name="connsiteX2" fmla="*/ 1826712 w 1826712"/>
              <a:gd name="connsiteY2" fmla="*/ 1280593 h 1280593"/>
              <a:gd name="connsiteX3" fmla="*/ 0 w 1826712"/>
              <a:gd name="connsiteY3" fmla="*/ 1280593 h 1280593"/>
              <a:gd name="connsiteX4" fmla="*/ 0 w 1826712"/>
              <a:gd name="connsiteY4" fmla="*/ 0 h 1280593"/>
              <a:gd name="connsiteX0-1" fmla="*/ 0 w 1826712"/>
              <a:gd name="connsiteY0-2" fmla="*/ 0 h 1280593"/>
              <a:gd name="connsiteX1-3" fmla="*/ 1826712 w 1826712"/>
              <a:gd name="connsiteY1-4" fmla="*/ 0 h 1280593"/>
              <a:gd name="connsiteX2-5" fmla="*/ 1826712 w 1826712"/>
              <a:gd name="connsiteY2-6" fmla="*/ 1280593 h 1280593"/>
              <a:gd name="connsiteX3-7" fmla="*/ 0 w 1826712"/>
              <a:gd name="connsiteY3-8" fmla="*/ 1007543 h 1280593"/>
              <a:gd name="connsiteX4-9" fmla="*/ 0 w 1826712"/>
              <a:gd name="connsiteY4-10" fmla="*/ 0 h 1280593"/>
              <a:gd name="connsiteX0-11" fmla="*/ 0 w 1826712"/>
              <a:gd name="connsiteY0-12" fmla="*/ 0 h 1280593"/>
              <a:gd name="connsiteX1-13" fmla="*/ 1826712 w 1826712"/>
              <a:gd name="connsiteY1-14" fmla="*/ 555625 h 1280593"/>
              <a:gd name="connsiteX2-15" fmla="*/ 1826712 w 1826712"/>
              <a:gd name="connsiteY2-16" fmla="*/ 1280593 h 1280593"/>
              <a:gd name="connsiteX3-17" fmla="*/ 0 w 1826712"/>
              <a:gd name="connsiteY3-18" fmla="*/ 1007543 h 1280593"/>
              <a:gd name="connsiteX4-19" fmla="*/ 0 w 1826712"/>
              <a:gd name="connsiteY4-20" fmla="*/ 0 h 1280593"/>
              <a:gd name="connsiteX0-21" fmla="*/ 0 w 1829887"/>
              <a:gd name="connsiteY0-22" fmla="*/ 0 h 1280593"/>
              <a:gd name="connsiteX1-23" fmla="*/ 1829887 w 1829887"/>
              <a:gd name="connsiteY1-24" fmla="*/ 273050 h 1280593"/>
              <a:gd name="connsiteX2-25" fmla="*/ 1826712 w 1829887"/>
              <a:gd name="connsiteY2-26" fmla="*/ 1280593 h 1280593"/>
              <a:gd name="connsiteX3-27" fmla="*/ 0 w 1829887"/>
              <a:gd name="connsiteY3-28" fmla="*/ 1007543 h 1280593"/>
              <a:gd name="connsiteX4-29" fmla="*/ 0 w 1829887"/>
              <a:gd name="connsiteY4-30" fmla="*/ 0 h 1280593"/>
              <a:gd name="connsiteX0-31" fmla="*/ 0 w 1830192"/>
              <a:gd name="connsiteY0-32" fmla="*/ 0 h 1007543"/>
              <a:gd name="connsiteX1-33" fmla="*/ 1829887 w 1830192"/>
              <a:gd name="connsiteY1-34" fmla="*/ 273050 h 1007543"/>
              <a:gd name="connsiteX2-35" fmla="*/ 1829887 w 1830192"/>
              <a:gd name="connsiteY2-36" fmla="*/ 998018 h 1007543"/>
              <a:gd name="connsiteX3-37" fmla="*/ 0 w 1830192"/>
              <a:gd name="connsiteY3-38" fmla="*/ 1007543 h 1007543"/>
              <a:gd name="connsiteX4-39" fmla="*/ 0 w 1830192"/>
              <a:gd name="connsiteY4-40" fmla="*/ 0 h 1007543"/>
              <a:gd name="connsiteX0-41" fmla="*/ 0 w 1829887"/>
              <a:gd name="connsiteY0-42" fmla="*/ 0 h 1007543"/>
              <a:gd name="connsiteX1-43" fmla="*/ 1829887 w 1829887"/>
              <a:gd name="connsiteY1-44" fmla="*/ 273050 h 1007543"/>
              <a:gd name="connsiteX2-45" fmla="*/ 1823537 w 1829887"/>
              <a:gd name="connsiteY2-46" fmla="*/ 1001193 h 1007543"/>
              <a:gd name="connsiteX3-47" fmla="*/ 0 w 1829887"/>
              <a:gd name="connsiteY3-48" fmla="*/ 1007543 h 1007543"/>
              <a:gd name="connsiteX4-49" fmla="*/ 0 w 1829887"/>
              <a:gd name="connsiteY4-50" fmla="*/ 0 h 1007543"/>
              <a:gd name="connsiteX0-51" fmla="*/ 0 w 1830192"/>
              <a:gd name="connsiteY0-52" fmla="*/ 0 h 1007543"/>
              <a:gd name="connsiteX1-53" fmla="*/ 1829887 w 1830192"/>
              <a:gd name="connsiteY1-54" fmla="*/ 273050 h 1007543"/>
              <a:gd name="connsiteX2-55" fmla="*/ 1829887 w 1830192"/>
              <a:gd name="connsiteY2-56" fmla="*/ 1001193 h 1007543"/>
              <a:gd name="connsiteX3-57" fmla="*/ 0 w 1830192"/>
              <a:gd name="connsiteY3-58" fmla="*/ 1007543 h 1007543"/>
              <a:gd name="connsiteX4-59" fmla="*/ 0 w 1830192"/>
              <a:gd name="connsiteY4-60" fmla="*/ 0 h 1007543"/>
              <a:gd name="connsiteX0-61" fmla="*/ 0 w 1829887"/>
              <a:gd name="connsiteY0-62" fmla="*/ 0 h 1007543"/>
              <a:gd name="connsiteX1-63" fmla="*/ 1829887 w 1829887"/>
              <a:gd name="connsiteY1-64" fmla="*/ 273050 h 1007543"/>
              <a:gd name="connsiteX2-65" fmla="*/ 1826712 w 1829887"/>
              <a:gd name="connsiteY2-66" fmla="*/ 1001193 h 1007543"/>
              <a:gd name="connsiteX3-67" fmla="*/ 0 w 1829887"/>
              <a:gd name="connsiteY3-68" fmla="*/ 1007543 h 1007543"/>
              <a:gd name="connsiteX4-69" fmla="*/ 0 w 1829887"/>
              <a:gd name="connsiteY4-70" fmla="*/ 0 h 1007543"/>
              <a:gd name="connsiteX0-71" fmla="*/ 0 w 1829887"/>
              <a:gd name="connsiteY0-72" fmla="*/ 0 h 1001193"/>
              <a:gd name="connsiteX1-73" fmla="*/ 1829887 w 1829887"/>
              <a:gd name="connsiteY1-74" fmla="*/ 273050 h 1001193"/>
              <a:gd name="connsiteX2-75" fmla="*/ 1826712 w 1829887"/>
              <a:gd name="connsiteY2-76" fmla="*/ 1001193 h 1001193"/>
              <a:gd name="connsiteX3-77" fmla="*/ 0 w 1829887"/>
              <a:gd name="connsiteY3-78" fmla="*/ 998018 h 1001193"/>
              <a:gd name="connsiteX4-79" fmla="*/ 0 w 1829887"/>
              <a:gd name="connsiteY4-80" fmla="*/ 0 h 1001193"/>
              <a:gd name="connsiteX0-81" fmla="*/ 0 w 1832268"/>
              <a:gd name="connsiteY0-82" fmla="*/ 5556 h 1006749"/>
              <a:gd name="connsiteX1-83" fmla="*/ 1832268 w 1832268"/>
              <a:gd name="connsiteY1-84" fmla="*/ 0 h 1006749"/>
              <a:gd name="connsiteX2-85" fmla="*/ 1826712 w 1832268"/>
              <a:gd name="connsiteY2-86" fmla="*/ 1006749 h 1006749"/>
              <a:gd name="connsiteX3-87" fmla="*/ 0 w 1832268"/>
              <a:gd name="connsiteY3-88" fmla="*/ 1003574 h 1006749"/>
              <a:gd name="connsiteX4-89" fmla="*/ 0 w 1832268"/>
              <a:gd name="connsiteY4-90" fmla="*/ 5556 h 1006749"/>
              <a:gd name="connsiteX0-91" fmla="*/ 0 w 1832268"/>
              <a:gd name="connsiteY0-92" fmla="*/ 5556 h 1003574"/>
              <a:gd name="connsiteX1-93" fmla="*/ 1832268 w 1832268"/>
              <a:gd name="connsiteY1-94" fmla="*/ 0 h 1003574"/>
              <a:gd name="connsiteX2-95" fmla="*/ 1829093 w 1832268"/>
              <a:gd name="connsiteY2-96" fmla="*/ 720999 h 1003574"/>
              <a:gd name="connsiteX3-97" fmla="*/ 0 w 1832268"/>
              <a:gd name="connsiteY3-98" fmla="*/ 1003574 h 1003574"/>
              <a:gd name="connsiteX4-99" fmla="*/ 0 w 1832268"/>
              <a:gd name="connsiteY4-100" fmla="*/ 5556 h 1003574"/>
              <a:gd name="connsiteX0-101" fmla="*/ 0 w 1834649"/>
              <a:gd name="connsiteY0-102" fmla="*/ 793 h 1003574"/>
              <a:gd name="connsiteX1-103" fmla="*/ 1834649 w 1834649"/>
              <a:gd name="connsiteY1-104" fmla="*/ 0 h 1003574"/>
              <a:gd name="connsiteX2-105" fmla="*/ 1831474 w 1834649"/>
              <a:gd name="connsiteY2-106" fmla="*/ 720999 h 1003574"/>
              <a:gd name="connsiteX3-107" fmla="*/ 2381 w 1834649"/>
              <a:gd name="connsiteY3-108" fmla="*/ 1003574 h 1003574"/>
              <a:gd name="connsiteX4-109" fmla="*/ 0 w 1834649"/>
              <a:gd name="connsiteY4-110" fmla="*/ 793 h 1003574"/>
              <a:gd name="connsiteX0-111" fmla="*/ 0 w 1834649"/>
              <a:gd name="connsiteY0-112" fmla="*/ 284162 h 1286943"/>
              <a:gd name="connsiteX1-113" fmla="*/ 1834649 w 1834649"/>
              <a:gd name="connsiteY1-114" fmla="*/ 0 h 1286943"/>
              <a:gd name="connsiteX2-115" fmla="*/ 1831474 w 1834649"/>
              <a:gd name="connsiteY2-116" fmla="*/ 1004368 h 1286943"/>
              <a:gd name="connsiteX3-117" fmla="*/ 2381 w 1834649"/>
              <a:gd name="connsiteY3-118" fmla="*/ 1286943 h 1286943"/>
              <a:gd name="connsiteX4-119" fmla="*/ 0 w 1834649"/>
              <a:gd name="connsiteY4-120" fmla="*/ 284162 h 1286943"/>
              <a:gd name="connsiteX0-121" fmla="*/ 0 w 1834649"/>
              <a:gd name="connsiteY0-122" fmla="*/ 284162 h 1286943"/>
              <a:gd name="connsiteX1-123" fmla="*/ 1834649 w 1834649"/>
              <a:gd name="connsiteY1-124" fmla="*/ 0 h 1286943"/>
              <a:gd name="connsiteX2-125" fmla="*/ 1829093 w 1834649"/>
              <a:gd name="connsiteY2-126" fmla="*/ 721000 h 1286943"/>
              <a:gd name="connsiteX3-127" fmla="*/ 2381 w 1834649"/>
              <a:gd name="connsiteY3-128" fmla="*/ 1286943 h 1286943"/>
              <a:gd name="connsiteX4-129" fmla="*/ 0 w 1834649"/>
              <a:gd name="connsiteY4-130" fmla="*/ 284162 h 1286943"/>
              <a:gd name="connsiteX0-131" fmla="*/ 229 w 1834878"/>
              <a:gd name="connsiteY0-132" fmla="*/ 284162 h 1289324"/>
              <a:gd name="connsiteX1-133" fmla="*/ 1834878 w 1834878"/>
              <a:gd name="connsiteY1-134" fmla="*/ 0 h 1289324"/>
              <a:gd name="connsiteX2-135" fmla="*/ 1829322 w 1834878"/>
              <a:gd name="connsiteY2-136" fmla="*/ 721000 h 1289324"/>
              <a:gd name="connsiteX3-137" fmla="*/ 229 w 1834878"/>
              <a:gd name="connsiteY3-138" fmla="*/ 1289324 h 1289324"/>
              <a:gd name="connsiteX4-139" fmla="*/ 229 w 1834878"/>
              <a:gd name="connsiteY4-140" fmla="*/ 284162 h 1289324"/>
              <a:gd name="connsiteX0-141" fmla="*/ 2486 w 1837135"/>
              <a:gd name="connsiteY0-142" fmla="*/ 284162 h 1296468"/>
              <a:gd name="connsiteX1-143" fmla="*/ 1837135 w 1837135"/>
              <a:gd name="connsiteY1-144" fmla="*/ 0 h 1296468"/>
              <a:gd name="connsiteX2-145" fmla="*/ 1831579 w 1837135"/>
              <a:gd name="connsiteY2-146" fmla="*/ 721000 h 1296468"/>
              <a:gd name="connsiteX3-147" fmla="*/ 105 w 1837135"/>
              <a:gd name="connsiteY3-148" fmla="*/ 1296468 h 1296468"/>
              <a:gd name="connsiteX4-149" fmla="*/ 2486 w 1837135"/>
              <a:gd name="connsiteY4-150" fmla="*/ 284162 h 1296468"/>
              <a:gd name="connsiteX0-151" fmla="*/ 2486 w 1837135"/>
              <a:gd name="connsiteY0-152" fmla="*/ 284162 h 1296468"/>
              <a:gd name="connsiteX1-153" fmla="*/ 1837135 w 1837135"/>
              <a:gd name="connsiteY1-154" fmla="*/ 0 h 1296468"/>
              <a:gd name="connsiteX2-155" fmla="*/ 1836342 w 1837135"/>
              <a:gd name="connsiteY2-156" fmla="*/ 728144 h 1296468"/>
              <a:gd name="connsiteX3-157" fmla="*/ 105 w 1837135"/>
              <a:gd name="connsiteY3-158" fmla="*/ 1296468 h 1296468"/>
              <a:gd name="connsiteX4-159" fmla="*/ 2486 w 1837135"/>
              <a:gd name="connsiteY4-160" fmla="*/ 284162 h 1296468"/>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837135" h="1296468">
                <a:moveTo>
                  <a:pt x="2486" y="284162"/>
                </a:moveTo>
                <a:lnTo>
                  <a:pt x="1837135" y="0"/>
                </a:lnTo>
                <a:cubicBezTo>
                  <a:pt x="1836077" y="335848"/>
                  <a:pt x="1837400" y="392296"/>
                  <a:pt x="1836342" y="728144"/>
                </a:cubicBezTo>
                <a:lnTo>
                  <a:pt x="105" y="1296468"/>
                </a:lnTo>
                <a:cubicBezTo>
                  <a:pt x="-689" y="962208"/>
                  <a:pt x="3280" y="618422"/>
                  <a:pt x="2486" y="284162"/>
                </a:cubicBezTo>
                <a:close/>
              </a:path>
            </a:pathLst>
          </a:custGeom>
          <a:solidFill>
            <a:srgbClr val="41A0D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Freeform 144"/>
          <p:cNvSpPr>
            <a:spLocks noEditPoints="1"/>
          </p:cNvSpPr>
          <p:nvPr/>
        </p:nvSpPr>
        <p:spPr bwMode="black">
          <a:xfrm>
            <a:off x="1789006" y="2767629"/>
            <a:ext cx="373969" cy="660050"/>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noFill/>
          <a:ln w="19050">
            <a:solidFill>
              <a:schemeClr val="bg1"/>
            </a:solidFill>
          </a:ln>
        </p:spPr>
        <p:txBody>
          <a:bodyPr vert="horz" wrap="square" lIns="68589" tIns="34295" rIns="68589" bIns="34295" numCol="1" anchor="t" anchorCtr="0" compatLnSpc="1"/>
          <a:lstStyle/>
          <a:p>
            <a:endParaRPr lang="en-US"/>
          </a:p>
        </p:txBody>
      </p:sp>
      <p:pic>
        <p:nvPicPr>
          <p:cNvPr id="53" name="Picture 34" descr="Efficiency.png"/>
          <p:cNvPicPr>
            <a:picLocks noChangeAspect="1"/>
          </p:cNvPicPr>
          <p:nvPr/>
        </p:nvPicPr>
        <p:blipFill>
          <a:blip r:embed="rId1" cstate="print"/>
          <a:srcRect/>
          <a:stretch>
            <a:fillRect/>
          </a:stretch>
        </p:blipFill>
        <p:spPr bwMode="auto">
          <a:xfrm>
            <a:off x="1570854" y="3635556"/>
            <a:ext cx="810268" cy="752012"/>
          </a:xfrm>
          <a:prstGeom prst="rect">
            <a:avLst/>
          </a:prstGeom>
          <a:noFill/>
          <a:ln>
            <a:noFill/>
          </a:ln>
        </p:spPr>
      </p:pic>
      <p:grpSp>
        <p:nvGrpSpPr>
          <p:cNvPr id="2" name="Group 173"/>
          <p:cNvGrpSpPr>
            <a:grpSpLocks noChangeAspect="1"/>
          </p:cNvGrpSpPr>
          <p:nvPr/>
        </p:nvGrpSpPr>
        <p:grpSpPr>
          <a:xfrm>
            <a:off x="1700231" y="4559813"/>
            <a:ext cx="551518" cy="709863"/>
            <a:chOff x="-2773363" y="1651000"/>
            <a:chExt cx="2692401" cy="3448051"/>
          </a:xfrm>
          <a:solidFill>
            <a:schemeClr val="bg1"/>
          </a:solidFill>
        </p:grpSpPr>
        <p:sp>
          <p:nvSpPr>
            <p:cNvPr id="56"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7"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8" name="Oval 21"/>
            <p:cNvSpPr>
              <a:spLocks noChangeArrowheads="1"/>
            </p:cNvSpPr>
            <p:nvPr/>
          </p:nvSpPr>
          <p:spPr bwMode="auto">
            <a:xfrm>
              <a:off x="-1055688" y="2462213"/>
              <a:ext cx="171450" cy="17145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59" name="Oval 22"/>
            <p:cNvSpPr>
              <a:spLocks noChangeArrowheads="1"/>
            </p:cNvSpPr>
            <p:nvPr/>
          </p:nvSpPr>
          <p:spPr bwMode="auto">
            <a:xfrm>
              <a:off x="-1776413" y="2792413"/>
              <a:ext cx="115888" cy="119063"/>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0" name="Freeform 23"/>
            <p:cNvSpPr>
              <a:spLocks noEditPoints="1"/>
            </p:cNvSpPr>
            <p:nvPr/>
          </p:nvSpPr>
          <p:spPr bwMode="auto">
            <a:xfrm>
              <a:off x="-2773363" y="2439988"/>
              <a:ext cx="2692401" cy="2659063"/>
            </a:xfrm>
            <a:custGeom>
              <a:avLst/>
              <a:gdLst>
                <a:gd name="T0" fmla="*/ 605 w 718"/>
                <a:gd name="T1" fmla="*/ 20 h 709"/>
                <a:gd name="T2" fmla="*/ 602 w 718"/>
                <a:gd name="T3" fmla="*/ 58 h 709"/>
                <a:gd name="T4" fmla="*/ 587 w 718"/>
                <a:gd name="T5" fmla="*/ 93 h 709"/>
                <a:gd name="T6" fmla="*/ 563 w 718"/>
                <a:gd name="T7" fmla="*/ 121 h 709"/>
                <a:gd name="T8" fmla="*/ 530 w 718"/>
                <a:gd name="T9" fmla="*/ 141 h 709"/>
                <a:gd name="T10" fmla="*/ 493 w 718"/>
                <a:gd name="T11" fmla="*/ 149 h 709"/>
                <a:gd name="T12" fmla="*/ 456 w 718"/>
                <a:gd name="T13" fmla="*/ 147 h 709"/>
                <a:gd name="T14" fmla="*/ 420 w 718"/>
                <a:gd name="T15" fmla="*/ 134 h 709"/>
                <a:gd name="T16" fmla="*/ 391 w 718"/>
                <a:gd name="T17" fmla="*/ 110 h 709"/>
                <a:gd name="T18" fmla="*/ 371 w 718"/>
                <a:gd name="T19" fmla="*/ 78 h 709"/>
                <a:gd name="T20" fmla="*/ 361 w 718"/>
                <a:gd name="T21" fmla="*/ 42 h 709"/>
                <a:gd name="T22" fmla="*/ 363 w 718"/>
                <a:gd name="T23" fmla="*/ 4 h 709"/>
                <a:gd name="T24" fmla="*/ 68 w 718"/>
                <a:gd name="T25" fmla="*/ 221 h 709"/>
                <a:gd name="T26" fmla="*/ 162 w 718"/>
                <a:gd name="T27" fmla="*/ 514 h 709"/>
                <a:gd name="T28" fmla="*/ 334 w 718"/>
                <a:gd name="T29" fmla="*/ 176 h 709"/>
                <a:gd name="T30" fmla="*/ 311 w 718"/>
                <a:gd name="T31" fmla="*/ 189 h 709"/>
                <a:gd name="T32" fmla="*/ 288 w 718"/>
                <a:gd name="T33" fmla="*/ 197 h 709"/>
                <a:gd name="T34" fmla="*/ 258 w 718"/>
                <a:gd name="T35" fmla="*/ 192 h 709"/>
                <a:gd name="T36" fmla="*/ 234 w 718"/>
                <a:gd name="T37" fmla="*/ 181 h 709"/>
                <a:gd name="T38" fmla="*/ 214 w 718"/>
                <a:gd name="T39" fmla="*/ 164 h 709"/>
                <a:gd name="T40" fmla="*/ 201 w 718"/>
                <a:gd name="T41" fmla="*/ 141 h 709"/>
                <a:gd name="T42" fmla="*/ 195 w 718"/>
                <a:gd name="T43" fmla="*/ 116 h 709"/>
                <a:gd name="T44" fmla="*/ 197 w 718"/>
                <a:gd name="T45" fmla="*/ 89 h 709"/>
                <a:gd name="T46" fmla="*/ 207 w 718"/>
                <a:gd name="T47" fmla="*/ 64 h 709"/>
                <a:gd name="T48" fmla="*/ 225 w 718"/>
                <a:gd name="T49" fmla="*/ 43 h 709"/>
                <a:gd name="T50" fmla="*/ 249 w 718"/>
                <a:gd name="T51" fmla="*/ 29 h 709"/>
                <a:gd name="T52" fmla="*/ 275 w 718"/>
                <a:gd name="T53" fmla="*/ 23 h 709"/>
                <a:gd name="T54" fmla="*/ 305 w 718"/>
                <a:gd name="T55" fmla="*/ 28 h 709"/>
                <a:gd name="T56" fmla="*/ 329 w 718"/>
                <a:gd name="T57" fmla="*/ 38 h 709"/>
                <a:gd name="T58" fmla="*/ 349 w 718"/>
                <a:gd name="T59" fmla="*/ 55 h 709"/>
                <a:gd name="T60" fmla="*/ 362 w 718"/>
                <a:gd name="T61" fmla="*/ 78 h 709"/>
                <a:gd name="T62" fmla="*/ 368 w 718"/>
                <a:gd name="T63" fmla="*/ 104 h 709"/>
                <a:gd name="T64" fmla="*/ 366 w 718"/>
                <a:gd name="T65" fmla="*/ 131 h 709"/>
                <a:gd name="T66" fmla="*/ 356 w 718"/>
                <a:gd name="T67" fmla="*/ 156 h 709"/>
                <a:gd name="T68" fmla="*/ 338 w 718"/>
                <a:gd name="T69" fmla="*/ 176 h 709"/>
                <a:gd name="T70" fmla="*/ 451 w 718"/>
                <a:gd name="T71" fmla="*/ 208 h 709"/>
                <a:gd name="T72" fmla="*/ 444 w 718"/>
                <a:gd name="T73" fmla="*/ 224 h 709"/>
                <a:gd name="T74" fmla="*/ 433 w 718"/>
                <a:gd name="T75" fmla="*/ 237 h 709"/>
                <a:gd name="T76" fmla="*/ 418 w 718"/>
                <a:gd name="T77" fmla="*/ 247 h 709"/>
                <a:gd name="T78" fmla="*/ 401 w 718"/>
                <a:gd name="T79" fmla="*/ 251 h 709"/>
                <a:gd name="T80" fmla="*/ 383 w 718"/>
                <a:gd name="T81" fmla="*/ 250 h 709"/>
                <a:gd name="T82" fmla="*/ 367 w 718"/>
                <a:gd name="T83" fmla="*/ 243 h 709"/>
                <a:gd name="T84" fmla="*/ 353 w 718"/>
                <a:gd name="T85" fmla="*/ 232 h 709"/>
                <a:gd name="T86" fmla="*/ 343 w 718"/>
                <a:gd name="T87" fmla="*/ 217 h 709"/>
                <a:gd name="T88" fmla="*/ 339 w 718"/>
                <a:gd name="T89" fmla="*/ 200 h 709"/>
                <a:gd name="T90" fmla="*/ 340 w 718"/>
                <a:gd name="T91" fmla="*/ 183 h 709"/>
                <a:gd name="T92" fmla="*/ 346 w 718"/>
                <a:gd name="T93" fmla="*/ 166 h 709"/>
                <a:gd name="T94" fmla="*/ 357 w 718"/>
                <a:gd name="T95" fmla="*/ 153 h 709"/>
                <a:gd name="T96" fmla="*/ 372 w 718"/>
                <a:gd name="T97" fmla="*/ 143 h 709"/>
                <a:gd name="T98" fmla="*/ 389 w 718"/>
                <a:gd name="T99" fmla="*/ 138 h 709"/>
                <a:gd name="T100" fmla="*/ 407 w 718"/>
                <a:gd name="T101" fmla="*/ 139 h 709"/>
                <a:gd name="T102" fmla="*/ 423 w 718"/>
                <a:gd name="T103" fmla="*/ 146 h 709"/>
                <a:gd name="T104" fmla="*/ 437 w 718"/>
                <a:gd name="T105" fmla="*/ 157 h 709"/>
                <a:gd name="T106" fmla="*/ 446 w 718"/>
                <a:gd name="T107" fmla="*/ 172 h 709"/>
                <a:gd name="T108" fmla="*/ 451 w 718"/>
                <a:gd name="T109" fmla="*/ 18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709">
                  <a:moveTo>
                    <a:pt x="606" y="330"/>
                  </a:moveTo>
                  <a:cubicBezTo>
                    <a:pt x="718" y="140"/>
                    <a:pt x="627" y="0"/>
                    <a:pt x="627" y="0"/>
                  </a:cubicBezTo>
                  <a:cubicBezTo>
                    <a:pt x="578" y="0"/>
                    <a:pt x="578" y="0"/>
                    <a:pt x="578" y="0"/>
                  </a:cubicBezTo>
                  <a:cubicBezTo>
                    <a:pt x="579" y="4"/>
                    <a:pt x="580" y="9"/>
                    <a:pt x="581" y="13"/>
                  </a:cubicBezTo>
                  <a:cubicBezTo>
                    <a:pt x="601" y="16"/>
                    <a:pt x="601" y="16"/>
                    <a:pt x="601" y="16"/>
                  </a:cubicBezTo>
                  <a:cubicBezTo>
                    <a:pt x="603" y="16"/>
                    <a:pt x="605" y="18"/>
                    <a:pt x="605" y="20"/>
                  </a:cubicBezTo>
                  <a:cubicBezTo>
                    <a:pt x="605" y="20"/>
                    <a:pt x="605" y="20"/>
                    <a:pt x="605" y="20"/>
                  </a:cubicBezTo>
                  <a:cubicBezTo>
                    <a:pt x="605" y="23"/>
                    <a:pt x="604" y="24"/>
                    <a:pt x="601" y="24"/>
                  </a:cubicBezTo>
                  <a:cubicBezTo>
                    <a:pt x="582" y="30"/>
                    <a:pt x="582" y="30"/>
                    <a:pt x="582" y="30"/>
                  </a:cubicBezTo>
                  <a:cubicBezTo>
                    <a:pt x="582" y="35"/>
                    <a:pt x="581" y="40"/>
                    <a:pt x="581" y="45"/>
                  </a:cubicBezTo>
                  <a:cubicBezTo>
                    <a:pt x="599" y="54"/>
                    <a:pt x="599" y="54"/>
                    <a:pt x="599" y="54"/>
                  </a:cubicBezTo>
                  <a:cubicBezTo>
                    <a:pt x="601" y="55"/>
                    <a:pt x="602" y="56"/>
                    <a:pt x="602" y="58"/>
                  </a:cubicBezTo>
                  <a:cubicBezTo>
                    <a:pt x="602" y="58"/>
                    <a:pt x="602" y="59"/>
                    <a:pt x="602" y="59"/>
                  </a:cubicBezTo>
                  <a:cubicBezTo>
                    <a:pt x="601" y="61"/>
                    <a:pt x="599" y="62"/>
                    <a:pt x="597" y="62"/>
                  </a:cubicBezTo>
                  <a:cubicBezTo>
                    <a:pt x="577" y="62"/>
                    <a:pt x="577" y="62"/>
                    <a:pt x="577" y="62"/>
                  </a:cubicBezTo>
                  <a:cubicBezTo>
                    <a:pt x="575" y="66"/>
                    <a:pt x="573" y="71"/>
                    <a:pt x="571" y="75"/>
                  </a:cubicBezTo>
                  <a:cubicBezTo>
                    <a:pt x="585" y="89"/>
                    <a:pt x="585" y="89"/>
                    <a:pt x="585" y="89"/>
                  </a:cubicBezTo>
                  <a:cubicBezTo>
                    <a:pt x="587" y="90"/>
                    <a:pt x="587" y="91"/>
                    <a:pt x="587" y="93"/>
                  </a:cubicBezTo>
                  <a:cubicBezTo>
                    <a:pt x="587" y="94"/>
                    <a:pt x="587" y="94"/>
                    <a:pt x="587" y="95"/>
                  </a:cubicBezTo>
                  <a:cubicBezTo>
                    <a:pt x="585" y="97"/>
                    <a:pt x="583" y="97"/>
                    <a:pt x="581" y="96"/>
                  </a:cubicBezTo>
                  <a:cubicBezTo>
                    <a:pt x="562" y="90"/>
                    <a:pt x="562" y="90"/>
                    <a:pt x="562" y="90"/>
                  </a:cubicBezTo>
                  <a:cubicBezTo>
                    <a:pt x="559" y="94"/>
                    <a:pt x="556" y="97"/>
                    <a:pt x="552" y="101"/>
                  </a:cubicBezTo>
                  <a:cubicBezTo>
                    <a:pt x="562" y="119"/>
                    <a:pt x="562" y="119"/>
                    <a:pt x="562" y="119"/>
                  </a:cubicBezTo>
                  <a:cubicBezTo>
                    <a:pt x="562" y="120"/>
                    <a:pt x="563" y="120"/>
                    <a:pt x="563" y="121"/>
                  </a:cubicBezTo>
                  <a:cubicBezTo>
                    <a:pt x="563" y="122"/>
                    <a:pt x="562" y="124"/>
                    <a:pt x="561" y="124"/>
                  </a:cubicBezTo>
                  <a:cubicBezTo>
                    <a:pt x="559" y="126"/>
                    <a:pt x="557" y="126"/>
                    <a:pt x="555" y="124"/>
                  </a:cubicBezTo>
                  <a:cubicBezTo>
                    <a:pt x="539" y="112"/>
                    <a:pt x="539" y="112"/>
                    <a:pt x="539" y="112"/>
                  </a:cubicBezTo>
                  <a:cubicBezTo>
                    <a:pt x="535" y="114"/>
                    <a:pt x="531" y="117"/>
                    <a:pt x="527" y="119"/>
                  </a:cubicBezTo>
                  <a:cubicBezTo>
                    <a:pt x="530" y="139"/>
                    <a:pt x="530" y="139"/>
                    <a:pt x="530" y="139"/>
                  </a:cubicBezTo>
                  <a:cubicBezTo>
                    <a:pt x="530" y="140"/>
                    <a:pt x="530" y="140"/>
                    <a:pt x="530" y="141"/>
                  </a:cubicBezTo>
                  <a:cubicBezTo>
                    <a:pt x="530" y="142"/>
                    <a:pt x="529" y="144"/>
                    <a:pt x="528" y="145"/>
                  </a:cubicBezTo>
                  <a:cubicBezTo>
                    <a:pt x="526" y="145"/>
                    <a:pt x="523" y="144"/>
                    <a:pt x="522" y="142"/>
                  </a:cubicBezTo>
                  <a:cubicBezTo>
                    <a:pt x="511" y="126"/>
                    <a:pt x="511" y="126"/>
                    <a:pt x="511" y="126"/>
                  </a:cubicBezTo>
                  <a:cubicBezTo>
                    <a:pt x="506" y="127"/>
                    <a:pt x="501" y="128"/>
                    <a:pt x="497" y="129"/>
                  </a:cubicBezTo>
                  <a:cubicBezTo>
                    <a:pt x="493" y="149"/>
                    <a:pt x="493" y="149"/>
                    <a:pt x="493" y="149"/>
                  </a:cubicBezTo>
                  <a:cubicBezTo>
                    <a:pt x="493" y="149"/>
                    <a:pt x="493" y="149"/>
                    <a:pt x="493" y="149"/>
                  </a:cubicBezTo>
                  <a:cubicBezTo>
                    <a:pt x="493" y="151"/>
                    <a:pt x="492" y="153"/>
                    <a:pt x="490" y="153"/>
                  </a:cubicBezTo>
                  <a:cubicBezTo>
                    <a:pt x="490" y="153"/>
                    <a:pt x="490" y="153"/>
                    <a:pt x="489" y="153"/>
                  </a:cubicBezTo>
                  <a:cubicBezTo>
                    <a:pt x="487" y="153"/>
                    <a:pt x="486" y="152"/>
                    <a:pt x="485" y="150"/>
                  </a:cubicBezTo>
                  <a:cubicBezTo>
                    <a:pt x="479" y="130"/>
                    <a:pt x="479" y="130"/>
                    <a:pt x="479" y="130"/>
                  </a:cubicBezTo>
                  <a:cubicBezTo>
                    <a:pt x="475" y="130"/>
                    <a:pt x="470" y="130"/>
                    <a:pt x="465" y="129"/>
                  </a:cubicBezTo>
                  <a:cubicBezTo>
                    <a:pt x="456" y="147"/>
                    <a:pt x="456" y="147"/>
                    <a:pt x="456" y="147"/>
                  </a:cubicBezTo>
                  <a:cubicBezTo>
                    <a:pt x="455" y="149"/>
                    <a:pt x="453" y="151"/>
                    <a:pt x="451" y="150"/>
                  </a:cubicBezTo>
                  <a:cubicBezTo>
                    <a:pt x="449" y="150"/>
                    <a:pt x="448" y="148"/>
                    <a:pt x="448" y="146"/>
                  </a:cubicBezTo>
                  <a:cubicBezTo>
                    <a:pt x="448" y="146"/>
                    <a:pt x="448" y="146"/>
                    <a:pt x="448" y="145"/>
                  </a:cubicBezTo>
                  <a:cubicBezTo>
                    <a:pt x="448" y="125"/>
                    <a:pt x="448" y="125"/>
                    <a:pt x="448" y="125"/>
                  </a:cubicBezTo>
                  <a:cubicBezTo>
                    <a:pt x="444" y="123"/>
                    <a:pt x="439" y="121"/>
                    <a:pt x="435" y="119"/>
                  </a:cubicBezTo>
                  <a:cubicBezTo>
                    <a:pt x="420" y="134"/>
                    <a:pt x="420" y="134"/>
                    <a:pt x="420" y="134"/>
                  </a:cubicBezTo>
                  <a:cubicBezTo>
                    <a:pt x="419" y="135"/>
                    <a:pt x="417" y="136"/>
                    <a:pt x="415" y="135"/>
                  </a:cubicBezTo>
                  <a:cubicBezTo>
                    <a:pt x="414" y="134"/>
                    <a:pt x="413" y="133"/>
                    <a:pt x="413" y="131"/>
                  </a:cubicBezTo>
                  <a:cubicBezTo>
                    <a:pt x="413" y="131"/>
                    <a:pt x="413" y="130"/>
                    <a:pt x="414" y="129"/>
                  </a:cubicBezTo>
                  <a:cubicBezTo>
                    <a:pt x="420" y="110"/>
                    <a:pt x="420" y="110"/>
                    <a:pt x="420" y="110"/>
                  </a:cubicBezTo>
                  <a:cubicBezTo>
                    <a:pt x="416" y="107"/>
                    <a:pt x="413" y="104"/>
                    <a:pt x="409" y="101"/>
                  </a:cubicBezTo>
                  <a:cubicBezTo>
                    <a:pt x="391" y="110"/>
                    <a:pt x="391" y="110"/>
                    <a:pt x="391" y="110"/>
                  </a:cubicBezTo>
                  <a:cubicBezTo>
                    <a:pt x="389" y="111"/>
                    <a:pt x="387" y="111"/>
                    <a:pt x="386" y="109"/>
                  </a:cubicBezTo>
                  <a:cubicBezTo>
                    <a:pt x="385" y="109"/>
                    <a:pt x="385" y="108"/>
                    <a:pt x="385" y="107"/>
                  </a:cubicBezTo>
                  <a:cubicBezTo>
                    <a:pt x="385" y="106"/>
                    <a:pt x="385" y="104"/>
                    <a:pt x="386" y="104"/>
                  </a:cubicBezTo>
                  <a:cubicBezTo>
                    <a:pt x="398" y="87"/>
                    <a:pt x="398" y="87"/>
                    <a:pt x="398" y="87"/>
                  </a:cubicBezTo>
                  <a:cubicBezTo>
                    <a:pt x="395" y="83"/>
                    <a:pt x="393" y="79"/>
                    <a:pt x="391" y="75"/>
                  </a:cubicBezTo>
                  <a:cubicBezTo>
                    <a:pt x="371" y="78"/>
                    <a:pt x="371" y="78"/>
                    <a:pt x="371" y="78"/>
                  </a:cubicBezTo>
                  <a:cubicBezTo>
                    <a:pt x="369" y="79"/>
                    <a:pt x="366" y="78"/>
                    <a:pt x="365" y="76"/>
                  </a:cubicBezTo>
                  <a:cubicBezTo>
                    <a:pt x="365" y="75"/>
                    <a:pt x="365" y="75"/>
                    <a:pt x="365" y="74"/>
                  </a:cubicBezTo>
                  <a:cubicBezTo>
                    <a:pt x="365" y="73"/>
                    <a:pt x="366" y="71"/>
                    <a:pt x="368" y="71"/>
                  </a:cubicBezTo>
                  <a:cubicBezTo>
                    <a:pt x="384" y="59"/>
                    <a:pt x="384" y="59"/>
                    <a:pt x="384" y="59"/>
                  </a:cubicBezTo>
                  <a:cubicBezTo>
                    <a:pt x="383" y="54"/>
                    <a:pt x="382" y="50"/>
                    <a:pt x="381" y="45"/>
                  </a:cubicBezTo>
                  <a:cubicBezTo>
                    <a:pt x="361" y="42"/>
                    <a:pt x="361" y="42"/>
                    <a:pt x="361" y="42"/>
                  </a:cubicBezTo>
                  <a:cubicBezTo>
                    <a:pt x="359" y="42"/>
                    <a:pt x="357" y="40"/>
                    <a:pt x="357" y="38"/>
                  </a:cubicBezTo>
                  <a:cubicBezTo>
                    <a:pt x="357" y="38"/>
                    <a:pt x="357" y="38"/>
                    <a:pt x="357" y="38"/>
                  </a:cubicBezTo>
                  <a:cubicBezTo>
                    <a:pt x="357" y="36"/>
                    <a:pt x="358" y="34"/>
                    <a:pt x="360" y="34"/>
                  </a:cubicBezTo>
                  <a:cubicBezTo>
                    <a:pt x="380" y="28"/>
                    <a:pt x="380" y="28"/>
                    <a:pt x="380" y="28"/>
                  </a:cubicBezTo>
                  <a:cubicBezTo>
                    <a:pt x="380" y="23"/>
                    <a:pt x="380" y="18"/>
                    <a:pt x="381" y="13"/>
                  </a:cubicBezTo>
                  <a:cubicBezTo>
                    <a:pt x="363" y="4"/>
                    <a:pt x="363" y="4"/>
                    <a:pt x="363" y="4"/>
                  </a:cubicBezTo>
                  <a:cubicBezTo>
                    <a:pt x="361" y="4"/>
                    <a:pt x="360" y="2"/>
                    <a:pt x="360" y="0"/>
                  </a:cubicBezTo>
                  <a:cubicBezTo>
                    <a:pt x="360" y="0"/>
                    <a:pt x="360" y="0"/>
                    <a:pt x="360" y="0"/>
                  </a:cubicBezTo>
                  <a:cubicBezTo>
                    <a:pt x="110" y="0"/>
                    <a:pt x="110" y="0"/>
                    <a:pt x="110" y="0"/>
                  </a:cubicBezTo>
                  <a:cubicBezTo>
                    <a:pt x="103" y="41"/>
                    <a:pt x="83" y="85"/>
                    <a:pt x="83" y="85"/>
                  </a:cubicBezTo>
                  <a:cubicBezTo>
                    <a:pt x="71" y="115"/>
                    <a:pt x="79" y="137"/>
                    <a:pt x="79" y="137"/>
                  </a:cubicBezTo>
                  <a:cubicBezTo>
                    <a:pt x="103" y="178"/>
                    <a:pt x="84" y="200"/>
                    <a:pt x="68" y="221"/>
                  </a:cubicBezTo>
                  <a:cubicBezTo>
                    <a:pt x="53" y="242"/>
                    <a:pt x="0" y="315"/>
                    <a:pt x="51" y="317"/>
                  </a:cubicBezTo>
                  <a:cubicBezTo>
                    <a:pt x="99" y="318"/>
                    <a:pt x="84" y="334"/>
                    <a:pt x="84" y="334"/>
                  </a:cubicBezTo>
                  <a:cubicBezTo>
                    <a:pt x="63" y="380"/>
                    <a:pt x="96" y="381"/>
                    <a:pt x="96" y="381"/>
                  </a:cubicBezTo>
                  <a:cubicBezTo>
                    <a:pt x="81" y="408"/>
                    <a:pt x="103" y="409"/>
                    <a:pt x="103" y="409"/>
                  </a:cubicBezTo>
                  <a:cubicBezTo>
                    <a:pt x="135" y="409"/>
                    <a:pt x="118" y="438"/>
                    <a:pt x="118" y="438"/>
                  </a:cubicBezTo>
                  <a:cubicBezTo>
                    <a:pt x="79" y="481"/>
                    <a:pt x="113" y="524"/>
                    <a:pt x="162" y="514"/>
                  </a:cubicBezTo>
                  <a:cubicBezTo>
                    <a:pt x="259" y="494"/>
                    <a:pt x="309" y="527"/>
                    <a:pt x="286" y="597"/>
                  </a:cubicBezTo>
                  <a:cubicBezTo>
                    <a:pt x="263" y="666"/>
                    <a:pt x="232" y="709"/>
                    <a:pt x="232" y="709"/>
                  </a:cubicBezTo>
                  <a:cubicBezTo>
                    <a:pt x="659" y="709"/>
                    <a:pt x="659" y="709"/>
                    <a:pt x="659" y="709"/>
                  </a:cubicBezTo>
                  <a:cubicBezTo>
                    <a:pt x="568" y="521"/>
                    <a:pt x="568" y="521"/>
                    <a:pt x="568" y="521"/>
                  </a:cubicBezTo>
                  <a:cubicBezTo>
                    <a:pt x="540" y="458"/>
                    <a:pt x="606" y="330"/>
                    <a:pt x="606" y="330"/>
                  </a:cubicBezTo>
                  <a:close/>
                  <a:moveTo>
                    <a:pt x="334" y="176"/>
                  </a:moveTo>
                  <a:cubicBezTo>
                    <a:pt x="322" y="168"/>
                    <a:pt x="322" y="168"/>
                    <a:pt x="322" y="168"/>
                  </a:cubicBezTo>
                  <a:cubicBezTo>
                    <a:pt x="320" y="169"/>
                    <a:pt x="317" y="171"/>
                    <a:pt x="314" y="173"/>
                  </a:cubicBezTo>
                  <a:cubicBezTo>
                    <a:pt x="316" y="187"/>
                    <a:pt x="316" y="187"/>
                    <a:pt x="316" y="187"/>
                  </a:cubicBezTo>
                  <a:cubicBezTo>
                    <a:pt x="316" y="187"/>
                    <a:pt x="316" y="188"/>
                    <a:pt x="316" y="188"/>
                  </a:cubicBezTo>
                  <a:cubicBezTo>
                    <a:pt x="316" y="189"/>
                    <a:pt x="315" y="190"/>
                    <a:pt x="314" y="191"/>
                  </a:cubicBezTo>
                  <a:cubicBezTo>
                    <a:pt x="313" y="191"/>
                    <a:pt x="311" y="190"/>
                    <a:pt x="311" y="189"/>
                  </a:cubicBezTo>
                  <a:cubicBezTo>
                    <a:pt x="302" y="177"/>
                    <a:pt x="302" y="177"/>
                    <a:pt x="302" y="177"/>
                  </a:cubicBezTo>
                  <a:cubicBezTo>
                    <a:pt x="299" y="178"/>
                    <a:pt x="296" y="179"/>
                    <a:pt x="293" y="180"/>
                  </a:cubicBezTo>
                  <a:cubicBezTo>
                    <a:pt x="290" y="194"/>
                    <a:pt x="290" y="194"/>
                    <a:pt x="290" y="194"/>
                  </a:cubicBezTo>
                  <a:cubicBezTo>
                    <a:pt x="290" y="194"/>
                    <a:pt x="290" y="194"/>
                    <a:pt x="290" y="194"/>
                  </a:cubicBezTo>
                  <a:cubicBezTo>
                    <a:pt x="290" y="195"/>
                    <a:pt x="289" y="197"/>
                    <a:pt x="288" y="197"/>
                  </a:cubicBezTo>
                  <a:cubicBezTo>
                    <a:pt x="288" y="197"/>
                    <a:pt x="288" y="197"/>
                    <a:pt x="288" y="197"/>
                  </a:cubicBezTo>
                  <a:cubicBezTo>
                    <a:pt x="286" y="197"/>
                    <a:pt x="285" y="196"/>
                    <a:pt x="285" y="194"/>
                  </a:cubicBezTo>
                  <a:cubicBezTo>
                    <a:pt x="281" y="180"/>
                    <a:pt x="281" y="180"/>
                    <a:pt x="281" y="180"/>
                  </a:cubicBezTo>
                  <a:cubicBezTo>
                    <a:pt x="277" y="180"/>
                    <a:pt x="274" y="180"/>
                    <a:pt x="270" y="180"/>
                  </a:cubicBezTo>
                  <a:cubicBezTo>
                    <a:pt x="264" y="192"/>
                    <a:pt x="264" y="192"/>
                    <a:pt x="264" y="192"/>
                  </a:cubicBezTo>
                  <a:cubicBezTo>
                    <a:pt x="264" y="194"/>
                    <a:pt x="262" y="195"/>
                    <a:pt x="261" y="194"/>
                  </a:cubicBezTo>
                  <a:cubicBezTo>
                    <a:pt x="259" y="194"/>
                    <a:pt x="258" y="193"/>
                    <a:pt x="258" y="192"/>
                  </a:cubicBezTo>
                  <a:cubicBezTo>
                    <a:pt x="258" y="191"/>
                    <a:pt x="258" y="191"/>
                    <a:pt x="259" y="191"/>
                  </a:cubicBezTo>
                  <a:cubicBezTo>
                    <a:pt x="259" y="177"/>
                    <a:pt x="259" y="177"/>
                    <a:pt x="259" y="177"/>
                  </a:cubicBezTo>
                  <a:cubicBezTo>
                    <a:pt x="255" y="176"/>
                    <a:pt x="252" y="174"/>
                    <a:pt x="249" y="173"/>
                  </a:cubicBezTo>
                  <a:cubicBezTo>
                    <a:pt x="239" y="183"/>
                    <a:pt x="239" y="183"/>
                    <a:pt x="239" y="183"/>
                  </a:cubicBezTo>
                  <a:cubicBezTo>
                    <a:pt x="238" y="184"/>
                    <a:pt x="237" y="185"/>
                    <a:pt x="235" y="184"/>
                  </a:cubicBezTo>
                  <a:cubicBezTo>
                    <a:pt x="235" y="183"/>
                    <a:pt x="234" y="182"/>
                    <a:pt x="234" y="181"/>
                  </a:cubicBezTo>
                  <a:cubicBezTo>
                    <a:pt x="234" y="181"/>
                    <a:pt x="234" y="180"/>
                    <a:pt x="235" y="180"/>
                  </a:cubicBezTo>
                  <a:cubicBezTo>
                    <a:pt x="239" y="166"/>
                    <a:pt x="239" y="166"/>
                    <a:pt x="239" y="166"/>
                  </a:cubicBezTo>
                  <a:cubicBezTo>
                    <a:pt x="236" y="164"/>
                    <a:pt x="234" y="162"/>
                    <a:pt x="231" y="160"/>
                  </a:cubicBezTo>
                  <a:cubicBezTo>
                    <a:pt x="219" y="166"/>
                    <a:pt x="219" y="166"/>
                    <a:pt x="219" y="166"/>
                  </a:cubicBezTo>
                  <a:cubicBezTo>
                    <a:pt x="218" y="167"/>
                    <a:pt x="216" y="167"/>
                    <a:pt x="215" y="166"/>
                  </a:cubicBezTo>
                  <a:cubicBezTo>
                    <a:pt x="214" y="165"/>
                    <a:pt x="214" y="165"/>
                    <a:pt x="214" y="164"/>
                  </a:cubicBezTo>
                  <a:cubicBezTo>
                    <a:pt x="214" y="163"/>
                    <a:pt x="214" y="163"/>
                    <a:pt x="215" y="162"/>
                  </a:cubicBezTo>
                  <a:cubicBezTo>
                    <a:pt x="224" y="151"/>
                    <a:pt x="224" y="151"/>
                    <a:pt x="224" y="151"/>
                  </a:cubicBezTo>
                  <a:cubicBezTo>
                    <a:pt x="222" y="148"/>
                    <a:pt x="220" y="145"/>
                    <a:pt x="218" y="142"/>
                  </a:cubicBezTo>
                  <a:cubicBezTo>
                    <a:pt x="204" y="144"/>
                    <a:pt x="204" y="144"/>
                    <a:pt x="204" y="144"/>
                  </a:cubicBezTo>
                  <a:cubicBezTo>
                    <a:pt x="203" y="145"/>
                    <a:pt x="201" y="144"/>
                    <a:pt x="201" y="143"/>
                  </a:cubicBezTo>
                  <a:cubicBezTo>
                    <a:pt x="201" y="142"/>
                    <a:pt x="201" y="142"/>
                    <a:pt x="201" y="141"/>
                  </a:cubicBezTo>
                  <a:cubicBezTo>
                    <a:pt x="201" y="140"/>
                    <a:pt x="201" y="139"/>
                    <a:pt x="202" y="139"/>
                  </a:cubicBezTo>
                  <a:cubicBezTo>
                    <a:pt x="214" y="131"/>
                    <a:pt x="214" y="131"/>
                    <a:pt x="214" y="131"/>
                  </a:cubicBezTo>
                  <a:cubicBezTo>
                    <a:pt x="213" y="127"/>
                    <a:pt x="212" y="124"/>
                    <a:pt x="212" y="121"/>
                  </a:cubicBezTo>
                  <a:cubicBezTo>
                    <a:pt x="198" y="119"/>
                    <a:pt x="198" y="119"/>
                    <a:pt x="198" y="119"/>
                  </a:cubicBezTo>
                  <a:cubicBezTo>
                    <a:pt x="196" y="119"/>
                    <a:pt x="195" y="118"/>
                    <a:pt x="195" y="116"/>
                  </a:cubicBezTo>
                  <a:cubicBezTo>
                    <a:pt x="195" y="116"/>
                    <a:pt x="195" y="116"/>
                    <a:pt x="195" y="116"/>
                  </a:cubicBezTo>
                  <a:cubicBezTo>
                    <a:pt x="195" y="114"/>
                    <a:pt x="196" y="113"/>
                    <a:pt x="197" y="113"/>
                  </a:cubicBezTo>
                  <a:cubicBezTo>
                    <a:pt x="211" y="109"/>
                    <a:pt x="211" y="109"/>
                    <a:pt x="211" y="109"/>
                  </a:cubicBezTo>
                  <a:cubicBezTo>
                    <a:pt x="211" y="105"/>
                    <a:pt x="211" y="102"/>
                    <a:pt x="212" y="99"/>
                  </a:cubicBezTo>
                  <a:cubicBezTo>
                    <a:pt x="199" y="92"/>
                    <a:pt x="199" y="92"/>
                    <a:pt x="199" y="92"/>
                  </a:cubicBezTo>
                  <a:cubicBezTo>
                    <a:pt x="198" y="92"/>
                    <a:pt x="197" y="91"/>
                    <a:pt x="197" y="89"/>
                  </a:cubicBezTo>
                  <a:cubicBezTo>
                    <a:pt x="197" y="89"/>
                    <a:pt x="197" y="89"/>
                    <a:pt x="197" y="89"/>
                  </a:cubicBezTo>
                  <a:cubicBezTo>
                    <a:pt x="197" y="87"/>
                    <a:pt x="199" y="86"/>
                    <a:pt x="200" y="87"/>
                  </a:cubicBezTo>
                  <a:cubicBezTo>
                    <a:pt x="215" y="87"/>
                    <a:pt x="215" y="87"/>
                    <a:pt x="215" y="87"/>
                  </a:cubicBezTo>
                  <a:cubicBezTo>
                    <a:pt x="216" y="84"/>
                    <a:pt x="217" y="81"/>
                    <a:pt x="218" y="78"/>
                  </a:cubicBezTo>
                  <a:cubicBezTo>
                    <a:pt x="208" y="68"/>
                    <a:pt x="208" y="68"/>
                    <a:pt x="208" y="68"/>
                  </a:cubicBezTo>
                  <a:cubicBezTo>
                    <a:pt x="208" y="67"/>
                    <a:pt x="207" y="66"/>
                    <a:pt x="207" y="65"/>
                  </a:cubicBezTo>
                  <a:cubicBezTo>
                    <a:pt x="207" y="65"/>
                    <a:pt x="207" y="64"/>
                    <a:pt x="207" y="64"/>
                  </a:cubicBezTo>
                  <a:cubicBezTo>
                    <a:pt x="208" y="62"/>
                    <a:pt x="210" y="62"/>
                    <a:pt x="211" y="63"/>
                  </a:cubicBezTo>
                  <a:cubicBezTo>
                    <a:pt x="225" y="67"/>
                    <a:pt x="225" y="67"/>
                    <a:pt x="225" y="67"/>
                  </a:cubicBezTo>
                  <a:cubicBezTo>
                    <a:pt x="227" y="65"/>
                    <a:pt x="229" y="62"/>
                    <a:pt x="232" y="60"/>
                  </a:cubicBezTo>
                  <a:cubicBezTo>
                    <a:pt x="225" y="47"/>
                    <a:pt x="225" y="47"/>
                    <a:pt x="225" y="47"/>
                  </a:cubicBezTo>
                  <a:cubicBezTo>
                    <a:pt x="225" y="46"/>
                    <a:pt x="224" y="46"/>
                    <a:pt x="224" y="45"/>
                  </a:cubicBezTo>
                  <a:cubicBezTo>
                    <a:pt x="224" y="44"/>
                    <a:pt x="225" y="44"/>
                    <a:pt x="225" y="43"/>
                  </a:cubicBezTo>
                  <a:cubicBezTo>
                    <a:pt x="227" y="42"/>
                    <a:pt x="228" y="42"/>
                    <a:pt x="229" y="43"/>
                  </a:cubicBezTo>
                  <a:cubicBezTo>
                    <a:pt x="241" y="52"/>
                    <a:pt x="241" y="52"/>
                    <a:pt x="241" y="52"/>
                  </a:cubicBezTo>
                  <a:cubicBezTo>
                    <a:pt x="243" y="50"/>
                    <a:pt x="246" y="48"/>
                    <a:pt x="249" y="47"/>
                  </a:cubicBezTo>
                  <a:cubicBezTo>
                    <a:pt x="247" y="33"/>
                    <a:pt x="247" y="33"/>
                    <a:pt x="247" y="33"/>
                  </a:cubicBezTo>
                  <a:cubicBezTo>
                    <a:pt x="247" y="32"/>
                    <a:pt x="247" y="32"/>
                    <a:pt x="247" y="32"/>
                  </a:cubicBezTo>
                  <a:cubicBezTo>
                    <a:pt x="247" y="30"/>
                    <a:pt x="248" y="29"/>
                    <a:pt x="249" y="29"/>
                  </a:cubicBezTo>
                  <a:cubicBezTo>
                    <a:pt x="250" y="28"/>
                    <a:pt x="252" y="29"/>
                    <a:pt x="252" y="31"/>
                  </a:cubicBezTo>
                  <a:cubicBezTo>
                    <a:pt x="261" y="42"/>
                    <a:pt x="261" y="42"/>
                    <a:pt x="261" y="42"/>
                  </a:cubicBezTo>
                  <a:cubicBezTo>
                    <a:pt x="264" y="41"/>
                    <a:pt x="267" y="40"/>
                    <a:pt x="270" y="40"/>
                  </a:cubicBezTo>
                  <a:cubicBezTo>
                    <a:pt x="273" y="26"/>
                    <a:pt x="273" y="26"/>
                    <a:pt x="273" y="26"/>
                  </a:cubicBezTo>
                  <a:cubicBezTo>
                    <a:pt x="273" y="26"/>
                    <a:pt x="273" y="26"/>
                    <a:pt x="273" y="26"/>
                  </a:cubicBezTo>
                  <a:cubicBezTo>
                    <a:pt x="273" y="24"/>
                    <a:pt x="274" y="23"/>
                    <a:pt x="275" y="23"/>
                  </a:cubicBezTo>
                  <a:cubicBezTo>
                    <a:pt x="277" y="23"/>
                    <a:pt x="278" y="24"/>
                    <a:pt x="278" y="25"/>
                  </a:cubicBezTo>
                  <a:cubicBezTo>
                    <a:pt x="282" y="39"/>
                    <a:pt x="282" y="39"/>
                    <a:pt x="282" y="39"/>
                  </a:cubicBezTo>
                  <a:cubicBezTo>
                    <a:pt x="286" y="39"/>
                    <a:pt x="289" y="39"/>
                    <a:pt x="293" y="40"/>
                  </a:cubicBezTo>
                  <a:cubicBezTo>
                    <a:pt x="299" y="27"/>
                    <a:pt x="299" y="27"/>
                    <a:pt x="299" y="27"/>
                  </a:cubicBezTo>
                  <a:cubicBezTo>
                    <a:pt x="299" y="26"/>
                    <a:pt x="301" y="25"/>
                    <a:pt x="302" y="25"/>
                  </a:cubicBezTo>
                  <a:cubicBezTo>
                    <a:pt x="304" y="25"/>
                    <a:pt x="305" y="27"/>
                    <a:pt x="305" y="28"/>
                  </a:cubicBezTo>
                  <a:cubicBezTo>
                    <a:pt x="305" y="28"/>
                    <a:pt x="305" y="28"/>
                    <a:pt x="304" y="29"/>
                  </a:cubicBezTo>
                  <a:cubicBezTo>
                    <a:pt x="304" y="43"/>
                    <a:pt x="304" y="43"/>
                    <a:pt x="304" y="43"/>
                  </a:cubicBezTo>
                  <a:cubicBezTo>
                    <a:pt x="308" y="44"/>
                    <a:pt x="311" y="45"/>
                    <a:pt x="314" y="47"/>
                  </a:cubicBezTo>
                  <a:cubicBezTo>
                    <a:pt x="324" y="37"/>
                    <a:pt x="324" y="37"/>
                    <a:pt x="324" y="37"/>
                  </a:cubicBezTo>
                  <a:cubicBezTo>
                    <a:pt x="325" y="35"/>
                    <a:pt x="326" y="35"/>
                    <a:pt x="328" y="36"/>
                  </a:cubicBezTo>
                  <a:cubicBezTo>
                    <a:pt x="328" y="36"/>
                    <a:pt x="329" y="37"/>
                    <a:pt x="329" y="38"/>
                  </a:cubicBezTo>
                  <a:cubicBezTo>
                    <a:pt x="329" y="39"/>
                    <a:pt x="329" y="39"/>
                    <a:pt x="328" y="40"/>
                  </a:cubicBezTo>
                  <a:cubicBezTo>
                    <a:pt x="324" y="53"/>
                    <a:pt x="324" y="53"/>
                    <a:pt x="324" y="53"/>
                  </a:cubicBezTo>
                  <a:cubicBezTo>
                    <a:pt x="327" y="55"/>
                    <a:pt x="329" y="57"/>
                    <a:pt x="332" y="60"/>
                  </a:cubicBezTo>
                  <a:cubicBezTo>
                    <a:pt x="344" y="53"/>
                    <a:pt x="344" y="53"/>
                    <a:pt x="344" y="53"/>
                  </a:cubicBezTo>
                  <a:cubicBezTo>
                    <a:pt x="345" y="52"/>
                    <a:pt x="347" y="52"/>
                    <a:pt x="348" y="54"/>
                  </a:cubicBezTo>
                  <a:cubicBezTo>
                    <a:pt x="349" y="54"/>
                    <a:pt x="349" y="55"/>
                    <a:pt x="349" y="55"/>
                  </a:cubicBezTo>
                  <a:cubicBezTo>
                    <a:pt x="349" y="56"/>
                    <a:pt x="349" y="57"/>
                    <a:pt x="348" y="58"/>
                  </a:cubicBezTo>
                  <a:cubicBezTo>
                    <a:pt x="339" y="69"/>
                    <a:pt x="339" y="69"/>
                    <a:pt x="339" y="69"/>
                  </a:cubicBezTo>
                  <a:cubicBezTo>
                    <a:pt x="341" y="72"/>
                    <a:pt x="343" y="75"/>
                    <a:pt x="345" y="78"/>
                  </a:cubicBezTo>
                  <a:cubicBezTo>
                    <a:pt x="359" y="75"/>
                    <a:pt x="359" y="75"/>
                    <a:pt x="359" y="75"/>
                  </a:cubicBezTo>
                  <a:cubicBezTo>
                    <a:pt x="360" y="75"/>
                    <a:pt x="362" y="76"/>
                    <a:pt x="362" y="77"/>
                  </a:cubicBezTo>
                  <a:cubicBezTo>
                    <a:pt x="362" y="77"/>
                    <a:pt x="362" y="78"/>
                    <a:pt x="362" y="78"/>
                  </a:cubicBezTo>
                  <a:cubicBezTo>
                    <a:pt x="362" y="79"/>
                    <a:pt x="362" y="80"/>
                    <a:pt x="361" y="81"/>
                  </a:cubicBezTo>
                  <a:cubicBezTo>
                    <a:pt x="349" y="89"/>
                    <a:pt x="349" y="89"/>
                    <a:pt x="349" y="89"/>
                  </a:cubicBezTo>
                  <a:cubicBezTo>
                    <a:pt x="350" y="92"/>
                    <a:pt x="351" y="95"/>
                    <a:pt x="351" y="99"/>
                  </a:cubicBezTo>
                  <a:cubicBezTo>
                    <a:pt x="365" y="101"/>
                    <a:pt x="365" y="101"/>
                    <a:pt x="365" y="101"/>
                  </a:cubicBezTo>
                  <a:cubicBezTo>
                    <a:pt x="367" y="101"/>
                    <a:pt x="368" y="102"/>
                    <a:pt x="368" y="104"/>
                  </a:cubicBezTo>
                  <a:cubicBezTo>
                    <a:pt x="368" y="104"/>
                    <a:pt x="368" y="104"/>
                    <a:pt x="368" y="104"/>
                  </a:cubicBezTo>
                  <a:cubicBezTo>
                    <a:pt x="368" y="105"/>
                    <a:pt x="367" y="106"/>
                    <a:pt x="366" y="107"/>
                  </a:cubicBezTo>
                  <a:cubicBezTo>
                    <a:pt x="352" y="111"/>
                    <a:pt x="352" y="111"/>
                    <a:pt x="352" y="111"/>
                  </a:cubicBezTo>
                  <a:cubicBezTo>
                    <a:pt x="352" y="114"/>
                    <a:pt x="352" y="118"/>
                    <a:pt x="351" y="121"/>
                  </a:cubicBezTo>
                  <a:cubicBezTo>
                    <a:pt x="364" y="127"/>
                    <a:pt x="364" y="127"/>
                    <a:pt x="364" y="127"/>
                  </a:cubicBezTo>
                  <a:cubicBezTo>
                    <a:pt x="365" y="128"/>
                    <a:pt x="366" y="129"/>
                    <a:pt x="366" y="130"/>
                  </a:cubicBezTo>
                  <a:cubicBezTo>
                    <a:pt x="366" y="130"/>
                    <a:pt x="366" y="130"/>
                    <a:pt x="366" y="131"/>
                  </a:cubicBezTo>
                  <a:cubicBezTo>
                    <a:pt x="366" y="132"/>
                    <a:pt x="364" y="133"/>
                    <a:pt x="363" y="133"/>
                  </a:cubicBezTo>
                  <a:cubicBezTo>
                    <a:pt x="348" y="133"/>
                    <a:pt x="348" y="133"/>
                    <a:pt x="348" y="133"/>
                  </a:cubicBezTo>
                  <a:cubicBezTo>
                    <a:pt x="347" y="136"/>
                    <a:pt x="346" y="139"/>
                    <a:pt x="345" y="142"/>
                  </a:cubicBezTo>
                  <a:cubicBezTo>
                    <a:pt x="355" y="152"/>
                    <a:pt x="355" y="152"/>
                    <a:pt x="355" y="152"/>
                  </a:cubicBezTo>
                  <a:cubicBezTo>
                    <a:pt x="355" y="153"/>
                    <a:pt x="356" y="153"/>
                    <a:pt x="356" y="154"/>
                  </a:cubicBezTo>
                  <a:cubicBezTo>
                    <a:pt x="356" y="155"/>
                    <a:pt x="356" y="155"/>
                    <a:pt x="356" y="156"/>
                  </a:cubicBezTo>
                  <a:cubicBezTo>
                    <a:pt x="355" y="157"/>
                    <a:pt x="353" y="158"/>
                    <a:pt x="352" y="157"/>
                  </a:cubicBezTo>
                  <a:cubicBezTo>
                    <a:pt x="338" y="152"/>
                    <a:pt x="338" y="152"/>
                    <a:pt x="338" y="152"/>
                  </a:cubicBezTo>
                  <a:cubicBezTo>
                    <a:pt x="336" y="155"/>
                    <a:pt x="334" y="157"/>
                    <a:pt x="331" y="160"/>
                  </a:cubicBezTo>
                  <a:cubicBezTo>
                    <a:pt x="338" y="173"/>
                    <a:pt x="338" y="173"/>
                    <a:pt x="338" y="173"/>
                  </a:cubicBezTo>
                  <a:cubicBezTo>
                    <a:pt x="338" y="173"/>
                    <a:pt x="339" y="174"/>
                    <a:pt x="339" y="174"/>
                  </a:cubicBezTo>
                  <a:cubicBezTo>
                    <a:pt x="339" y="175"/>
                    <a:pt x="338" y="176"/>
                    <a:pt x="338" y="176"/>
                  </a:cubicBezTo>
                  <a:cubicBezTo>
                    <a:pt x="336" y="177"/>
                    <a:pt x="335" y="177"/>
                    <a:pt x="334" y="176"/>
                  </a:cubicBezTo>
                  <a:close/>
                  <a:moveTo>
                    <a:pt x="451" y="192"/>
                  </a:moveTo>
                  <a:cubicBezTo>
                    <a:pt x="442" y="195"/>
                    <a:pt x="442" y="195"/>
                    <a:pt x="442" y="195"/>
                  </a:cubicBezTo>
                  <a:cubicBezTo>
                    <a:pt x="442" y="197"/>
                    <a:pt x="442" y="200"/>
                    <a:pt x="441" y="202"/>
                  </a:cubicBezTo>
                  <a:cubicBezTo>
                    <a:pt x="450" y="206"/>
                    <a:pt x="450" y="206"/>
                    <a:pt x="450" y="206"/>
                  </a:cubicBezTo>
                  <a:cubicBezTo>
                    <a:pt x="451" y="206"/>
                    <a:pt x="451" y="207"/>
                    <a:pt x="451" y="208"/>
                  </a:cubicBezTo>
                  <a:cubicBezTo>
                    <a:pt x="451" y="208"/>
                    <a:pt x="451" y="208"/>
                    <a:pt x="451" y="208"/>
                  </a:cubicBezTo>
                  <a:cubicBezTo>
                    <a:pt x="451" y="209"/>
                    <a:pt x="450" y="210"/>
                    <a:pt x="449" y="210"/>
                  </a:cubicBezTo>
                  <a:cubicBezTo>
                    <a:pt x="439" y="210"/>
                    <a:pt x="439" y="210"/>
                    <a:pt x="439" y="210"/>
                  </a:cubicBezTo>
                  <a:cubicBezTo>
                    <a:pt x="439" y="212"/>
                    <a:pt x="438" y="214"/>
                    <a:pt x="437" y="216"/>
                  </a:cubicBezTo>
                  <a:cubicBezTo>
                    <a:pt x="444" y="223"/>
                    <a:pt x="444" y="223"/>
                    <a:pt x="444" y="223"/>
                  </a:cubicBezTo>
                  <a:cubicBezTo>
                    <a:pt x="444" y="223"/>
                    <a:pt x="444" y="224"/>
                    <a:pt x="444" y="224"/>
                  </a:cubicBezTo>
                  <a:cubicBezTo>
                    <a:pt x="444" y="225"/>
                    <a:pt x="444" y="225"/>
                    <a:pt x="444" y="225"/>
                  </a:cubicBezTo>
                  <a:cubicBezTo>
                    <a:pt x="444" y="226"/>
                    <a:pt x="443" y="226"/>
                    <a:pt x="442" y="226"/>
                  </a:cubicBezTo>
                  <a:cubicBezTo>
                    <a:pt x="433" y="223"/>
                    <a:pt x="433" y="223"/>
                    <a:pt x="433" y="223"/>
                  </a:cubicBezTo>
                  <a:cubicBezTo>
                    <a:pt x="431" y="224"/>
                    <a:pt x="430" y="226"/>
                    <a:pt x="428" y="228"/>
                  </a:cubicBezTo>
                  <a:cubicBezTo>
                    <a:pt x="433" y="236"/>
                    <a:pt x="433" y="236"/>
                    <a:pt x="433" y="236"/>
                  </a:cubicBezTo>
                  <a:cubicBezTo>
                    <a:pt x="433" y="237"/>
                    <a:pt x="433" y="237"/>
                    <a:pt x="433" y="237"/>
                  </a:cubicBezTo>
                  <a:cubicBezTo>
                    <a:pt x="433" y="238"/>
                    <a:pt x="433" y="239"/>
                    <a:pt x="432" y="239"/>
                  </a:cubicBezTo>
                  <a:cubicBezTo>
                    <a:pt x="431" y="240"/>
                    <a:pt x="430" y="239"/>
                    <a:pt x="430" y="239"/>
                  </a:cubicBezTo>
                  <a:cubicBezTo>
                    <a:pt x="422" y="233"/>
                    <a:pt x="422" y="233"/>
                    <a:pt x="422" y="233"/>
                  </a:cubicBezTo>
                  <a:cubicBezTo>
                    <a:pt x="420" y="234"/>
                    <a:pt x="418" y="235"/>
                    <a:pt x="416" y="236"/>
                  </a:cubicBezTo>
                  <a:cubicBezTo>
                    <a:pt x="418" y="246"/>
                    <a:pt x="418" y="246"/>
                    <a:pt x="418" y="246"/>
                  </a:cubicBezTo>
                  <a:cubicBezTo>
                    <a:pt x="418" y="246"/>
                    <a:pt x="418" y="246"/>
                    <a:pt x="418" y="247"/>
                  </a:cubicBezTo>
                  <a:cubicBezTo>
                    <a:pt x="418" y="247"/>
                    <a:pt x="417" y="248"/>
                    <a:pt x="417" y="248"/>
                  </a:cubicBezTo>
                  <a:cubicBezTo>
                    <a:pt x="416" y="249"/>
                    <a:pt x="415" y="248"/>
                    <a:pt x="414" y="247"/>
                  </a:cubicBezTo>
                  <a:cubicBezTo>
                    <a:pt x="409" y="239"/>
                    <a:pt x="409" y="239"/>
                    <a:pt x="409" y="239"/>
                  </a:cubicBezTo>
                  <a:cubicBezTo>
                    <a:pt x="407" y="240"/>
                    <a:pt x="404" y="241"/>
                    <a:pt x="402" y="241"/>
                  </a:cubicBezTo>
                  <a:cubicBezTo>
                    <a:pt x="401" y="250"/>
                    <a:pt x="401" y="250"/>
                    <a:pt x="401" y="250"/>
                  </a:cubicBezTo>
                  <a:cubicBezTo>
                    <a:pt x="401" y="250"/>
                    <a:pt x="401" y="251"/>
                    <a:pt x="401" y="251"/>
                  </a:cubicBezTo>
                  <a:cubicBezTo>
                    <a:pt x="401" y="252"/>
                    <a:pt x="400" y="252"/>
                    <a:pt x="399" y="252"/>
                  </a:cubicBezTo>
                  <a:cubicBezTo>
                    <a:pt x="399" y="252"/>
                    <a:pt x="399" y="252"/>
                    <a:pt x="399" y="252"/>
                  </a:cubicBezTo>
                  <a:cubicBezTo>
                    <a:pt x="398" y="252"/>
                    <a:pt x="397" y="252"/>
                    <a:pt x="397" y="251"/>
                  </a:cubicBezTo>
                  <a:cubicBezTo>
                    <a:pt x="394" y="242"/>
                    <a:pt x="394" y="242"/>
                    <a:pt x="394" y="242"/>
                  </a:cubicBezTo>
                  <a:cubicBezTo>
                    <a:pt x="392" y="242"/>
                    <a:pt x="390" y="241"/>
                    <a:pt x="387" y="241"/>
                  </a:cubicBezTo>
                  <a:cubicBezTo>
                    <a:pt x="383" y="250"/>
                    <a:pt x="383" y="250"/>
                    <a:pt x="383" y="250"/>
                  </a:cubicBezTo>
                  <a:cubicBezTo>
                    <a:pt x="383" y="251"/>
                    <a:pt x="382" y="251"/>
                    <a:pt x="381" y="251"/>
                  </a:cubicBezTo>
                  <a:cubicBezTo>
                    <a:pt x="380" y="251"/>
                    <a:pt x="379" y="250"/>
                    <a:pt x="379" y="249"/>
                  </a:cubicBezTo>
                  <a:cubicBezTo>
                    <a:pt x="379" y="249"/>
                    <a:pt x="379" y="249"/>
                    <a:pt x="379" y="249"/>
                  </a:cubicBezTo>
                  <a:cubicBezTo>
                    <a:pt x="380" y="239"/>
                    <a:pt x="380" y="239"/>
                    <a:pt x="380" y="239"/>
                  </a:cubicBezTo>
                  <a:cubicBezTo>
                    <a:pt x="377" y="238"/>
                    <a:pt x="375" y="237"/>
                    <a:pt x="373" y="236"/>
                  </a:cubicBezTo>
                  <a:cubicBezTo>
                    <a:pt x="367" y="243"/>
                    <a:pt x="367" y="243"/>
                    <a:pt x="367" y="243"/>
                  </a:cubicBezTo>
                  <a:cubicBezTo>
                    <a:pt x="366" y="244"/>
                    <a:pt x="365" y="244"/>
                    <a:pt x="364" y="244"/>
                  </a:cubicBezTo>
                  <a:cubicBezTo>
                    <a:pt x="364" y="243"/>
                    <a:pt x="363" y="243"/>
                    <a:pt x="363" y="242"/>
                  </a:cubicBezTo>
                  <a:cubicBezTo>
                    <a:pt x="363" y="242"/>
                    <a:pt x="363" y="242"/>
                    <a:pt x="364" y="241"/>
                  </a:cubicBezTo>
                  <a:cubicBezTo>
                    <a:pt x="367" y="232"/>
                    <a:pt x="367" y="232"/>
                    <a:pt x="367" y="232"/>
                  </a:cubicBezTo>
                  <a:cubicBezTo>
                    <a:pt x="365" y="231"/>
                    <a:pt x="363" y="229"/>
                    <a:pt x="361" y="228"/>
                  </a:cubicBezTo>
                  <a:cubicBezTo>
                    <a:pt x="353" y="232"/>
                    <a:pt x="353" y="232"/>
                    <a:pt x="353" y="232"/>
                  </a:cubicBezTo>
                  <a:cubicBezTo>
                    <a:pt x="352" y="233"/>
                    <a:pt x="351" y="233"/>
                    <a:pt x="350" y="232"/>
                  </a:cubicBezTo>
                  <a:cubicBezTo>
                    <a:pt x="350" y="232"/>
                    <a:pt x="350" y="231"/>
                    <a:pt x="350" y="231"/>
                  </a:cubicBezTo>
                  <a:cubicBezTo>
                    <a:pt x="350" y="230"/>
                    <a:pt x="350" y="230"/>
                    <a:pt x="351" y="229"/>
                  </a:cubicBezTo>
                  <a:cubicBezTo>
                    <a:pt x="356" y="222"/>
                    <a:pt x="356" y="222"/>
                    <a:pt x="356" y="222"/>
                  </a:cubicBezTo>
                  <a:cubicBezTo>
                    <a:pt x="355" y="220"/>
                    <a:pt x="354" y="218"/>
                    <a:pt x="353" y="216"/>
                  </a:cubicBezTo>
                  <a:cubicBezTo>
                    <a:pt x="343" y="217"/>
                    <a:pt x="343" y="217"/>
                    <a:pt x="343" y="217"/>
                  </a:cubicBezTo>
                  <a:cubicBezTo>
                    <a:pt x="342" y="218"/>
                    <a:pt x="341" y="217"/>
                    <a:pt x="341" y="216"/>
                  </a:cubicBezTo>
                  <a:cubicBezTo>
                    <a:pt x="341" y="216"/>
                    <a:pt x="341" y="216"/>
                    <a:pt x="341" y="216"/>
                  </a:cubicBezTo>
                  <a:cubicBezTo>
                    <a:pt x="341" y="215"/>
                    <a:pt x="341" y="214"/>
                    <a:pt x="342" y="214"/>
                  </a:cubicBezTo>
                  <a:cubicBezTo>
                    <a:pt x="350" y="208"/>
                    <a:pt x="350" y="208"/>
                    <a:pt x="350" y="208"/>
                  </a:cubicBezTo>
                  <a:cubicBezTo>
                    <a:pt x="349" y="206"/>
                    <a:pt x="349" y="204"/>
                    <a:pt x="348" y="202"/>
                  </a:cubicBezTo>
                  <a:cubicBezTo>
                    <a:pt x="339" y="200"/>
                    <a:pt x="339" y="200"/>
                    <a:pt x="339" y="200"/>
                  </a:cubicBezTo>
                  <a:cubicBezTo>
                    <a:pt x="338" y="200"/>
                    <a:pt x="337" y="200"/>
                    <a:pt x="337" y="199"/>
                  </a:cubicBezTo>
                  <a:cubicBezTo>
                    <a:pt x="337" y="199"/>
                    <a:pt x="337" y="198"/>
                    <a:pt x="337" y="198"/>
                  </a:cubicBezTo>
                  <a:cubicBezTo>
                    <a:pt x="337" y="197"/>
                    <a:pt x="338" y="197"/>
                    <a:pt x="339" y="197"/>
                  </a:cubicBezTo>
                  <a:cubicBezTo>
                    <a:pt x="348" y="194"/>
                    <a:pt x="348" y="194"/>
                    <a:pt x="348" y="194"/>
                  </a:cubicBezTo>
                  <a:cubicBezTo>
                    <a:pt x="348" y="191"/>
                    <a:pt x="348" y="189"/>
                    <a:pt x="348" y="187"/>
                  </a:cubicBezTo>
                  <a:cubicBezTo>
                    <a:pt x="340" y="183"/>
                    <a:pt x="340" y="183"/>
                    <a:pt x="340" y="183"/>
                  </a:cubicBezTo>
                  <a:cubicBezTo>
                    <a:pt x="339" y="182"/>
                    <a:pt x="338" y="182"/>
                    <a:pt x="338" y="181"/>
                  </a:cubicBezTo>
                  <a:cubicBezTo>
                    <a:pt x="338" y="181"/>
                    <a:pt x="338" y="181"/>
                    <a:pt x="338" y="180"/>
                  </a:cubicBezTo>
                  <a:cubicBezTo>
                    <a:pt x="339" y="179"/>
                    <a:pt x="340" y="179"/>
                    <a:pt x="341" y="179"/>
                  </a:cubicBezTo>
                  <a:cubicBezTo>
                    <a:pt x="350" y="179"/>
                    <a:pt x="350" y="179"/>
                    <a:pt x="350" y="179"/>
                  </a:cubicBezTo>
                  <a:cubicBezTo>
                    <a:pt x="351" y="177"/>
                    <a:pt x="352" y="175"/>
                    <a:pt x="353" y="173"/>
                  </a:cubicBezTo>
                  <a:cubicBezTo>
                    <a:pt x="346" y="166"/>
                    <a:pt x="346" y="166"/>
                    <a:pt x="346" y="166"/>
                  </a:cubicBezTo>
                  <a:cubicBezTo>
                    <a:pt x="346" y="166"/>
                    <a:pt x="345" y="165"/>
                    <a:pt x="345" y="165"/>
                  </a:cubicBezTo>
                  <a:cubicBezTo>
                    <a:pt x="345" y="164"/>
                    <a:pt x="345" y="164"/>
                    <a:pt x="345" y="164"/>
                  </a:cubicBezTo>
                  <a:cubicBezTo>
                    <a:pt x="346" y="163"/>
                    <a:pt x="347" y="163"/>
                    <a:pt x="348" y="163"/>
                  </a:cubicBezTo>
                  <a:cubicBezTo>
                    <a:pt x="357" y="166"/>
                    <a:pt x="357" y="166"/>
                    <a:pt x="357" y="166"/>
                  </a:cubicBezTo>
                  <a:cubicBezTo>
                    <a:pt x="358" y="164"/>
                    <a:pt x="360" y="163"/>
                    <a:pt x="361" y="161"/>
                  </a:cubicBezTo>
                  <a:cubicBezTo>
                    <a:pt x="357" y="153"/>
                    <a:pt x="357" y="153"/>
                    <a:pt x="357" y="153"/>
                  </a:cubicBezTo>
                  <a:cubicBezTo>
                    <a:pt x="357" y="152"/>
                    <a:pt x="357" y="152"/>
                    <a:pt x="357" y="151"/>
                  </a:cubicBezTo>
                  <a:cubicBezTo>
                    <a:pt x="357" y="151"/>
                    <a:pt x="357" y="150"/>
                    <a:pt x="357" y="150"/>
                  </a:cubicBezTo>
                  <a:cubicBezTo>
                    <a:pt x="358" y="149"/>
                    <a:pt x="359" y="149"/>
                    <a:pt x="360" y="150"/>
                  </a:cubicBezTo>
                  <a:cubicBezTo>
                    <a:pt x="368" y="156"/>
                    <a:pt x="368" y="156"/>
                    <a:pt x="368" y="156"/>
                  </a:cubicBezTo>
                  <a:cubicBezTo>
                    <a:pt x="369" y="155"/>
                    <a:pt x="371" y="153"/>
                    <a:pt x="373" y="152"/>
                  </a:cubicBezTo>
                  <a:cubicBezTo>
                    <a:pt x="372" y="143"/>
                    <a:pt x="372" y="143"/>
                    <a:pt x="372" y="143"/>
                  </a:cubicBezTo>
                  <a:cubicBezTo>
                    <a:pt x="372" y="143"/>
                    <a:pt x="372" y="143"/>
                    <a:pt x="372" y="142"/>
                  </a:cubicBezTo>
                  <a:cubicBezTo>
                    <a:pt x="372" y="142"/>
                    <a:pt x="372" y="141"/>
                    <a:pt x="373" y="141"/>
                  </a:cubicBezTo>
                  <a:cubicBezTo>
                    <a:pt x="374" y="140"/>
                    <a:pt x="375" y="141"/>
                    <a:pt x="375" y="142"/>
                  </a:cubicBezTo>
                  <a:cubicBezTo>
                    <a:pt x="381" y="149"/>
                    <a:pt x="381" y="149"/>
                    <a:pt x="381" y="149"/>
                  </a:cubicBezTo>
                  <a:cubicBezTo>
                    <a:pt x="383" y="149"/>
                    <a:pt x="385" y="148"/>
                    <a:pt x="387" y="148"/>
                  </a:cubicBezTo>
                  <a:cubicBezTo>
                    <a:pt x="389" y="138"/>
                    <a:pt x="389" y="138"/>
                    <a:pt x="389" y="138"/>
                  </a:cubicBezTo>
                  <a:cubicBezTo>
                    <a:pt x="389" y="138"/>
                    <a:pt x="389" y="138"/>
                    <a:pt x="389" y="138"/>
                  </a:cubicBezTo>
                  <a:cubicBezTo>
                    <a:pt x="389" y="137"/>
                    <a:pt x="390" y="136"/>
                    <a:pt x="391" y="136"/>
                  </a:cubicBezTo>
                  <a:cubicBezTo>
                    <a:pt x="392" y="136"/>
                    <a:pt x="393" y="137"/>
                    <a:pt x="393" y="138"/>
                  </a:cubicBezTo>
                  <a:cubicBezTo>
                    <a:pt x="395" y="147"/>
                    <a:pt x="395" y="147"/>
                    <a:pt x="395" y="147"/>
                  </a:cubicBezTo>
                  <a:cubicBezTo>
                    <a:pt x="398" y="147"/>
                    <a:pt x="400" y="147"/>
                    <a:pt x="402" y="148"/>
                  </a:cubicBezTo>
                  <a:cubicBezTo>
                    <a:pt x="407" y="139"/>
                    <a:pt x="407" y="139"/>
                    <a:pt x="407" y="139"/>
                  </a:cubicBezTo>
                  <a:cubicBezTo>
                    <a:pt x="407" y="138"/>
                    <a:pt x="408" y="138"/>
                    <a:pt x="409" y="138"/>
                  </a:cubicBezTo>
                  <a:cubicBezTo>
                    <a:pt x="410" y="138"/>
                    <a:pt x="410" y="139"/>
                    <a:pt x="410" y="140"/>
                  </a:cubicBezTo>
                  <a:cubicBezTo>
                    <a:pt x="410" y="140"/>
                    <a:pt x="410" y="140"/>
                    <a:pt x="410" y="140"/>
                  </a:cubicBezTo>
                  <a:cubicBezTo>
                    <a:pt x="410" y="150"/>
                    <a:pt x="410" y="150"/>
                    <a:pt x="410" y="150"/>
                  </a:cubicBezTo>
                  <a:cubicBezTo>
                    <a:pt x="412" y="150"/>
                    <a:pt x="414" y="151"/>
                    <a:pt x="416" y="152"/>
                  </a:cubicBezTo>
                  <a:cubicBezTo>
                    <a:pt x="423" y="146"/>
                    <a:pt x="423" y="146"/>
                    <a:pt x="423" y="146"/>
                  </a:cubicBezTo>
                  <a:cubicBezTo>
                    <a:pt x="424" y="145"/>
                    <a:pt x="425" y="145"/>
                    <a:pt x="426" y="145"/>
                  </a:cubicBezTo>
                  <a:cubicBezTo>
                    <a:pt x="426" y="145"/>
                    <a:pt x="426" y="146"/>
                    <a:pt x="426" y="147"/>
                  </a:cubicBezTo>
                  <a:cubicBezTo>
                    <a:pt x="426" y="147"/>
                    <a:pt x="426" y="147"/>
                    <a:pt x="426" y="148"/>
                  </a:cubicBezTo>
                  <a:cubicBezTo>
                    <a:pt x="423" y="157"/>
                    <a:pt x="423" y="157"/>
                    <a:pt x="423" y="157"/>
                  </a:cubicBezTo>
                  <a:cubicBezTo>
                    <a:pt x="425" y="158"/>
                    <a:pt x="427" y="159"/>
                    <a:pt x="428" y="161"/>
                  </a:cubicBezTo>
                  <a:cubicBezTo>
                    <a:pt x="437" y="157"/>
                    <a:pt x="437" y="157"/>
                    <a:pt x="437" y="157"/>
                  </a:cubicBezTo>
                  <a:cubicBezTo>
                    <a:pt x="437" y="156"/>
                    <a:pt x="439" y="156"/>
                    <a:pt x="439" y="157"/>
                  </a:cubicBezTo>
                  <a:cubicBezTo>
                    <a:pt x="440" y="157"/>
                    <a:pt x="440" y="158"/>
                    <a:pt x="440" y="158"/>
                  </a:cubicBezTo>
                  <a:cubicBezTo>
                    <a:pt x="440" y="159"/>
                    <a:pt x="440" y="159"/>
                    <a:pt x="439" y="160"/>
                  </a:cubicBezTo>
                  <a:cubicBezTo>
                    <a:pt x="433" y="167"/>
                    <a:pt x="433" y="167"/>
                    <a:pt x="433" y="167"/>
                  </a:cubicBezTo>
                  <a:cubicBezTo>
                    <a:pt x="435" y="169"/>
                    <a:pt x="436" y="171"/>
                    <a:pt x="437" y="173"/>
                  </a:cubicBezTo>
                  <a:cubicBezTo>
                    <a:pt x="446" y="172"/>
                    <a:pt x="446" y="172"/>
                    <a:pt x="446" y="172"/>
                  </a:cubicBezTo>
                  <a:cubicBezTo>
                    <a:pt x="447" y="171"/>
                    <a:pt x="448" y="172"/>
                    <a:pt x="449" y="173"/>
                  </a:cubicBezTo>
                  <a:cubicBezTo>
                    <a:pt x="449" y="173"/>
                    <a:pt x="449" y="173"/>
                    <a:pt x="449" y="173"/>
                  </a:cubicBezTo>
                  <a:cubicBezTo>
                    <a:pt x="449" y="174"/>
                    <a:pt x="448" y="175"/>
                    <a:pt x="448" y="175"/>
                  </a:cubicBezTo>
                  <a:cubicBezTo>
                    <a:pt x="440" y="180"/>
                    <a:pt x="440" y="180"/>
                    <a:pt x="440" y="180"/>
                  </a:cubicBezTo>
                  <a:cubicBezTo>
                    <a:pt x="441" y="183"/>
                    <a:pt x="441" y="185"/>
                    <a:pt x="441" y="187"/>
                  </a:cubicBezTo>
                  <a:cubicBezTo>
                    <a:pt x="451" y="189"/>
                    <a:pt x="451" y="189"/>
                    <a:pt x="451" y="189"/>
                  </a:cubicBezTo>
                  <a:cubicBezTo>
                    <a:pt x="452" y="188"/>
                    <a:pt x="453" y="189"/>
                    <a:pt x="453" y="190"/>
                  </a:cubicBezTo>
                  <a:cubicBezTo>
                    <a:pt x="453" y="190"/>
                    <a:pt x="453" y="190"/>
                    <a:pt x="453" y="190"/>
                  </a:cubicBezTo>
                  <a:cubicBezTo>
                    <a:pt x="453" y="191"/>
                    <a:pt x="452" y="192"/>
                    <a:pt x="451" y="19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sp>
          <p:nvSpPr>
            <p:cNvPr id="61" name="Oval 24"/>
            <p:cNvSpPr>
              <a:spLocks noChangeArrowheads="1"/>
            </p:cNvSpPr>
            <p:nvPr/>
          </p:nvSpPr>
          <p:spPr bwMode="auto">
            <a:xfrm>
              <a:off x="-1333500" y="3128963"/>
              <a:ext cx="77788" cy="79375"/>
            </a:xfrm>
            <a:prstGeom prst="ellipse">
              <a:avLst/>
            </a:prstGeom>
            <a:grpFill/>
            <a:ln w="9525">
              <a:solidFill>
                <a:schemeClr val="tx1"/>
              </a:solidFill>
              <a:round/>
            </a:ln>
          </p:spPr>
          <p:txBody>
            <a:bodyPr vert="horz" wrap="square" lIns="91440" tIns="45720" rIns="91440" bIns="45720" numCol="1" anchor="t" anchorCtr="0" compatLnSpc="1"/>
            <a:lstStyle/>
            <a:p>
              <a:endParaRPr lang="en-US"/>
            </a:p>
          </p:txBody>
        </p:sp>
        <p:sp>
          <p:nvSpPr>
            <p:cNvPr id="65" name="Freeform 25"/>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p>
          </p:txBody>
        </p:sp>
      </p:grpSp>
      <p:sp>
        <p:nvSpPr>
          <p:cNvPr id="66" name="Freeform 89"/>
          <p:cNvSpPr>
            <a:spLocks noEditPoints="1"/>
          </p:cNvSpPr>
          <p:nvPr/>
        </p:nvSpPr>
        <p:spPr bwMode="black">
          <a:xfrm>
            <a:off x="1600779" y="1944847"/>
            <a:ext cx="684731" cy="440664"/>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61735" tIns="30867" rIns="61735" bIns="30867" numCol="1" anchor="t" anchorCtr="0" compatLnSpc="1"/>
          <a:lstStyle/>
          <a:p>
            <a:endParaRPr lang="en-US" sz="1200"/>
          </a:p>
        </p:txBody>
      </p:sp>
      <p:sp>
        <p:nvSpPr>
          <p:cNvPr id="67" name="等腰三角形 66"/>
          <p:cNvSpPr/>
          <p:nvPr/>
        </p:nvSpPr>
        <p:spPr>
          <a:xfrm rot="5400000">
            <a:off x="4166956" y="790257"/>
            <a:ext cx="792185" cy="3101364"/>
          </a:xfrm>
          <a:custGeom>
            <a:avLst/>
            <a:gdLst/>
            <a:ahLst/>
            <a:cxnLst/>
            <a:rect l="l" t="t" r="r" b="b"/>
            <a:pathLst>
              <a:path w="792185" h="3101364">
                <a:moveTo>
                  <a:pt x="0" y="3101364"/>
                </a:moveTo>
                <a:lnTo>
                  <a:pt x="0" y="245938"/>
                </a:lnTo>
                <a:lnTo>
                  <a:pt x="253447" y="245938"/>
                </a:lnTo>
                <a:lnTo>
                  <a:pt x="396091" y="0"/>
                </a:lnTo>
                <a:lnTo>
                  <a:pt x="538735" y="245938"/>
                </a:lnTo>
                <a:lnTo>
                  <a:pt x="792185" y="245938"/>
                </a:lnTo>
                <a:lnTo>
                  <a:pt x="792185" y="3101364"/>
                </a:lnTo>
                <a:close/>
              </a:path>
            </a:pathLst>
          </a:custGeom>
          <a:solidFill>
            <a:schemeClr val="accent1">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sz="2000" dirty="0">
                <a:solidFill>
                  <a:schemeClr val="tx1"/>
                </a:solidFill>
                <a:latin typeface="微软雅黑" panose="020B0503020204020204" pitchFamily="34" charset="-122"/>
                <a:ea typeface="微软雅黑" panose="020B0503020204020204" pitchFamily="34" charset="-122"/>
              </a:rPr>
              <a:t>行政管理</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68" name="等腰三角形 67"/>
          <p:cNvSpPr/>
          <p:nvPr/>
        </p:nvSpPr>
        <p:spPr>
          <a:xfrm rot="5400000">
            <a:off x="4166956" y="1579075"/>
            <a:ext cx="792185" cy="3101364"/>
          </a:xfrm>
          <a:custGeom>
            <a:avLst/>
            <a:gdLst/>
            <a:ahLst/>
            <a:cxnLst/>
            <a:rect l="l" t="t" r="r" b="b"/>
            <a:pathLst>
              <a:path w="792185" h="3101364">
                <a:moveTo>
                  <a:pt x="0" y="3101364"/>
                </a:moveTo>
                <a:lnTo>
                  <a:pt x="0" y="245938"/>
                </a:lnTo>
                <a:lnTo>
                  <a:pt x="253447" y="245938"/>
                </a:lnTo>
                <a:lnTo>
                  <a:pt x="396091" y="0"/>
                </a:lnTo>
                <a:lnTo>
                  <a:pt x="538735" y="245938"/>
                </a:lnTo>
                <a:lnTo>
                  <a:pt x="792185" y="245938"/>
                </a:lnTo>
                <a:lnTo>
                  <a:pt x="792185" y="3101364"/>
                </a:lnTo>
                <a:close/>
              </a:path>
            </a:pathLst>
          </a:custGeom>
          <a:solidFill>
            <a:schemeClr val="accent5">
              <a:lumMod val="40000"/>
              <a:lumOff val="60000"/>
              <a:alpha val="80000"/>
            </a:schemeClr>
          </a:solidFill>
          <a:ln>
            <a:noFill/>
          </a:ln>
          <a:effectLst>
            <a:outerShdw blurRad="254000" algn="ctr" rotWithShape="0">
              <a:srgbClr val="53D2FF">
                <a:alpha val="80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zh-CN" altLang="en-US" sz="2000" dirty="0" smtClean="0">
                <a:solidFill>
                  <a:schemeClr val="tx1"/>
                </a:solidFill>
                <a:latin typeface="微软雅黑" panose="020B0503020204020204" pitchFamily="34" charset="-122"/>
                <a:ea typeface="微软雅黑" panose="020B0503020204020204" pitchFamily="34" charset="-122"/>
              </a:rPr>
              <a:t>财务储备</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69" name="等腰三角形 68"/>
          <p:cNvSpPr/>
          <p:nvPr/>
        </p:nvSpPr>
        <p:spPr>
          <a:xfrm rot="5400000">
            <a:off x="4172110" y="2368637"/>
            <a:ext cx="781878" cy="3101364"/>
          </a:xfrm>
          <a:custGeom>
            <a:avLst/>
            <a:gdLst/>
            <a:ahLst/>
            <a:cxnLst/>
            <a:rect l="l" t="t" r="r" b="b"/>
            <a:pathLst>
              <a:path w="792185" h="3101364">
                <a:moveTo>
                  <a:pt x="0" y="3101364"/>
                </a:moveTo>
                <a:lnTo>
                  <a:pt x="0" y="245938"/>
                </a:lnTo>
                <a:lnTo>
                  <a:pt x="253447" y="245938"/>
                </a:lnTo>
                <a:lnTo>
                  <a:pt x="396091" y="0"/>
                </a:lnTo>
                <a:lnTo>
                  <a:pt x="538735" y="245938"/>
                </a:lnTo>
                <a:lnTo>
                  <a:pt x="792185" y="245938"/>
                </a:lnTo>
                <a:lnTo>
                  <a:pt x="792185" y="3101364"/>
                </a:lnTo>
                <a:close/>
              </a:path>
            </a:pathLst>
          </a:custGeom>
          <a:solidFill>
            <a:schemeClr val="accent1">
              <a:lumMod val="40000"/>
              <a:lumOff val="6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zh-CN" altLang="en-US" sz="2000" dirty="0">
                <a:solidFill>
                  <a:schemeClr val="tx1"/>
                </a:solidFill>
                <a:latin typeface="微软雅黑" panose="020B0503020204020204" pitchFamily="34" charset="-122"/>
                <a:ea typeface="微软雅黑" panose="020B0503020204020204" pitchFamily="34" charset="-122"/>
              </a:rPr>
              <a:t>企划宣传</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70" name="等腰三角形 69"/>
          <p:cNvSpPr/>
          <p:nvPr/>
        </p:nvSpPr>
        <p:spPr>
          <a:xfrm rot="5400000">
            <a:off x="4166956" y="3155668"/>
            <a:ext cx="792185" cy="3101364"/>
          </a:xfrm>
          <a:custGeom>
            <a:avLst/>
            <a:gdLst/>
            <a:ahLst/>
            <a:cxnLst/>
            <a:rect l="l" t="t" r="r" b="b"/>
            <a:pathLst>
              <a:path w="792185" h="3101364">
                <a:moveTo>
                  <a:pt x="0" y="3101364"/>
                </a:moveTo>
                <a:lnTo>
                  <a:pt x="0" y="245938"/>
                </a:lnTo>
                <a:lnTo>
                  <a:pt x="253975" y="245938"/>
                </a:lnTo>
                <a:lnTo>
                  <a:pt x="396619" y="0"/>
                </a:lnTo>
                <a:lnTo>
                  <a:pt x="539263" y="245938"/>
                </a:lnTo>
                <a:lnTo>
                  <a:pt x="792185" y="245938"/>
                </a:lnTo>
                <a:lnTo>
                  <a:pt x="792185" y="3101364"/>
                </a:lnTo>
                <a:close/>
              </a:path>
            </a:pathLst>
          </a:custGeom>
          <a:solidFill>
            <a:srgbClr val="41A0D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r>
              <a:rPr lang="zh-CN" altLang="en-US" sz="2000" dirty="0" smtClean="0">
                <a:solidFill>
                  <a:schemeClr val="tx1"/>
                </a:solidFill>
                <a:latin typeface="微软雅黑" panose="020B0503020204020204" pitchFamily="34" charset="-122"/>
                <a:ea typeface="微软雅黑" panose="020B0503020204020204" pitchFamily="34" charset="-122"/>
              </a:rPr>
              <a:t>人力资源储备</a:t>
            </a:r>
            <a:endParaRPr lang="zh-CN" altLang="en-US" sz="2000" dirty="0">
              <a:solidFill>
                <a:schemeClr val="tx1"/>
              </a:solidFill>
              <a:latin typeface="微软雅黑" panose="020B0503020204020204" pitchFamily="34" charset="-122"/>
              <a:ea typeface="微软雅黑" panose="020B0503020204020204" pitchFamily="34" charset="-122"/>
            </a:endParaRPr>
          </a:p>
        </p:txBody>
      </p:sp>
      <p:sp>
        <p:nvSpPr>
          <p:cNvPr id="86" name="TextBox 85"/>
          <p:cNvSpPr txBox="1"/>
          <p:nvPr/>
        </p:nvSpPr>
        <p:spPr>
          <a:xfrm>
            <a:off x="6311230" y="1984426"/>
            <a:ext cx="3888432"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负责公司会议承接、行政后勤管理、协助完善行政体系制度等</a:t>
            </a:r>
            <a:endParaRPr lang="zh-CN" altLang="en-US" sz="1600" dirty="0">
              <a:latin typeface="微软雅黑" panose="020B0503020204020204" pitchFamily="34" charset="-122"/>
              <a:ea typeface="微软雅黑" panose="020B0503020204020204" pitchFamily="34" charset="-122"/>
            </a:endParaRPr>
          </a:p>
        </p:txBody>
      </p:sp>
      <p:sp>
        <p:nvSpPr>
          <p:cNvPr id="87" name="TextBox 86"/>
          <p:cNvSpPr txBox="1"/>
          <p:nvPr/>
        </p:nvSpPr>
        <p:spPr>
          <a:xfrm>
            <a:off x="6311230" y="2759972"/>
            <a:ext cx="3888432"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负责区域财务相关数据统计、核算、分析等相关工作。</a:t>
            </a:r>
            <a:endParaRPr lang="zh-CN" altLang="en-US" sz="1600" dirty="0">
              <a:latin typeface="微软雅黑" panose="020B0503020204020204" pitchFamily="34" charset="-122"/>
              <a:ea typeface="微软雅黑" panose="020B0503020204020204" pitchFamily="34" charset="-122"/>
            </a:endParaRPr>
          </a:p>
        </p:txBody>
      </p:sp>
      <p:sp>
        <p:nvSpPr>
          <p:cNvPr id="88" name="TextBox 87"/>
          <p:cNvSpPr txBox="1"/>
          <p:nvPr/>
        </p:nvSpPr>
        <p:spPr>
          <a:xfrm>
            <a:off x="6311230" y="3549534"/>
            <a:ext cx="3888432"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负责企业形象包装，企业文化建设，协助企业宣传设计等相关工作。</a:t>
            </a:r>
            <a:endParaRPr lang="zh-CN" altLang="en-US" sz="1600" dirty="0">
              <a:latin typeface="微软雅黑" panose="020B0503020204020204" pitchFamily="34" charset="-122"/>
              <a:ea typeface="微软雅黑" panose="020B0503020204020204" pitchFamily="34" charset="-122"/>
            </a:endParaRPr>
          </a:p>
        </p:txBody>
      </p:sp>
      <p:sp>
        <p:nvSpPr>
          <p:cNvPr id="89" name="TextBox 88"/>
          <p:cNvSpPr txBox="1"/>
          <p:nvPr/>
        </p:nvSpPr>
        <p:spPr>
          <a:xfrm>
            <a:off x="6311230" y="4346108"/>
            <a:ext cx="3888432"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协助招聘、培训、绩效考核、员工关系等相关工作。</a:t>
            </a:r>
            <a:endParaRPr lang="zh-CN" altLang="en-US" sz="1600" dirty="0">
              <a:latin typeface="微软雅黑" panose="020B0503020204020204" pitchFamily="34" charset="-122"/>
              <a:ea typeface="微软雅黑" panose="020B0503020204020204" pitchFamily="34" charset="-122"/>
            </a:endParaRPr>
          </a:p>
        </p:txBody>
      </p:sp>
      <p:sp>
        <p:nvSpPr>
          <p:cNvPr id="32" name="TextBox 31"/>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成长之约</a:t>
            </a:r>
            <a:endParaRPr lang="zh-CN" altLang="en-US" sz="2400" b="1" dirty="0" smtClean="0">
              <a:latin typeface="微软雅黑" panose="020B0503020204020204" pitchFamily="34" charset="-122"/>
              <a:ea typeface="微软雅黑" panose="020B0503020204020204" pitchFamily="34" charset="-122"/>
            </a:endParaRPr>
          </a:p>
        </p:txBody>
      </p:sp>
      <p:sp>
        <p:nvSpPr>
          <p:cNvPr id="33" name="TextBox 32"/>
          <p:cNvSpPr txBox="1"/>
          <p:nvPr/>
        </p:nvSpPr>
        <p:spPr>
          <a:xfrm>
            <a:off x="1308860" y="714356"/>
            <a:ext cx="2286016" cy="369332"/>
          </a:xfrm>
          <a:prstGeom prst="rect">
            <a:avLst/>
          </a:prstGeom>
          <a:noFill/>
        </p:spPr>
        <p:txBody>
          <a:bodyPr wrap="square" rtlCol="0" anchor="ctr">
            <a:spAutoFit/>
          </a:bodyPr>
          <a:lstStyle/>
          <a:p>
            <a:r>
              <a:rPr lang="zh-CN" altLang="en-US" b="1" dirty="0" smtClean="0">
                <a:latin typeface="微软雅黑" panose="020B0503020204020204" pitchFamily="34" charset="-122"/>
                <a:ea typeface="微软雅黑" panose="020B0503020204020204" pitchFamily="34" charset="-122"/>
              </a:rPr>
              <a:t>职能类</a:t>
            </a:r>
            <a:endParaRPr lang="zh-CN" altLang="en-US" b="1" dirty="0" smtClean="0">
              <a:latin typeface="微软雅黑" panose="020B0503020204020204" pitchFamily="34" charset="-122"/>
              <a:ea typeface="微软雅黑" panose="020B0503020204020204" pitchFamily="34" charset="-122"/>
            </a:endParaRPr>
          </a:p>
        </p:txBody>
      </p:sp>
      <p:sp>
        <p:nvSpPr>
          <p:cNvPr id="34" name="TextBox 33"/>
          <p:cNvSpPr txBox="1"/>
          <p:nvPr/>
        </p:nvSpPr>
        <p:spPr>
          <a:xfrm>
            <a:off x="10524362" y="2000240"/>
            <a:ext cx="1380299" cy="381258"/>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专业不限</a:t>
            </a:r>
            <a:endParaRPr lang="zh-CN" altLang="en-US" sz="1600" dirty="0">
              <a:latin typeface="微软雅黑" panose="020B0503020204020204" pitchFamily="34" charset="-122"/>
              <a:ea typeface="微软雅黑" panose="020B0503020204020204" pitchFamily="34" charset="-122"/>
            </a:endParaRPr>
          </a:p>
        </p:txBody>
      </p:sp>
      <p:sp>
        <p:nvSpPr>
          <p:cNvPr id="35" name="TextBox 34"/>
          <p:cNvSpPr txBox="1"/>
          <p:nvPr/>
        </p:nvSpPr>
        <p:spPr>
          <a:xfrm>
            <a:off x="10524362" y="2786058"/>
            <a:ext cx="1380299" cy="381258"/>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财务、会计</a:t>
            </a:r>
            <a:endParaRPr lang="zh-CN" altLang="en-US" sz="1600" dirty="0">
              <a:latin typeface="微软雅黑" panose="020B0503020204020204" pitchFamily="34" charset="-122"/>
              <a:ea typeface="微软雅黑" panose="020B0503020204020204" pitchFamily="34" charset="-122"/>
            </a:endParaRPr>
          </a:p>
        </p:txBody>
      </p:sp>
      <p:sp>
        <p:nvSpPr>
          <p:cNvPr id="36" name="TextBox 35"/>
          <p:cNvSpPr txBox="1"/>
          <p:nvPr/>
        </p:nvSpPr>
        <p:spPr>
          <a:xfrm>
            <a:off x="10524362" y="3571876"/>
            <a:ext cx="1380299"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新闻传播、艺术设计等</a:t>
            </a:r>
            <a:endParaRPr lang="zh-CN" altLang="en-US" sz="1600" dirty="0">
              <a:latin typeface="微软雅黑" panose="020B0503020204020204" pitchFamily="34" charset="-122"/>
              <a:ea typeface="微软雅黑" panose="020B0503020204020204" pitchFamily="34" charset="-122"/>
            </a:endParaRPr>
          </a:p>
        </p:txBody>
      </p:sp>
      <p:sp>
        <p:nvSpPr>
          <p:cNvPr id="37" name="TextBox 36"/>
          <p:cNvSpPr txBox="1"/>
          <p:nvPr/>
        </p:nvSpPr>
        <p:spPr>
          <a:xfrm>
            <a:off x="10595800" y="4429132"/>
            <a:ext cx="1380299" cy="701346"/>
          </a:xfrm>
          <a:prstGeom prst="rect">
            <a:avLst/>
          </a:prstGeom>
          <a:noFill/>
        </p:spPr>
        <p:txBody>
          <a:bodyPr wrap="square" rtlCol="0">
            <a:spAutoFit/>
          </a:bodyPr>
          <a:lstStyle/>
          <a:p>
            <a:pPr>
              <a:lnSpc>
                <a:spcPct val="130000"/>
              </a:lnSpc>
            </a:pPr>
            <a:r>
              <a:rPr lang="zh-CN" altLang="en-US" sz="1600" dirty="0" smtClean="0">
                <a:latin typeface="微软雅黑" panose="020B0503020204020204" pitchFamily="34" charset="-122"/>
                <a:ea typeface="微软雅黑" panose="020B0503020204020204" pitchFamily="34" charset="-122"/>
              </a:rPr>
              <a:t>人力资源</a:t>
            </a:r>
            <a:endParaRPr lang="en-US" altLang="zh-CN" sz="1600" dirty="0" smtClean="0">
              <a:latin typeface="微软雅黑" panose="020B0503020204020204" pitchFamily="34" charset="-122"/>
              <a:ea typeface="微软雅黑" panose="020B0503020204020204" pitchFamily="34" charset="-122"/>
            </a:endParaRPr>
          </a:p>
          <a:p>
            <a:pPr>
              <a:lnSpc>
                <a:spcPct val="130000"/>
              </a:lnSpc>
            </a:pPr>
            <a:r>
              <a:rPr lang="zh-CN" altLang="en-US" sz="1600" dirty="0" smtClean="0">
                <a:latin typeface="微软雅黑" panose="020B0503020204020204" pitchFamily="34" charset="-122"/>
                <a:ea typeface="微软雅黑" panose="020B0503020204020204" pitchFamily="34" charset="-122"/>
              </a:rPr>
              <a:t>心理学等</a:t>
            </a:r>
            <a:endParaRPr lang="zh-CN" altLang="en-US" sz="16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300" advTm="4601">
        <p14:pan dir="d"/>
      </p:transition>
    </mc:Choice>
    <mc:Fallback>
      <p:transition spd="slow" advTm="460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300"/>
                                        <p:tgtEl>
                                          <p:spTgt spid="4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42"/>
                                        </p:tgtEl>
                                        <p:attrNameLst>
                                          <p:attrName>style.visibility</p:attrName>
                                        </p:attrNameLst>
                                      </p:cBhvr>
                                      <p:to>
                                        <p:strVal val="visible"/>
                                      </p:to>
                                    </p:set>
                                    <p:animEffect transition="in" filter="wipe(left)">
                                      <p:cBhvr>
                                        <p:cTn id="10" dur="300"/>
                                        <p:tgtEl>
                                          <p:spTgt spid="42"/>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wipe(left)">
                                      <p:cBhvr>
                                        <p:cTn id="13" dur="300"/>
                                        <p:tgtEl>
                                          <p:spTgt spid="41"/>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0"/>
                                        </p:tgtEl>
                                        <p:attrNameLst>
                                          <p:attrName>style.visibility</p:attrName>
                                        </p:attrNameLst>
                                      </p:cBhvr>
                                      <p:to>
                                        <p:strVal val="visible"/>
                                      </p:to>
                                    </p:set>
                                    <p:animEffect transition="in" filter="wipe(left)">
                                      <p:cBhvr>
                                        <p:cTn id="16" dur="300"/>
                                        <p:tgtEl>
                                          <p:spTgt spid="40"/>
                                        </p:tgtEl>
                                      </p:cBhvr>
                                    </p:animEffect>
                                  </p:childTnLst>
                                </p:cTn>
                              </p:par>
                              <p:par>
                                <p:cTn id="17" presetID="22" presetClass="entr" presetSubtype="8" fill="hold" grpId="0" nodeType="withEffect">
                                  <p:stCondLst>
                                    <p:cond delay="250"/>
                                  </p:stCondLst>
                                  <p:childTnLst>
                                    <p:set>
                                      <p:cBhvr>
                                        <p:cTn id="18" dur="1" fill="hold">
                                          <p:stCondLst>
                                            <p:cond delay="0"/>
                                          </p:stCondLst>
                                        </p:cTn>
                                        <p:tgtEl>
                                          <p:spTgt spid="48"/>
                                        </p:tgtEl>
                                        <p:attrNameLst>
                                          <p:attrName>style.visibility</p:attrName>
                                        </p:attrNameLst>
                                      </p:cBhvr>
                                      <p:to>
                                        <p:strVal val="visible"/>
                                      </p:to>
                                    </p:set>
                                    <p:animEffect transition="in" filter="wipe(left)">
                                      <p:cBhvr>
                                        <p:cTn id="19" dur="500"/>
                                        <p:tgtEl>
                                          <p:spTgt spid="48"/>
                                        </p:tgtEl>
                                      </p:cBhvr>
                                    </p:animEffect>
                                  </p:childTnLst>
                                </p:cTn>
                              </p:par>
                              <p:par>
                                <p:cTn id="20" presetID="22" presetClass="entr" presetSubtype="8" fill="hold" grpId="0" nodeType="withEffect">
                                  <p:stCondLst>
                                    <p:cond delay="250"/>
                                  </p:stCondLst>
                                  <p:childTnLst>
                                    <p:set>
                                      <p:cBhvr>
                                        <p:cTn id="21" dur="1" fill="hold">
                                          <p:stCondLst>
                                            <p:cond delay="0"/>
                                          </p:stCondLst>
                                        </p:cTn>
                                        <p:tgtEl>
                                          <p:spTgt spid="49"/>
                                        </p:tgtEl>
                                        <p:attrNameLst>
                                          <p:attrName>style.visibility</p:attrName>
                                        </p:attrNameLst>
                                      </p:cBhvr>
                                      <p:to>
                                        <p:strVal val="visible"/>
                                      </p:to>
                                    </p:set>
                                    <p:animEffect transition="in" filter="wipe(left)">
                                      <p:cBhvr>
                                        <p:cTn id="22" dur="500"/>
                                        <p:tgtEl>
                                          <p:spTgt spid="49"/>
                                        </p:tgtEl>
                                      </p:cBhvr>
                                    </p:animEffect>
                                  </p:childTnLst>
                                </p:cTn>
                              </p:par>
                              <p:par>
                                <p:cTn id="23" presetID="22" presetClass="entr" presetSubtype="8" fill="hold" grpId="0" nodeType="withEffect">
                                  <p:stCondLst>
                                    <p:cond delay="250"/>
                                  </p:stCondLst>
                                  <p:childTnLst>
                                    <p:set>
                                      <p:cBhvr>
                                        <p:cTn id="24" dur="1" fill="hold">
                                          <p:stCondLst>
                                            <p:cond delay="0"/>
                                          </p:stCondLst>
                                        </p:cTn>
                                        <p:tgtEl>
                                          <p:spTgt spid="50"/>
                                        </p:tgtEl>
                                        <p:attrNameLst>
                                          <p:attrName>style.visibility</p:attrName>
                                        </p:attrNameLst>
                                      </p:cBhvr>
                                      <p:to>
                                        <p:strVal val="visible"/>
                                      </p:to>
                                    </p:set>
                                    <p:animEffect transition="in" filter="wipe(left)">
                                      <p:cBhvr>
                                        <p:cTn id="25" dur="500"/>
                                        <p:tgtEl>
                                          <p:spTgt spid="50"/>
                                        </p:tgtEl>
                                      </p:cBhvr>
                                    </p:animEffect>
                                  </p:childTnLst>
                                </p:cTn>
                              </p:par>
                              <p:par>
                                <p:cTn id="26" presetID="22" presetClass="entr" presetSubtype="8" fill="hold" grpId="0" nodeType="withEffect">
                                  <p:stCondLst>
                                    <p:cond delay="250"/>
                                  </p:stCondLst>
                                  <p:childTnLst>
                                    <p:set>
                                      <p:cBhvr>
                                        <p:cTn id="27" dur="1" fill="hold">
                                          <p:stCondLst>
                                            <p:cond delay="0"/>
                                          </p:stCondLst>
                                        </p:cTn>
                                        <p:tgtEl>
                                          <p:spTgt spid="51"/>
                                        </p:tgtEl>
                                        <p:attrNameLst>
                                          <p:attrName>style.visibility</p:attrName>
                                        </p:attrNameLst>
                                      </p:cBhvr>
                                      <p:to>
                                        <p:strVal val="visible"/>
                                      </p:to>
                                    </p:set>
                                    <p:animEffect transition="in" filter="wipe(left)">
                                      <p:cBhvr>
                                        <p:cTn id="28" dur="500"/>
                                        <p:tgtEl>
                                          <p:spTgt spid="51"/>
                                        </p:tgtEl>
                                      </p:cBhvr>
                                    </p:animEffect>
                                  </p:childTnLst>
                                </p:cTn>
                              </p:par>
                              <p:par>
                                <p:cTn id="29" presetID="22" presetClass="entr" presetSubtype="8" fill="hold" grpId="0" nodeType="withEffect">
                                  <p:stCondLst>
                                    <p:cond delay="700"/>
                                  </p:stCondLst>
                                  <p:childTnLst>
                                    <p:set>
                                      <p:cBhvr>
                                        <p:cTn id="30" dur="1" fill="hold">
                                          <p:stCondLst>
                                            <p:cond delay="0"/>
                                          </p:stCondLst>
                                        </p:cTn>
                                        <p:tgtEl>
                                          <p:spTgt spid="67"/>
                                        </p:tgtEl>
                                        <p:attrNameLst>
                                          <p:attrName>style.visibility</p:attrName>
                                        </p:attrNameLst>
                                      </p:cBhvr>
                                      <p:to>
                                        <p:strVal val="visible"/>
                                      </p:to>
                                    </p:set>
                                    <p:animEffect transition="in" filter="wipe(left)">
                                      <p:cBhvr>
                                        <p:cTn id="31" dur="500"/>
                                        <p:tgtEl>
                                          <p:spTgt spid="67"/>
                                        </p:tgtEl>
                                      </p:cBhvr>
                                    </p:animEffect>
                                  </p:childTnLst>
                                </p:cTn>
                              </p:par>
                              <p:par>
                                <p:cTn id="32" presetID="22" presetClass="entr" presetSubtype="8" fill="hold" grpId="0" nodeType="withEffect">
                                  <p:stCondLst>
                                    <p:cond delay="700"/>
                                  </p:stCondLst>
                                  <p:childTnLst>
                                    <p:set>
                                      <p:cBhvr>
                                        <p:cTn id="33" dur="1" fill="hold">
                                          <p:stCondLst>
                                            <p:cond delay="0"/>
                                          </p:stCondLst>
                                        </p:cTn>
                                        <p:tgtEl>
                                          <p:spTgt spid="68"/>
                                        </p:tgtEl>
                                        <p:attrNameLst>
                                          <p:attrName>style.visibility</p:attrName>
                                        </p:attrNameLst>
                                      </p:cBhvr>
                                      <p:to>
                                        <p:strVal val="visible"/>
                                      </p:to>
                                    </p:set>
                                    <p:animEffect transition="in" filter="wipe(left)">
                                      <p:cBhvr>
                                        <p:cTn id="34" dur="500"/>
                                        <p:tgtEl>
                                          <p:spTgt spid="68"/>
                                        </p:tgtEl>
                                      </p:cBhvr>
                                    </p:animEffect>
                                  </p:childTnLst>
                                </p:cTn>
                              </p:par>
                              <p:par>
                                <p:cTn id="35" presetID="22" presetClass="entr" presetSubtype="8" fill="hold" grpId="0" nodeType="withEffect">
                                  <p:stCondLst>
                                    <p:cond delay="700"/>
                                  </p:stCondLst>
                                  <p:childTnLst>
                                    <p:set>
                                      <p:cBhvr>
                                        <p:cTn id="36" dur="1" fill="hold">
                                          <p:stCondLst>
                                            <p:cond delay="0"/>
                                          </p:stCondLst>
                                        </p:cTn>
                                        <p:tgtEl>
                                          <p:spTgt spid="69"/>
                                        </p:tgtEl>
                                        <p:attrNameLst>
                                          <p:attrName>style.visibility</p:attrName>
                                        </p:attrNameLst>
                                      </p:cBhvr>
                                      <p:to>
                                        <p:strVal val="visible"/>
                                      </p:to>
                                    </p:set>
                                    <p:animEffect transition="in" filter="wipe(left)">
                                      <p:cBhvr>
                                        <p:cTn id="37" dur="500"/>
                                        <p:tgtEl>
                                          <p:spTgt spid="69"/>
                                        </p:tgtEl>
                                      </p:cBhvr>
                                    </p:animEffect>
                                  </p:childTnLst>
                                </p:cTn>
                              </p:par>
                              <p:par>
                                <p:cTn id="38" presetID="22" presetClass="entr" presetSubtype="8" fill="hold" grpId="0" nodeType="withEffect">
                                  <p:stCondLst>
                                    <p:cond delay="700"/>
                                  </p:stCondLst>
                                  <p:childTnLst>
                                    <p:set>
                                      <p:cBhvr>
                                        <p:cTn id="39" dur="1" fill="hold">
                                          <p:stCondLst>
                                            <p:cond delay="0"/>
                                          </p:stCondLst>
                                        </p:cTn>
                                        <p:tgtEl>
                                          <p:spTgt spid="70"/>
                                        </p:tgtEl>
                                        <p:attrNameLst>
                                          <p:attrName>style.visibility</p:attrName>
                                        </p:attrNameLst>
                                      </p:cBhvr>
                                      <p:to>
                                        <p:strVal val="visible"/>
                                      </p:to>
                                    </p:set>
                                    <p:animEffect transition="in" filter="wipe(left)">
                                      <p:cBhvr>
                                        <p:cTn id="40" dur="500"/>
                                        <p:tgtEl>
                                          <p:spTgt spid="70"/>
                                        </p:tgtEl>
                                      </p:cBhvr>
                                    </p:animEffect>
                                  </p:childTnLst>
                                </p:cTn>
                              </p:par>
                              <p:par>
                                <p:cTn id="41" presetID="10" presetClass="entr" presetSubtype="0" fill="hold" grpId="0" nodeType="withEffect">
                                  <p:stCondLst>
                                    <p:cond delay="700"/>
                                  </p:stCondLst>
                                  <p:childTnLst>
                                    <p:set>
                                      <p:cBhvr>
                                        <p:cTn id="42" dur="1" fill="hold">
                                          <p:stCondLst>
                                            <p:cond delay="0"/>
                                          </p:stCondLst>
                                        </p:cTn>
                                        <p:tgtEl>
                                          <p:spTgt spid="66"/>
                                        </p:tgtEl>
                                        <p:attrNameLst>
                                          <p:attrName>style.visibility</p:attrName>
                                        </p:attrNameLst>
                                      </p:cBhvr>
                                      <p:to>
                                        <p:strVal val="visible"/>
                                      </p:to>
                                    </p:set>
                                    <p:animEffect transition="in" filter="fade">
                                      <p:cBhvr>
                                        <p:cTn id="43" dur="500"/>
                                        <p:tgtEl>
                                          <p:spTgt spid="66"/>
                                        </p:tgtEl>
                                      </p:cBhvr>
                                    </p:animEffect>
                                  </p:childTnLst>
                                </p:cTn>
                              </p:par>
                              <p:par>
                                <p:cTn id="44" presetID="10" presetClass="entr" presetSubtype="0" fill="hold" grpId="0" nodeType="withEffect">
                                  <p:stCondLst>
                                    <p:cond delay="700"/>
                                  </p:stCondLst>
                                  <p:childTnLst>
                                    <p:set>
                                      <p:cBhvr>
                                        <p:cTn id="45" dur="1" fill="hold">
                                          <p:stCondLst>
                                            <p:cond delay="0"/>
                                          </p:stCondLst>
                                        </p:cTn>
                                        <p:tgtEl>
                                          <p:spTgt spid="52"/>
                                        </p:tgtEl>
                                        <p:attrNameLst>
                                          <p:attrName>style.visibility</p:attrName>
                                        </p:attrNameLst>
                                      </p:cBhvr>
                                      <p:to>
                                        <p:strVal val="visible"/>
                                      </p:to>
                                    </p:set>
                                    <p:animEffect transition="in" filter="fade">
                                      <p:cBhvr>
                                        <p:cTn id="46" dur="500"/>
                                        <p:tgtEl>
                                          <p:spTgt spid="52"/>
                                        </p:tgtEl>
                                      </p:cBhvr>
                                    </p:animEffect>
                                  </p:childTnLst>
                                </p:cTn>
                              </p:par>
                              <p:par>
                                <p:cTn id="47" presetID="10" presetClass="entr" presetSubtype="0" fill="hold" nodeType="withEffect">
                                  <p:stCondLst>
                                    <p:cond delay="70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par>
                                <p:cTn id="50" presetID="10" presetClass="entr" presetSubtype="0" fill="hold" nodeType="withEffect">
                                  <p:stCondLst>
                                    <p:cond delay="700"/>
                                  </p:stCondLst>
                                  <p:childTnLst>
                                    <p:set>
                                      <p:cBhvr>
                                        <p:cTn id="51" dur="1" fill="hold">
                                          <p:stCondLst>
                                            <p:cond delay="0"/>
                                          </p:stCondLst>
                                        </p:cTn>
                                        <p:tgtEl>
                                          <p:spTgt spid="2"/>
                                        </p:tgtEl>
                                        <p:attrNameLst>
                                          <p:attrName>style.visibility</p:attrName>
                                        </p:attrNameLst>
                                      </p:cBhvr>
                                      <p:to>
                                        <p:strVal val="visible"/>
                                      </p:to>
                                    </p:set>
                                    <p:animEffect transition="in" filter="fade">
                                      <p:cBhvr>
                                        <p:cTn id="52" dur="500"/>
                                        <p:tgtEl>
                                          <p:spTgt spid="2"/>
                                        </p:tgtEl>
                                      </p:cBhvr>
                                    </p:animEffect>
                                  </p:childTnLst>
                                </p:cTn>
                              </p:par>
                            </p:childTnLst>
                          </p:cTn>
                        </p:par>
                        <p:par>
                          <p:cTn id="53" fill="hold">
                            <p:stCondLst>
                              <p:cond delay="500"/>
                            </p:stCondLst>
                            <p:childTnLst>
                              <p:par>
                                <p:cTn id="54" presetID="10" presetClass="entr" presetSubtype="0" fill="hold" grpId="0" nodeType="afterEffect">
                                  <p:stCondLst>
                                    <p:cond delay="0"/>
                                  </p:stCondLst>
                                  <p:iterate type="lt">
                                    <p:tmPct val="10000"/>
                                  </p:iterate>
                                  <p:childTnLst>
                                    <p:set>
                                      <p:cBhvr>
                                        <p:cTn id="55" dur="1" fill="hold">
                                          <p:stCondLst>
                                            <p:cond delay="0"/>
                                          </p:stCondLst>
                                        </p:cTn>
                                        <p:tgtEl>
                                          <p:spTgt spid="86"/>
                                        </p:tgtEl>
                                        <p:attrNameLst>
                                          <p:attrName>style.visibility</p:attrName>
                                        </p:attrNameLst>
                                      </p:cBhvr>
                                      <p:to>
                                        <p:strVal val="visible"/>
                                      </p:to>
                                    </p:set>
                                    <p:animEffect transition="in" filter="fade">
                                      <p:cBhvr>
                                        <p:cTn id="56" dur="100"/>
                                        <p:tgtEl>
                                          <p:spTgt spid="86"/>
                                        </p:tgtEl>
                                      </p:cBhvr>
                                    </p:animEffect>
                                  </p:childTnLst>
                                </p:cTn>
                              </p:par>
                            </p:childTnLst>
                          </p:cTn>
                        </p:par>
                        <p:par>
                          <p:cTn id="57" fill="hold">
                            <p:stCondLst>
                              <p:cond delay="360"/>
                            </p:stCondLst>
                            <p:childTnLst>
                              <p:par>
                                <p:cTn id="58" presetID="10" presetClass="entr" presetSubtype="0" fill="hold" grpId="0" nodeType="afterEffect">
                                  <p:stCondLst>
                                    <p:cond delay="0"/>
                                  </p:stCondLst>
                                  <p:iterate type="lt">
                                    <p:tmPct val="10000"/>
                                  </p:iterate>
                                  <p:childTnLst>
                                    <p:set>
                                      <p:cBhvr>
                                        <p:cTn id="59" dur="1" fill="hold">
                                          <p:stCondLst>
                                            <p:cond delay="0"/>
                                          </p:stCondLst>
                                        </p:cTn>
                                        <p:tgtEl>
                                          <p:spTgt spid="87"/>
                                        </p:tgtEl>
                                        <p:attrNameLst>
                                          <p:attrName>style.visibility</p:attrName>
                                        </p:attrNameLst>
                                      </p:cBhvr>
                                      <p:to>
                                        <p:strVal val="visible"/>
                                      </p:to>
                                    </p:set>
                                    <p:animEffect transition="in" filter="fade">
                                      <p:cBhvr>
                                        <p:cTn id="60" dur="100"/>
                                        <p:tgtEl>
                                          <p:spTgt spid="87"/>
                                        </p:tgtEl>
                                      </p:cBhvr>
                                    </p:animEffect>
                                  </p:childTnLst>
                                </p:cTn>
                              </p:par>
                            </p:childTnLst>
                          </p:cTn>
                        </p:par>
                        <p:par>
                          <p:cTn id="61" fill="hold">
                            <p:stCondLst>
                              <p:cond delay="690"/>
                            </p:stCondLst>
                            <p:childTnLst>
                              <p:par>
                                <p:cTn id="62" presetID="10" presetClass="entr" presetSubtype="0" fill="hold" grpId="0" nodeType="afterEffect">
                                  <p:stCondLst>
                                    <p:cond delay="0"/>
                                  </p:stCondLst>
                                  <p:iterate type="lt">
                                    <p:tmPct val="10000"/>
                                  </p:iterate>
                                  <p:childTnLst>
                                    <p:set>
                                      <p:cBhvr>
                                        <p:cTn id="63" dur="1" fill="hold">
                                          <p:stCondLst>
                                            <p:cond delay="0"/>
                                          </p:stCondLst>
                                        </p:cTn>
                                        <p:tgtEl>
                                          <p:spTgt spid="88"/>
                                        </p:tgtEl>
                                        <p:attrNameLst>
                                          <p:attrName>style.visibility</p:attrName>
                                        </p:attrNameLst>
                                      </p:cBhvr>
                                      <p:to>
                                        <p:strVal val="visible"/>
                                      </p:to>
                                    </p:set>
                                    <p:animEffect transition="in" filter="fade">
                                      <p:cBhvr>
                                        <p:cTn id="64" dur="100"/>
                                        <p:tgtEl>
                                          <p:spTgt spid="88"/>
                                        </p:tgtEl>
                                      </p:cBhvr>
                                    </p:animEffect>
                                  </p:childTnLst>
                                </p:cTn>
                              </p:par>
                            </p:childTnLst>
                          </p:cTn>
                        </p:par>
                        <p:par>
                          <p:cTn id="65" fill="hold">
                            <p:stCondLst>
                              <p:cond delay="1080"/>
                            </p:stCondLst>
                            <p:childTnLst>
                              <p:par>
                                <p:cTn id="66" presetID="10" presetClass="entr" presetSubtype="0" fill="hold" grpId="0" nodeType="afterEffect">
                                  <p:stCondLst>
                                    <p:cond delay="0"/>
                                  </p:stCondLst>
                                  <p:iterate type="lt">
                                    <p:tmPct val="10000"/>
                                  </p:iterate>
                                  <p:childTnLst>
                                    <p:set>
                                      <p:cBhvr>
                                        <p:cTn id="67" dur="1" fill="hold">
                                          <p:stCondLst>
                                            <p:cond delay="0"/>
                                          </p:stCondLst>
                                        </p:cTn>
                                        <p:tgtEl>
                                          <p:spTgt spid="89"/>
                                        </p:tgtEl>
                                        <p:attrNameLst>
                                          <p:attrName>style.visibility</p:attrName>
                                        </p:attrNameLst>
                                      </p:cBhvr>
                                      <p:to>
                                        <p:strVal val="visible"/>
                                      </p:to>
                                    </p:set>
                                    <p:animEffect transition="in" filter="fade">
                                      <p:cBhvr>
                                        <p:cTn id="68" dur="100"/>
                                        <p:tgtEl>
                                          <p:spTgt spid="89"/>
                                        </p:tgtEl>
                                      </p:cBhvr>
                                    </p:animEffect>
                                  </p:childTnLst>
                                </p:cTn>
                              </p:par>
                            </p:childTnLst>
                          </p:cTn>
                        </p:par>
                        <p:par>
                          <p:cTn id="69" fill="hold">
                            <p:stCondLst>
                              <p:cond delay="1400"/>
                            </p:stCondLst>
                            <p:childTnLst>
                              <p:par>
                                <p:cTn id="70" presetID="10" presetClass="entr" presetSubtype="0" fill="hold" grpId="0" nodeType="afterEffect">
                                  <p:stCondLst>
                                    <p:cond delay="0"/>
                                  </p:stCondLst>
                                  <p:iterate type="lt">
                                    <p:tmPct val="10000"/>
                                  </p:iterate>
                                  <p:childTnLst>
                                    <p:set>
                                      <p:cBhvr>
                                        <p:cTn id="71" dur="1" fill="hold">
                                          <p:stCondLst>
                                            <p:cond delay="0"/>
                                          </p:stCondLst>
                                        </p:cTn>
                                        <p:tgtEl>
                                          <p:spTgt spid="34"/>
                                        </p:tgtEl>
                                        <p:attrNameLst>
                                          <p:attrName>style.visibility</p:attrName>
                                        </p:attrNameLst>
                                      </p:cBhvr>
                                      <p:to>
                                        <p:strVal val="visible"/>
                                      </p:to>
                                    </p:set>
                                    <p:animEffect transition="in" filter="fade">
                                      <p:cBhvr>
                                        <p:cTn id="72" dur="100"/>
                                        <p:tgtEl>
                                          <p:spTgt spid="34"/>
                                        </p:tgtEl>
                                      </p:cBhvr>
                                    </p:animEffect>
                                  </p:childTnLst>
                                </p:cTn>
                              </p:par>
                            </p:childTnLst>
                          </p:cTn>
                        </p:par>
                        <p:par>
                          <p:cTn id="73" fill="hold">
                            <p:stCondLst>
                              <p:cond delay="1530"/>
                            </p:stCondLst>
                            <p:childTnLst>
                              <p:par>
                                <p:cTn id="74" presetID="10" presetClass="entr" presetSubtype="0" fill="hold" grpId="0" nodeType="afterEffect">
                                  <p:stCondLst>
                                    <p:cond delay="0"/>
                                  </p:stCondLst>
                                  <p:iterate type="lt">
                                    <p:tmPct val="10000"/>
                                  </p:iterate>
                                  <p:childTnLst>
                                    <p:set>
                                      <p:cBhvr>
                                        <p:cTn id="75" dur="1" fill="hold">
                                          <p:stCondLst>
                                            <p:cond delay="0"/>
                                          </p:stCondLst>
                                        </p:cTn>
                                        <p:tgtEl>
                                          <p:spTgt spid="35"/>
                                        </p:tgtEl>
                                        <p:attrNameLst>
                                          <p:attrName>style.visibility</p:attrName>
                                        </p:attrNameLst>
                                      </p:cBhvr>
                                      <p:to>
                                        <p:strVal val="visible"/>
                                      </p:to>
                                    </p:set>
                                    <p:animEffect transition="in" filter="fade">
                                      <p:cBhvr>
                                        <p:cTn id="76" dur="100"/>
                                        <p:tgtEl>
                                          <p:spTgt spid="35"/>
                                        </p:tgtEl>
                                      </p:cBhvr>
                                    </p:animEffect>
                                  </p:childTnLst>
                                </p:cTn>
                              </p:par>
                            </p:childTnLst>
                          </p:cTn>
                        </p:par>
                        <p:par>
                          <p:cTn id="77" fill="hold">
                            <p:stCondLst>
                              <p:cond delay="1670"/>
                            </p:stCondLst>
                            <p:childTnLst>
                              <p:par>
                                <p:cTn id="78" presetID="10" presetClass="entr" presetSubtype="0" fill="hold" grpId="0" nodeType="afterEffect">
                                  <p:stCondLst>
                                    <p:cond delay="0"/>
                                  </p:stCondLst>
                                  <p:iterate type="lt">
                                    <p:tmPct val="10000"/>
                                  </p:iterate>
                                  <p:childTnLst>
                                    <p:set>
                                      <p:cBhvr>
                                        <p:cTn id="79" dur="1" fill="hold">
                                          <p:stCondLst>
                                            <p:cond delay="0"/>
                                          </p:stCondLst>
                                        </p:cTn>
                                        <p:tgtEl>
                                          <p:spTgt spid="36"/>
                                        </p:tgtEl>
                                        <p:attrNameLst>
                                          <p:attrName>style.visibility</p:attrName>
                                        </p:attrNameLst>
                                      </p:cBhvr>
                                      <p:to>
                                        <p:strVal val="visible"/>
                                      </p:to>
                                    </p:set>
                                    <p:animEffect transition="in" filter="fade">
                                      <p:cBhvr>
                                        <p:cTn id="80" dur="100"/>
                                        <p:tgtEl>
                                          <p:spTgt spid="36"/>
                                        </p:tgtEl>
                                      </p:cBhvr>
                                    </p:animEffect>
                                  </p:childTnLst>
                                </p:cTn>
                              </p:par>
                            </p:childTnLst>
                          </p:cTn>
                        </p:par>
                        <p:par>
                          <p:cTn id="81" fill="hold">
                            <p:stCondLst>
                              <p:cond delay="1860"/>
                            </p:stCondLst>
                            <p:childTnLst>
                              <p:par>
                                <p:cTn id="82" presetID="10" presetClass="entr" presetSubtype="0" fill="hold" grpId="0" nodeType="afterEffect">
                                  <p:stCondLst>
                                    <p:cond delay="0"/>
                                  </p:stCondLst>
                                  <p:iterate type="lt">
                                    <p:tmPct val="10000"/>
                                  </p:iterate>
                                  <p:childTnLst>
                                    <p:set>
                                      <p:cBhvr>
                                        <p:cTn id="83" dur="1" fill="hold">
                                          <p:stCondLst>
                                            <p:cond delay="0"/>
                                          </p:stCondLst>
                                        </p:cTn>
                                        <p:tgtEl>
                                          <p:spTgt spid="37"/>
                                        </p:tgtEl>
                                        <p:attrNameLst>
                                          <p:attrName>style.visibility</p:attrName>
                                        </p:attrNameLst>
                                      </p:cBhvr>
                                      <p:to>
                                        <p:strVal val="visible"/>
                                      </p:to>
                                    </p:set>
                                    <p:animEffect transition="in" filter="fade">
                                      <p:cBhvr>
                                        <p:cTn id="84" dur="1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bldLvl="0" animBg="1"/>
      <p:bldP spid="41" grpId="0" bldLvl="0" animBg="1"/>
      <p:bldP spid="42" grpId="0" bldLvl="0" animBg="1"/>
      <p:bldP spid="43" grpId="0" bldLvl="0" animBg="1"/>
      <p:bldP spid="48" grpId="0" bldLvl="0" animBg="1"/>
      <p:bldP spid="49" grpId="0" bldLvl="0" animBg="1"/>
      <p:bldP spid="50" grpId="0" bldLvl="0" animBg="1"/>
      <p:bldP spid="51" grpId="0" bldLvl="0" animBg="1"/>
      <p:bldP spid="52" grpId="0" bldLvl="0" animBg="1"/>
      <p:bldP spid="66" grpId="0" bldLvl="0" animBg="1"/>
      <p:bldP spid="67" grpId="0" bldLvl="0" animBg="1"/>
      <p:bldP spid="68" grpId="0" bldLvl="0" animBg="1"/>
      <p:bldP spid="69" grpId="0" bldLvl="0" animBg="1"/>
      <p:bldP spid="70" grpId="0" bldLvl="0" animBg="1"/>
      <p:bldP spid="86" grpId="0"/>
      <p:bldP spid="87" grpId="0"/>
      <p:bldP spid="88" grpId="0"/>
      <p:bldP spid="89" grpId="0"/>
      <p:bldP spid="34" grpId="0"/>
      <p:bldP spid="35" grpId="0"/>
      <p:bldP spid="36" grpId="0"/>
      <p:bldP spid="37"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6"/>
          <p:cNvGrpSpPr/>
          <p:nvPr/>
        </p:nvGrpSpPr>
        <p:grpSpPr>
          <a:xfrm>
            <a:off x="0" y="-1"/>
            <a:ext cx="1443043" cy="6858001"/>
            <a:chOff x="0" y="-1"/>
            <a:chExt cx="1443043" cy="6858001"/>
          </a:xfrm>
        </p:grpSpPr>
        <p:sp>
          <p:nvSpPr>
            <p:cNvPr id="3" name="任意多边形 2"/>
            <p:cNvSpPr/>
            <p:nvPr/>
          </p:nvSpPr>
          <p:spPr>
            <a:xfrm rot="16200000" flipV="1">
              <a:off x="-2408598" y="2408598"/>
              <a:ext cx="6260239" cy="1443042"/>
            </a:xfrm>
            <a:custGeom>
              <a:avLst/>
              <a:gdLst>
                <a:gd name="connsiteX0" fmla="*/ 6260239 w 6260239"/>
                <a:gd name="connsiteY0" fmla="*/ 1443042 h 1443042"/>
                <a:gd name="connsiteX1" fmla="*/ 6260239 w 6260239"/>
                <a:gd name="connsiteY1" fmla="*/ 1370077 h 1443042"/>
                <a:gd name="connsiteX2" fmla="*/ 3239468 w 6260239"/>
                <a:gd name="connsiteY2" fmla="*/ 0 h 1443042"/>
                <a:gd name="connsiteX3" fmla="*/ 0 w 6260239"/>
                <a:gd name="connsiteY3" fmla="*/ 1443042 h 1443042"/>
              </a:gdLst>
              <a:ahLst/>
              <a:cxnLst>
                <a:cxn ang="0">
                  <a:pos x="connsiteX0" y="connsiteY0"/>
                </a:cxn>
                <a:cxn ang="0">
                  <a:pos x="connsiteX1" y="connsiteY1"/>
                </a:cxn>
                <a:cxn ang="0">
                  <a:pos x="connsiteX2" y="connsiteY2"/>
                </a:cxn>
                <a:cxn ang="0">
                  <a:pos x="connsiteX3" y="connsiteY3"/>
                </a:cxn>
              </a:cxnLst>
              <a:rect l="l" t="t" r="r" b="b"/>
              <a:pathLst>
                <a:path w="6260239" h="1443042">
                  <a:moveTo>
                    <a:pt x="6260239" y="1443042"/>
                  </a:moveTo>
                  <a:lnTo>
                    <a:pt x="6260239" y="1370077"/>
                  </a:lnTo>
                  <a:lnTo>
                    <a:pt x="3239468" y="0"/>
                  </a:lnTo>
                  <a:lnTo>
                    <a:pt x="0" y="1443042"/>
                  </a:lnTo>
                  <a:close/>
                </a:path>
              </a:pathLst>
            </a:cu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任意多边形 1"/>
            <p:cNvSpPr/>
            <p:nvPr/>
          </p:nvSpPr>
          <p:spPr>
            <a:xfrm rot="16200000" flipV="1">
              <a:off x="-2476738" y="2938220"/>
              <a:ext cx="6396518" cy="1443041"/>
            </a:xfrm>
            <a:custGeom>
              <a:avLst/>
              <a:gdLst>
                <a:gd name="connsiteX0" fmla="*/ 6396518 w 6396518"/>
                <a:gd name="connsiteY0" fmla="*/ 1443041 h 1443041"/>
                <a:gd name="connsiteX1" fmla="*/ 3214875 w 6396518"/>
                <a:gd name="connsiteY1" fmla="*/ 0 h 1443041"/>
                <a:gd name="connsiteX2" fmla="*/ 0 w 6396518"/>
                <a:gd name="connsiteY2" fmla="*/ 1432086 h 1443041"/>
                <a:gd name="connsiteX3" fmla="*/ 0 w 6396518"/>
                <a:gd name="connsiteY3" fmla="*/ 1443041 h 1443041"/>
              </a:gdLst>
              <a:ahLst/>
              <a:cxnLst>
                <a:cxn ang="0">
                  <a:pos x="connsiteX0" y="connsiteY0"/>
                </a:cxn>
                <a:cxn ang="0">
                  <a:pos x="connsiteX1" y="connsiteY1"/>
                </a:cxn>
                <a:cxn ang="0">
                  <a:pos x="connsiteX2" y="connsiteY2"/>
                </a:cxn>
                <a:cxn ang="0">
                  <a:pos x="connsiteX3" y="connsiteY3"/>
                </a:cxn>
              </a:cxnLst>
              <a:rect l="l" t="t" r="r" b="b"/>
              <a:pathLst>
                <a:path w="6396518" h="1443041">
                  <a:moveTo>
                    <a:pt x="6396518" y="1443041"/>
                  </a:moveTo>
                  <a:lnTo>
                    <a:pt x="3214875" y="0"/>
                  </a:lnTo>
                  <a:lnTo>
                    <a:pt x="0" y="1432086"/>
                  </a:lnTo>
                  <a:lnTo>
                    <a:pt x="0" y="1443041"/>
                  </a:lnTo>
                  <a:close/>
                </a:path>
              </a:pathLst>
            </a:cu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 name="TextBox 4"/>
          <p:cNvSpPr txBox="1"/>
          <p:nvPr/>
        </p:nvSpPr>
        <p:spPr>
          <a:xfrm>
            <a:off x="1666050" y="2000240"/>
            <a:ext cx="8715436" cy="369332"/>
          </a:xfrm>
          <a:prstGeom prst="rect">
            <a:avLst/>
          </a:prstGeom>
          <a:noFill/>
        </p:spPr>
        <p:txBody>
          <a:bodyPr wrap="square" rtlCol="0" anchor="ctr">
            <a:spAutoFit/>
          </a:bodyPr>
          <a:lstStyle/>
          <a:p>
            <a:endParaRPr lang="zh-CN" altLang="en-US" dirty="0" smtClean="0">
              <a:latin typeface="微软雅黑" panose="020B0503020204020204" pitchFamily="34" charset="-122"/>
              <a:ea typeface="微软雅黑" panose="020B0503020204020204" pitchFamily="34" charset="-122"/>
            </a:endParaRPr>
          </a:p>
        </p:txBody>
      </p:sp>
      <p:sp>
        <p:nvSpPr>
          <p:cNvPr id="6" name="矩形 5"/>
          <p:cNvSpPr/>
          <p:nvPr/>
        </p:nvSpPr>
        <p:spPr>
          <a:xfrm>
            <a:off x="3594876" y="2285992"/>
            <a:ext cx="6429420" cy="2185214"/>
          </a:xfrm>
          <a:prstGeom prst="rect">
            <a:avLst/>
          </a:prstGeom>
        </p:spPr>
        <p:txBody>
          <a:bodyPr wrap="square">
            <a:spAutoFit/>
          </a:bodyPr>
          <a:lstStyle/>
          <a:p>
            <a:pPr lvl="0"/>
            <a:r>
              <a:rPr lang="en-US" altLang="x-none" sz="4800" dirty="0" smtClean="0">
                <a:latin typeface="微软雅黑" panose="020B0503020204020204" pitchFamily="34" charset="-122"/>
                <a:ea typeface="微软雅黑" panose="020B0503020204020204" pitchFamily="34" charset="-122"/>
              </a:rPr>
              <a:t>CHAPTER  </a:t>
            </a:r>
            <a:r>
              <a:rPr lang="en-US" altLang="zh-CN" sz="4800" dirty="0" smtClean="0">
                <a:latin typeface="微软雅黑" panose="020B0503020204020204" pitchFamily="34" charset="-122"/>
                <a:ea typeface="微软雅黑" panose="020B0503020204020204" pitchFamily="34" charset="-122"/>
              </a:rPr>
              <a:t>FIVE</a:t>
            </a:r>
            <a:endParaRPr lang="en-US" altLang="x-none" sz="4800" dirty="0" smtClean="0">
              <a:latin typeface="微软雅黑" panose="020B0503020204020204" pitchFamily="34" charset="-122"/>
              <a:ea typeface="微软雅黑" panose="020B0503020204020204" pitchFamily="34" charset="-122"/>
            </a:endParaRPr>
          </a:p>
          <a:p>
            <a:pPr lvl="0"/>
            <a:endParaRPr lang="en-US" altLang="zh-CN" sz="4800" b="1" dirty="0" smtClean="0">
              <a:latin typeface="微软雅黑" panose="020B0503020204020204" pitchFamily="34" charset="-122"/>
              <a:ea typeface="微软雅黑" panose="020B0503020204020204" pitchFamily="34" charset="-122"/>
            </a:endParaRPr>
          </a:p>
          <a:p>
            <a:pPr lvl="0"/>
            <a:r>
              <a:rPr lang="zh-CN" altLang="en-US" sz="4000" dirty="0" smtClean="0">
                <a:latin typeface="Segoe UI Light" panose="020B0502040204020203" pitchFamily="2" charset="0"/>
                <a:ea typeface="微软雅黑" panose="020B0503020204020204" pitchFamily="34" charset="-122"/>
              </a:rPr>
              <a:t> 招聘流程</a:t>
            </a:r>
            <a:endParaRPr lang="zh-CN" altLang="en-US" sz="4000" dirty="0">
              <a:latin typeface="Segoe UI Light" panose="020B0502040204020203" pitchFamily="2" charset="0"/>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10" advClick="0" advTm="3178"/>
    </mc:Choice>
    <mc:Fallback>
      <p:transition advClick="0" advTm="31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grpSp>
        <p:nvGrpSpPr>
          <p:cNvPr id="28" name="组合 27"/>
          <p:cNvGrpSpPr/>
          <p:nvPr/>
        </p:nvGrpSpPr>
        <p:grpSpPr>
          <a:xfrm>
            <a:off x="1737488" y="1785926"/>
            <a:ext cx="8786874" cy="785818"/>
            <a:chOff x="2094679" y="1857364"/>
            <a:chExt cx="8429683" cy="504056"/>
          </a:xfrm>
          <a:gradFill>
            <a:gsLst>
              <a:gs pos="0">
                <a:schemeClr val="accent5">
                  <a:lumMod val="20000"/>
                  <a:lumOff val="80000"/>
                </a:schemeClr>
              </a:gs>
              <a:gs pos="50000">
                <a:schemeClr val="accent1">
                  <a:tint val="44500"/>
                  <a:satMod val="160000"/>
                </a:schemeClr>
              </a:gs>
              <a:gs pos="100000">
                <a:schemeClr val="accent1">
                  <a:tint val="23500"/>
                  <a:satMod val="160000"/>
                </a:schemeClr>
              </a:gs>
            </a:gsLst>
            <a:lin ang="5400000" scaled="0"/>
          </a:gradFill>
        </p:grpSpPr>
        <p:sp>
          <p:nvSpPr>
            <p:cNvPr id="7187" name="矩形 7186"/>
            <p:cNvSpPr/>
            <p:nvPr/>
          </p:nvSpPr>
          <p:spPr>
            <a:xfrm>
              <a:off x="2094679" y="1857364"/>
              <a:ext cx="1214446" cy="5040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r>
                <a:rPr lang="zh-CN" altLang="en-US"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rPr>
                <a:t>校园宣讲</a:t>
              </a:r>
              <a:endParaRPr lang="zh-CN" altLang="en-US" sz="2000" b="1" dirty="0">
                <a:solidFill>
                  <a:schemeClr val="tx1"/>
                </a:solidFill>
                <a:latin typeface="微软雅黑" panose="020B0503020204020204" pitchFamily="34" charset="-122"/>
                <a:ea typeface="微软雅黑" panose="020B0503020204020204" pitchFamily="34" charset="-122"/>
                <a:cs typeface="UKIJ Qolyazma" panose="02020603050405020304" pitchFamily="18" charset="0"/>
              </a:endParaRPr>
            </a:p>
          </p:txBody>
        </p:sp>
        <p:sp>
          <p:nvSpPr>
            <p:cNvPr id="21" name="矩形 20"/>
            <p:cNvSpPr/>
            <p:nvPr/>
          </p:nvSpPr>
          <p:spPr>
            <a:xfrm>
              <a:off x="3523438" y="1857364"/>
              <a:ext cx="1214446" cy="5040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r>
                <a:rPr lang="zh-CN" altLang="en-US"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rPr>
                <a:t>简历筛选</a:t>
              </a:r>
              <a:endParaRPr lang="zh-CN" altLang="en-US" sz="2000" b="1" dirty="0">
                <a:solidFill>
                  <a:schemeClr val="tx1"/>
                </a:solidFill>
                <a:latin typeface="微软雅黑" panose="020B0503020204020204" pitchFamily="34" charset="-122"/>
                <a:ea typeface="微软雅黑" panose="020B0503020204020204" pitchFamily="34" charset="-122"/>
                <a:cs typeface="UKIJ Qolyazma" panose="02020603050405020304" pitchFamily="18" charset="0"/>
              </a:endParaRPr>
            </a:p>
          </p:txBody>
        </p:sp>
        <p:sp>
          <p:nvSpPr>
            <p:cNvPr id="22" name="矩形 21"/>
            <p:cNvSpPr/>
            <p:nvPr/>
          </p:nvSpPr>
          <p:spPr>
            <a:xfrm>
              <a:off x="4952198" y="1857364"/>
              <a:ext cx="1214446" cy="5040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r>
                <a:rPr lang="zh-CN" altLang="en-US"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rPr>
                <a:t>初试</a:t>
              </a:r>
              <a:endParaRPr lang="zh-CN" altLang="en-US" sz="2000" b="1" dirty="0">
                <a:solidFill>
                  <a:schemeClr val="tx1"/>
                </a:solidFill>
                <a:latin typeface="微软雅黑" panose="020B0503020204020204" pitchFamily="34" charset="-122"/>
                <a:ea typeface="微软雅黑" panose="020B0503020204020204" pitchFamily="34" charset="-122"/>
                <a:cs typeface="UKIJ Qolyazma" panose="02020603050405020304" pitchFamily="18" charset="0"/>
              </a:endParaRPr>
            </a:p>
          </p:txBody>
        </p:sp>
        <p:sp>
          <p:nvSpPr>
            <p:cNvPr id="24" name="矩形 23"/>
            <p:cNvSpPr/>
            <p:nvPr/>
          </p:nvSpPr>
          <p:spPr>
            <a:xfrm>
              <a:off x="6380958" y="1857364"/>
              <a:ext cx="1214446" cy="5040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r>
                <a:rPr lang="en-US" altLang="zh-CN"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rPr>
                <a:t>OPQ</a:t>
              </a:r>
              <a:endParaRPr lang="en-US" altLang="zh-CN"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endParaRPr>
            </a:p>
            <a:p>
              <a:pPr algn="ctr"/>
              <a:r>
                <a:rPr lang="zh-CN" altLang="en-US"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rPr>
                <a:t>测试</a:t>
              </a:r>
              <a:endParaRPr lang="zh-CN" altLang="en-US" sz="2000" b="1" dirty="0">
                <a:solidFill>
                  <a:schemeClr val="tx1"/>
                </a:solidFill>
                <a:latin typeface="微软雅黑" panose="020B0503020204020204" pitchFamily="34" charset="-122"/>
                <a:ea typeface="微软雅黑" panose="020B0503020204020204" pitchFamily="34" charset="-122"/>
                <a:cs typeface="UKIJ Qolyazma" panose="02020603050405020304" pitchFamily="18" charset="0"/>
              </a:endParaRPr>
            </a:p>
          </p:txBody>
        </p:sp>
        <p:sp>
          <p:nvSpPr>
            <p:cNvPr id="25" name="矩形 24"/>
            <p:cNvSpPr/>
            <p:nvPr/>
          </p:nvSpPr>
          <p:spPr>
            <a:xfrm>
              <a:off x="7809718" y="1857364"/>
              <a:ext cx="1214446" cy="5040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r>
                <a:rPr lang="zh-CN" altLang="en-US"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rPr>
                <a:t>复试</a:t>
              </a:r>
              <a:endParaRPr lang="zh-CN" altLang="en-US" sz="2000" b="1" dirty="0">
                <a:solidFill>
                  <a:schemeClr val="tx1"/>
                </a:solidFill>
                <a:latin typeface="微软雅黑" panose="020B0503020204020204" pitchFamily="34" charset="-122"/>
                <a:ea typeface="微软雅黑" panose="020B0503020204020204" pitchFamily="34" charset="-122"/>
                <a:cs typeface="UKIJ Qolyazma" panose="02020603050405020304" pitchFamily="18" charset="0"/>
              </a:endParaRPr>
            </a:p>
          </p:txBody>
        </p:sp>
        <p:sp>
          <p:nvSpPr>
            <p:cNvPr id="27" name="矩形 26"/>
            <p:cNvSpPr/>
            <p:nvPr/>
          </p:nvSpPr>
          <p:spPr>
            <a:xfrm>
              <a:off x="9309916" y="1857364"/>
              <a:ext cx="1214446" cy="5040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algn="ctr"/>
              <a:r>
                <a:rPr lang="zh-CN" altLang="en-US"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rPr>
                <a:t>体检</a:t>
              </a:r>
              <a:endParaRPr lang="en-US" altLang="zh-CN"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endParaRPr>
            </a:p>
            <a:p>
              <a:pPr algn="ctr"/>
              <a:r>
                <a:rPr lang="zh-CN" altLang="en-US" sz="2000" b="1" dirty="0" smtClean="0">
                  <a:solidFill>
                    <a:schemeClr val="tx1"/>
                  </a:solidFill>
                  <a:latin typeface="微软雅黑" panose="020B0503020204020204" pitchFamily="34" charset="-122"/>
                  <a:ea typeface="微软雅黑" panose="020B0503020204020204" pitchFamily="34" charset="-122"/>
                  <a:cs typeface="UKIJ Qolyazma" panose="02020603050405020304" pitchFamily="18" charset="0"/>
                </a:rPr>
                <a:t>录用</a:t>
              </a:r>
              <a:endParaRPr lang="zh-CN" altLang="en-US" sz="2000" b="1" dirty="0">
                <a:solidFill>
                  <a:schemeClr val="tx1"/>
                </a:solidFill>
                <a:latin typeface="微软雅黑" panose="020B0503020204020204" pitchFamily="34" charset="-122"/>
                <a:ea typeface="微软雅黑" panose="020B0503020204020204" pitchFamily="34" charset="-122"/>
                <a:cs typeface="UKIJ Qolyazma" panose="02020603050405020304" pitchFamily="18" charset="0"/>
              </a:endParaRPr>
            </a:p>
          </p:txBody>
        </p:sp>
      </p:grpSp>
      <p:sp>
        <p:nvSpPr>
          <p:cNvPr id="31" name="TextBox 30"/>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招聘流程</a:t>
            </a:r>
            <a:endParaRPr lang="zh-CN" altLang="en-US" sz="2400" b="1" dirty="0" smtClean="0">
              <a:latin typeface="微软雅黑" panose="020B0503020204020204" pitchFamily="34" charset="-122"/>
              <a:ea typeface="微软雅黑" panose="020B0503020204020204" pitchFamily="34" charset="-122"/>
            </a:endParaRPr>
          </a:p>
        </p:txBody>
      </p:sp>
      <p:grpSp>
        <p:nvGrpSpPr>
          <p:cNvPr id="34" name="组合 33"/>
          <p:cNvGrpSpPr/>
          <p:nvPr/>
        </p:nvGrpSpPr>
        <p:grpSpPr>
          <a:xfrm>
            <a:off x="1880364" y="3214686"/>
            <a:ext cx="8056977" cy="2294305"/>
            <a:chOff x="1860221" y="2273334"/>
            <a:chExt cx="8056977" cy="2294305"/>
          </a:xfrm>
          <a:solidFill>
            <a:schemeClr val="accent6">
              <a:lumMod val="20000"/>
              <a:lumOff val="80000"/>
            </a:schemeClr>
          </a:solidFill>
        </p:grpSpPr>
        <p:sp>
          <p:nvSpPr>
            <p:cNvPr id="35" name="Freeform 6"/>
            <p:cNvSpPr/>
            <p:nvPr/>
          </p:nvSpPr>
          <p:spPr bwMode="auto">
            <a:xfrm>
              <a:off x="1860221" y="2273334"/>
              <a:ext cx="689792" cy="2294305"/>
            </a:xfrm>
            <a:custGeom>
              <a:avLst/>
              <a:gdLst/>
              <a:ahLst/>
              <a:cxnLst/>
              <a:rect l="l" t="t" r="r" b="b"/>
              <a:pathLst>
                <a:path w="689792" h="2294305">
                  <a:moveTo>
                    <a:pt x="437721" y="335982"/>
                  </a:moveTo>
                  <a:cubicBezTo>
                    <a:pt x="437721" y="335982"/>
                    <a:pt x="479409" y="342902"/>
                    <a:pt x="486357" y="349822"/>
                  </a:cubicBezTo>
                  <a:cubicBezTo>
                    <a:pt x="500253" y="349822"/>
                    <a:pt x="534992" y="356742"/>
                    <a:pt x="555836" y="377501"/>
                  </a:cubicBezTo>
                  <a:cubicBezTo>
                    <a:pt x="576672" y="391335"/>
                    <a:pt x="611391" y="384427"/>
                    <a:pt x="611420" y="384421"/>
                  </a:cubicBezTo>
                  <a:cubicBezTo>
                    <a:pt x="611420" y="384421"/>
                    <a:pt x="667003" y="405181"/>
                    <a:pt x="673951" y="412101"/>
                  </a:cubicBezTo>
                  <a:cubicBezTo>
                    <a:pt x="673951" y="419021"/>
                    <a:pt x="673951" y="474380"/>
                    <a:pt x="680899" y="515899"/>
                  </a:cubicBezTo>
                  <a:cubicBezTo>
                    <a:pt x="680899" y="515899"/>
                    <a:pt x="673951" y="654296"/>
                    <a:pt x="673951" y="744254"/>
                  </a:cubicBezTo>
                  <a:cubicBezTo>
                    <a:pt x="673951" y="819087"/>
                    <a:pt x="678759" y="802939"/>
                    <a:pt x="680899" y="799613"/>
                  </a:cubicBezTo>
                  <a:cubicBezTo>
                    <a:pt x="680899" y="813453"/>
                    <a:pt x="694795" y="931091"/>
                    <a:pt x="687847" y="944931"/>
                  </a:cubicBezTo>
                  <a:cubicBezTo>
                    <a:pt x="680899" y="965690"/>
                    <a:pt x="625316" y="1145607"/>
                    <a:pt x="618368" y="1159447"/>
                  </a:cubicBezTo>
                  <a:cubicBezTo>
                    <a:pt x="618368" y="1166365"/>
                    <a:pt x="618368" y="1214787"/>
                    <a:pt x="618368" y="1214806"/>
                  </a:cubicBezTo>
                  <a:cubicBezTo>
                    <a:pt x="597539" y="1235550"/>
                    <a:pt x="590586" y="1249384"/>
                    <a:pt x="590576" y="1249405"/>
                  </a:cubicBezTo>
                  <a:cubicBezTo>
                    <a:pt x="590576" y="1311684"/>
                    <a:pt x="583628" y="1408562"/>
                    <a:pt x="583628" y="1450081"/>
                  </a:cubicBezTo>
                  <a:cubicBezTo>
                    <a:pt x="590576" y="1505440"/>
                    <a:pt x="576680" y="1623078"/>
                    <a:pt x="583628" y="1685357"/>
                  </a:cubicBezTo>
                  <a:cubicBezTo>
                    <a:pt x="590576" y="1740716"/>
                    <a:pt x="590576" y="1982911"/>
                    <a:pt x="583628" y="2059030"/>
                  </a:cubicBezTo>
                  <a:cubicBezTo>
                    <a:pt x="583628" y="2121309"/>
                    <a:pt x="583628" y="2117416"/>
                    <a:pt x="583628" y="2121308"/>
                  </a:cubicBezTo>
                  <a:cubicBezTo>
                    <a:pt x="576687" y="2142048"/>
                    <a:pt x="583614" y="2148975"/>
                    <a:pt x="583628" y="2148988"/>
                  </a:cubicBezTo>
                  <a:cubicBezTo>
                    <a:pt x="583628" y="2148988"/>
                    <a:pt x="583628" y="2162828"/>
                    <a:pt x="583628" y="2183587"/>
                  </a:cubicBezTo>
                  <a:cubicBezTo>
                    <a:pt x="583628" y="2204334"/>
                    <a:pt x="569750" y="2204347"/>
                    <a:pt x="569732" y="2204347"/>
                  </a:cubicBezTo>
                  <a:cubicBezTo>
                    <a:pt x="569732" y="2204347"/>
                    <a:pt x="569732" y="2204347"/>
                    <a:pt x="590576" y="2266626"/>
                  </a:cubicBezTo>
                  <a:cubicBezTo>
                    <a:pt x="590576" y="2266626"/>
                    <a:pt x="590576" y="2266626"/>
                    <a:pt x="591444" y="2266626"/>
                  </a:cubicBezTo>
                  <a:lnTo>
                    <a:pt x="597524" y="2266626"/>
                  </a:lnTo>
                  <a:cubicBezTo>
                    <a:pt x="597524" y="2266626"/>
                    <a:pt x="597524" y="2266626"/>
                    <a:pt x="597524" y="2287385"/>
                  </a:cubicBezTo>
                  <a:cubicBezTo>
                    <a:pt x="576680" y="2294305"/>
                    <a:pt x="562784" y="2294305"/>
                    <a:pt x="521096" y="2294305"/>
                  </a:cubicBezTo>
                  <a:cubicBezTo>
                    <a:pt x="486373" y="2294305"/>
                    <a:pt x="458591" y="2287392"/>
                    <a:pt x="458565" y="2287385"/>
                  </a:cubicBezTo>
                  <a:cubicBezTo>
                    <a:pt x="458565" y="2287385"/>
                    <a:pt x="458565" y="2287385"/>
                    <a:pt x="458565" y="2266626"/>
                  </a:cubicBezTo>
                  <a:cubicBezTo>
                    <a:pt x="458565" y="2266626"/>
                    <a:pt x="458565" y="2266626"/>
                    <a:pt x="458565" y="2265761"/>
                  </a:cubicBezTo>
                  <a:lnTo>
                    <a:pt x="458565" y="2259706"/>
                  </a:lnTo>
                  <a:cubicBezTo>
                    <a:pt x="458565" y="2259706"/>
                    <a:pt x="458565" y="2259706"/>
                    <a:pt x="465513" y="2232026"/>
                  </a:cubicBezTo>
                  <a:cubicBezTo>
                    <a:pt x="465513" y="2232026"/>
                    <a:pt x="465513" y="2232026"/>
                    <a:pt x="465513" y="2231161"/>
                  </a:cubicBezTo>
                  <a:lnTo>
                    <a:pt x="465513" y="2225106"/>
                  </a:lnTo>
                  <a:cubicBezTo>
                    <a:pt x="465513" y="2225106"/>
                    <a:pt x="465513" y="2225106"/>
                    <a:pt x="464644" y="2224241"/>
                  </a:cubicBezTo>
                  <a:lnTo>
                    <a:pt x="458565" y="2218187"/>
                  </a:lnTo>
                  <a:cubicBezTo>
                    <a:pt x="458565" y="2218187"/>
                    <a:pt x="458565" y="2218187"/>
                    <a:pt x="457696" y="2218187"/>
                  </a:cubicBezTo>
                  <a:lnTo>
                    <a:pt x="451617" y="2218187"/>
                  </a:lnTo>
                  <a:cubicBezTo>
                    <a:pt x="444669" y="2211267"/>
                    <a:pt x="465513" y="2197427"/>
                    <a:pt x="451617" y="2190507"/>
                  </a:cubicBezTo>
                  <a:cubicBezTo>
                    <a:pt x="437721" y="2190507"/>
                    <a:pt x="430773" y="2155908"/>
                    <a:pt x="430773" y="2135148"/>
                  </a:cubicBezTo>
                  <a:cubicBezTo>
                    <a:pt x="430773" y="2107469"/>
                    <a:pt x="409929" y="1941392"/>
                    <a:pt x="402981" y="1872193"/>
                  </a:cubicBezTo>
                  <a:cubicBezTo>
                    <a:pt x="389085" y="1796075"/>
                    <a:pt x="396033" y="1650757"/>
                    <a:pt x="389085" y="1588479"/>
                  </a:cubicBezTo>
                  <a:cubicBezTo>
                    <a:pt x="382139" y="1533131"/>
                    <a:pt x="361302" y="1429364"/>
                    <a:pt x="361294" y="1429322"/>
                  </a:cubicBezTo>
                  <a:cubicBezTo>
                    <a:pt x="361294" y="1429322"/>
                    <a:pt x="340450" y="1574639"/>
                    <a:pt x="340450" y="1602318"/>
                  </a:cubicBezTo>
                  <a:cubicBezTo>
                    <a:pt x="340450" y="1629998"/>
                    <a:pt x="291814" y="1886033"/>
                    <a:pt x="291814" y="1920632"/>
                  </a:cubicBezTo>
                  <a:cubicBezTo>
                    <a:pt x="291814" y="1955232"/>
                    <a:pt x="319606" y="2135148"/>
                    <a:pt x="319606" y="2162828"/>
                  </a:cubicBezTo>
                  <a:cubicBezTo>
                    <a:pt x="319606" y="2183587"/>
                    <a:pt x="326554" y="2225106"/>
                    <a:pt x="326554" y="2232026"/>
                  </a:cubicBezTo>
                  <a:cubicBezTo>
                    <a:pt x="326554" y="2238937"/>
                    <a:pt x="333483" y="2245848"/>
                    <a:pt x="333502" y="2245866"/>
                  </a:cubicBezTo>
                  <a:cubicBezTo>
                    <a:pt x="333502" y="2245866"/>
                    <a:pt x="333502" y="2245866"/>
                    <a:pt x="333502" y="2266626"/>
                  </a:cubicBezTo>
                  <a:cubicBezTo>
                    <a:pt x="333502" y="2266626"/>
                    <a:pt x="333502" y="2266626"/>
                    <a:pt x="243178" y="2280465"/>
                  </a:cubicBezTo>
                  <a:cubicBezTo>
                    <a:pt x="243178" y="2280465"/>
                    <a:pt x="243178" y="2280465"/>
                    <a:pt x="243178" y="2259706"/>
                  </a:cubicBezTo>
                  <a:cubicBezTo>
                    <a:pt x="243178" y="2259706"/>
                    <a:pt x="180647" y="2280465"/>
                    <a:pt x="111167" y="2287385"/>
                  </a:cubicBezTo>
                  <a:cubicBezTo>
                    <a:pt x="41707" y="2287385"/>
                    <a:pt x="23" y="2273554"/>
                    <a:pt x="0" y="2273546"/>
                  </a:cubicBezTo>
                  <a:cubicBezTo>
                    <a:pt x="0" y="2273546"/>
                    <a:pt x="0" y="2273546"/>
                    <a:pt x="0" y="2272681"/>
                  </a:cubicBezTo>
                  <a:lnTo>
                    <a:pt x="0" y="2266626"/>
                  </a:lnTo>
                  <a:cubicBezTo>
                    <a:pt x="0" y="2266626"/>
                    <a:pt x="0" y="2266626"/>
                    <a:pt x="868" y="2266626"/>
                  </a:cubicBezTo>
                  <a:lnTo>
                    <a:pt x="6948" y="2266626"/>
                  </a:lnTo>
                  <a:cubicBezTo>
                    <a:pt x="6948" y="2266626"/>
                    <a:pt x="6948" y="2245866"/>
                    <a:pt x="13896" y="2245866"/>
                  </a:cubicBezTo>
                  <a:cubicBezTo>
                    <a:pt x="20844" y="2238946"/>
                    <a:pt x="69479" y="2245866"/>
                    <a:pt x="90323" y="2238946"/>
                  </a:cubicBezTo>
                  <a:cubicBezTo>
                    <a:pt x="111159" y="2232029"/>
                    <a:pt x="145879" y="2211283"/>
                    <a:pt x="145907" y="2211267"/>
                  </a:cubicBezTo>
                  <a:cubicBezTo>
                    <a:pt x="145907" y="2211267"/>
                    <a:pt x="145907" y="2211267"/>
                    <a:pt x="145038" y="2210402"/>
                  </a:cubicBezTo>
                  <a:lnTo>
                    <a:pt x="138959" y="2204347"/>
                  </a:lnTo>
                  <a:cubicBezTo>
                    <a:pt x="138959" y="2204347"/>
                    <a:pt x="145907" y="2197427"/>
                    <a:pt x="152855" y="2197427"/>
                  </a:cubicBezTo>
                  <a:cubicBezTo>
                    <a:pt x="152855" y="2190507"/>
                    <a:pt x="152855" y="2169748"/>
                    <a:pt x="145907" y="2162828"/>
                  </a:cubicBezTo>
                  <a:cubicBezTo>
                    <a:pt x="132011" y="2148988"/>
                    <a:pt x="166751" y="2128228"/>
                    <a:pt x="152855" y="2114389"/>
                  </a:cubicBezTo>
                  <a:cubicBezTo>
                    <a:pt x="145907" y="2107469"/>
                    <a:pt x="138959" y="2079789"/>
                    <a:pt x="138959" y="2045190"/>
                  </a:cubicBezTo>
                  <a:cubicBezTo>
                    <a:pt x="138959" y="2003671"/>
                    <a:pt x="145907" y="1713036"/>
                    <a:pt x="138959" y="1664597"/>
                  </a:cubicBezTo>
                  <a:cubicBezTo>
                    <a:pt x="132011" y="1616158"/>
                    <a:pt x="132011" y="1498520"/>
                    <a:pt x="125063" y="1429322"/>
                  </a:cubicBezTo>
                  <a:cubicBezTo>
                    <a:pt x="118116" y="1360132"/>
                    <a:pt x="111169" y="1201007"/>
                    <a:pt x="111167" y="1200966"/>
                  </a:cubicBezTo>
                  <a:cubicBezTo>
                    <a:pt x="111167" y="1200966"/>
                    <a:pt x="111167" y="1200966"/>
                    <a:pt x="90323" y="1194046"/>
                  </a:cubicBezTo>
                  <a:cubicBezTo>
                    <a:pt x="90323" y="1194046"/>
                    <a:pt x="76427" y="1194046"/>
                    <a:pt x="76427" y="1180206"/>
                  </a:cubicBezTo>
                  <a:cubicBezTo>
                    <a:pt x="69479" y="1166366"/>
                    <a:pt x="62531" y="1069488"/>
                    <a:pt x="69479" y="1034889"/>
                  </a:cubicBezTo>
                  <a:cubicBezTo>
                    <a:pt x="76427" y="1000290"/>
                    <a:pt x="55584" y="854972"/>
                    <a:pt x="62531" y="778854"/>
                  </a:cubicBezTo>
                  <a:cubicBezTo>
                    <a:pt x="76427" y="695815"/>
                    <a:pt x="41688" y="522819"/>
                    <a:pt x="41688" y="502059"/>
                  </a:cubicBezTo>
                  <a:cubicBezTo>
                    <a:pt x="48636" y="481299"/>
                    <a:pt x="55584" y="474380"/>
                    <a:pt x="55584" y="453620"/>
                  </a:cubicBezTo>
                  <a:cubicBezTo>
                    <a:pt x="62531" y="432860"/>
                    <a:pt x="55584" y="405181"/>
                    <a:pt x="76427" y="391341"/>
                  </a:cubicBezTo>
                  <a:cubicBezTo>
                    <a:pt x="83371" y="391341"/>
                    <a:pt x="97253" y="391341"/>
                    <a:pt x="97271" y="391341"/>
                  </a:cubicBezTo>
                  <a:cubicBezTo>
                    <a:pt x="97271" y="391341"/>
                    <a:pt x="97271" y="391341"/>
                    <a:pt x="159803" y="370581"/>
                  </a:cubicBezTo>
                  <a:cubicBezTo>
                    <a:pt x="159803" y="370581"/>
                    <a:pt x="173699" y="363662"/>
                    <a:pt x="180647" y="363662"/>
                  </a:cubicBezTo>
                  <a:cubicBezTo>
                    <a:pt x="194543" y="356742"/>
                    <a:pt x="229282" y="342902"/>
                    <a:pt x="236230" y="342902"/>
                  </a:cubicBezTo>
                  <a:cubicBezTo>
                    <a:pt x="250121" y="335985"/>
                    <a:pt x="257069" y="356726"/>
                    <a:pt x="257074" y="356742"/>
                  </a:cubicBezTo>
                  <a:cubicBezTo>
                    <a:pt x="257074" y="356742"/>
                    <a:pt x="243178" y="356742"/>
                    <a:pt x="236230" y="356742"/>
                  </a:cubicBezTo>
                  <a:cubicBezTo>
                    <a:pt x="236230" y="363662"/>
                    <a:pt x="264022" y="412101"/>
                    <a:pt x="277918" y="460540"/>
                  </a:cubicBezTo>
                  <a:cubicBezTo>
                    <a:pt x="291810" y="508963"/>
                    <a:pt x="312644" y="557386"/>
                    <a:pt x="312658" y="557418"/>
                  </a:cubicBezTo>
                  <a:cubicBezTo>
                    <a:pt x="312658" y="557418"/>
                    <a:pt x="333502" y="502059"/>
                    <a:pt x="333502" y="495139"/>
                  </a:cubicBezTo>
                  <a:cubicBezTo>
                    <a:pt x="340444" y="495139"/>
                    <a:pt x="347386" y="488231"/>
                    <a:pt x="347398" y="488219"/>
                  </a:cubicBezTo>
                  <a:cubicBezTo>
                    <a:pt x="347398" y="488219"/>
                    <a:pt x="347398" y="488219"/>
                    <a:pt x="345661" y="488219"/>
                  </a:cubicBezTo>
                  <a:lnTo>
                    <a:pt x="333502" y="488219"/>
                  </a:lnTo>
                  <a:cubicBezTo>
                    <a:pt x="333502" y="488219"/>
                    <a:pt x="319606" y="474380"/>
                    <a:pt x="326554" y="467460"/>
                  </a:cubicBezTo>
                  <a:cubicBezTo>
                    <a:pt x="326554" y="460540"/>
                    <a:pt x="347398" y="425940"/>
                    <a:pt x="354346" y="425940"/>
                  </a:cubicBezTo>
                  <a:cubicBezTo>
                    <a:pt x="361290" y="419024"/>
                    <a:pt x="375176" y="460499"/>
                    <a:pt x="375189" y="460540"/>
                  </a:cubicBezTo>
                  <a:cubicBezTo>
                    <a:pt x="375189" y="467455"/>
                    <a:pt x="368250" y="481282"/>
                    <a:pt x="368242" y="481299"/>
                  </a:cubicBezTo>
                  <a:cubicBezTo>
                    <a:pt x="368242" y="481299"/>
                    <a:pt x="368242" y="508979"/>
                    <a:pt x="375189" y="529738"/>
                  </a:cubicBezTo>
                  <a:cubicBezTo>
                    <a:pt x="375189" y="550489"/>
                    <a:pt x="375189" y="564326"/>
                    <a:pt x="375189" y="564338"/>
                  </a:cubicBezTo>
                  <a:cubicBezTo>
                    <a:pt x="375189" y="564338"/>
                    <a:pt x="409929" y="522819"/>
                    <a:pt x="416877" y="508979"/>
                  </a:cubicBezTo>
                  <a:cubicBezTo>
                    <a:pt x="423825" y="495139"/>
                    <a:pt x="458565" y="419021"/>
                    <a:pt x="458565" y="384421"/>
                  </a:cubicBezTo>
                  <a:cubicBezTo>
                    <a:pt x="465509" y="342926"/>
                    <a:pt x="437754" y="335990"/>
                    <a:pt x="437721" y="335982"/>
                  </a:cubicBezTo>
                  <a:close/>
                  <a:moveTo>
                    <a:pt x="337948" y="198"/>
                  </a:moveTo>
                  <a:cubicBezTo>
                    <a:pt x="363221" y="1594"/>
                    <a:pt x="382444" y="10005"/>
                    <a:pt x="391237" y="14708"/>
                  </a:cubicBezTo>
                  <a:cubicBezTo>
                    <a:pt x="393386" y="15193"/>
                    <a:pt x="395440" y="15806"/>
                    <a:pt x="397115" y="17369"/>
                  </a:cubicBezTo>
                  <a:cubicBezTo>
                    <a:pt x="399547" y="15061"/>
                    <a:pt x="412661" y="4582"/>
                    <a:pt x="431367" y="10780"/>
                  </a:cubicBezTo>
                  <a:cubicBezTo>
                    <a:pt x="445272" y="24600"/>
                    <a:pt x="466128" y="52241"/>
                    <a:pt x="466128" y="79882"/>
                  </a:cubicBezTo>
                  <a:cubicBezTo>
                    <a:pt x="459176" y="107523"/>
                    <a:pt x="466128" y="121344"/>
                    <a:pt x="466128" y="121344"/>
                  </a:cubicBezTo>
                  <a:lnTo>
                    <a:pt x="460045" y="115297"/>
                  </a:lnTo>
                  <a:cubicBezTo>
                    <a:pt x="459172" y="114449"/>
                    <a:pt x="457585" y="120759"/>
                    <a:pt x="455937" y="128101"/>
                  </a:cubicBezTo>
                  <a:cubicBezTo>
                    <a:pt x="460991" y="129268"/>
                    <a:pt x="465039" y="139860"/>
                    <a:pt x="465039" y="150452"/>
                  </a:cubicBezTo>
                  <a:cubicBezTo>
                    <a:pt x="465039" y="164332"/>
                    <a:pt x="465039" y="185152"/>
                    <a:pt x="465039" y="192093"/>
                  </a:cubicBezTo>
                  <a:cubicBezTo>
                    <a:pt x="458087" y="199033"/>
                    <a:pt x="451135" y="205973"/>
                    <a:pt x="451135" y="205973"/>
                  </a:cubicBezTo>
                  <a:lnTo>
                    <a:pt x="447659" y="198165"/>
                  </a:lnTo>
                  <a:cubicBezTo>
                    <a:pt x="445921" y="197298"/>
                    <a:pt x="444183" y="199033"/>
                    <a:pt x="444183" y="205973"/>
                  </a:cubicBezTo>
                  <a:cubicBezTo>
                    <a:pt x="444183" y="212913"/>
                    <a:pt x="437230" y="233734"/>
                    <a:pt x="437230" y="247614"/>
                  </a:cubicBezTo>
                  <a:cubicBezTo>
                    <a:pt x="430278" y="261494"/>
                    <a:pt x="423326" y="275375"/>
                    <a:pt x="423326" y="275375"/>
                  </a:cubicBezTo>
                  <a:cubicBezTo>
                    <a:pt x="423306" y="275395"/>
                    <a:pt x="416374" y="282345"/>
                    <a:pt x="416374" y="303135"/>
                  </a:cubicBezTo>
                  <a:cubicBezTo>
                    <a:pt x="416374" y="323956"/>
                    <a:pt x="360757" y="344776"/>
                    <a:pt x="360757" y="344776"/>
                  </a:cubicBezTo>
                  <a:cubicBezTo>
                    <a:pt x="360720" y="344769"/>
                    <a:pt x="291235" y="330890"/>
                    <a:pt x="291235" y="310075"/>
                  </a:cubicBezTo>
                  <a:cubicBezTo>
                    <a:pt x="291235" y="282315"/>
                    <a:pt x="284283" y="289255"/>
                    <a:pt x="284283" y="289255"/>
                  </a:cubicBezTo>
                  <a:cubicBezTo>
                    <a:pt x="284274" y="289236"/>
                    <a:pt x="277326" y="275361"/>
                    <a:pt x="270379" y="254554"/>
                  </a:cubicBezTo>
                  <a:cubicBezTo>
                    <a:pt x="263427" y="233734"/>
                    <a:pt x="256475" y="212913"/>
                    <a:pt x="256475" y="212913"/>
                  </a:cubicBezTo>
                  <a:cubicBezTo>
                    <a:pt x="256461" y="212940"/>
                    <a:pt x="249523" y="226787"/>
                    <a:pt x="249523" y="219853"/>
                  </a:cubicBezTo>
                  <a:cubicBezTo>
                    <a:pt x="242570" y="205973"/>
                    <a:pt x="242570" y="185152"/>
                    <a:pt x="235618" y="171272"/>
                  </a:cubicBezTo>
                  <a:cubicBezTo>
                    <a:pt x="228666" y="157392"/>
                    <a:pt x="235618" y="143511"/>
                    <a:pt x="242570" y="143511"/>
                  </a:cubicBezTo>
                  <a:lnTo>
                    <a:pt x="244451" y="142712"/>
                  </a:lnTo>
                  <a:cubicBezTo>
                    <a:pt x="244244" y="142093"/>
                    <a:pt x="243955" y="142075"/>
                    <a:pt x="243660" y="142075"/>
                  </a:cubicBezTo>
                  <a:lnTo>
                    <a:pt x="231493" y="139483"/>
                  </a:lnTo>
                  <a:cubicBezTo>
                    <a:pt x="229755" y="142050"/>
                    <a:pt x="229761" y="128254"/>
                    <a:pt x="236707" y="128254"/>
                  </a:cubicBezTo>
                  <a:cubicBezTo>
                    <a:pt x="243660" y="128254"/>
                    <a:pt x="243660" y="114434"/>
                    <a:pt x="243660" y="114434"/>
                  </a:cubicBezTo>
                  <a:cubicBezTo>
                    <a:pt x="243647" y="114447"/>
                    <a:pt x="236701" y="121344"/>
                    <a:pt x="229755" y="121344"/>
                  </a:cubicBezTo>
                  <a:cubicBezTo>
                    <a:pt x="229738" y="121344"/>
                    <a:pt x="222803" y="121344"/>
                    <a:pt x="222803" y="121344"/>
                  </a:cubicBezTo>
                  <a:cubicBezTo>
                    <a:pt x="222818" y="121336"/>
                    <a:pt x="236707" y="114422"/>
                    <a:pt x="236707" y="93703"/>
                  </a:cubicBezTo>
                  <a:cubicBezTo>
                    <a:pt x="236707" y="72972"/>
                    <a:pt x="243660" y="24600"/>
                    <a:pt x="299277" y="3869"/>
                  </a:cubicBezTo>
                  <a:cubicBezTo>
                    <a:pt x="313181" y="414"/>
                    <a:pt x="326216" y="-450"/>
                    <a:pt x="337948"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36" name="Freeform 9"/>
            <p:cNvSpPr/>
            <p:nvPr/>
          </p:nvSpPr>
          <p:spPr bwMode="auto">
            <a:xfrm>
              <a:off x="2678145" y="2273334"/>
              <a:ext cx="686881" cy="2294305"/>
            </a:xfrm>
            <a:custGeom>
              <a:avLst/>
              <a:gdLst/>
              <a:ahLst/>
              <a:cxnLst/>
              <a:rect l="l" t="t" r="r" b="b"/>
              <a:pathLst>
                <a:path w="686881" h="2294305">
                  <a:moveTo>
                    <a:pt x="435874" y="335982"/>
                  </a:moveTo>
                  <a:cubicBezTo>
                    <a:pt x="435874" y="335982"/>
                    <a:pt x="477386" y="342902"/>
                    <a:pt x="491223" y="349822"/>
                  </a:cubicBezTo>
                  <a:cubicBezTo>
                    <a:pt x="498141" y="349822"/>
                    <a:pt x="539653" y="356742"/>
                    <a:pt x="553491" y="377501"/>
                  </a:cubicBezTo>
                  <a:cubicBezTo>
                    <a:pt x="574238" y="391336"/>
                    <a:pt x="615725" y="384427"/>
                    <a:pt x="615758" y="384421"/>
                  </a:cubicBezTo>
                  <a:cubicBezTo>
                    <a:pt x="615758" y="384421"/>
                    <a:pt x="664189" y="405181"/>
                    <a:pt x="671107" y="412101"/>
                  </a:cubicBezTo>
                  <a:cubicBezTo>
                    <a:pt x="671107" y="419021"/>
                    <a:pt x="671107" y="474380"/>
                    <a:pt x="678026" y="515899"/>
                  </a:cubicBezTo>
                  <a:cubicBezTo>
                    <a:pt x="678026" y="515899"/>
                    <a:pt x="671107" y="654296"/>
                    <a:pt x="671107" y="744254"/>
                  </a:cubicBezTo>
                  <a:cubicBezTo>
                    <a:pt x="671107" y="819075"/>
                    <a:pt x="675893" y="802944"/>
                    <a:pt x="678026" y="799613"/>
                  </a:cubicBezTo>
                  <a:cubicBezTo>
                    <a:pt x="678026" y="813453"/>
                    <a:pt x="691863" y="931091"/>
                    <a:pt x="684945" y="944931"/>
                  </a:cubicBezTo>
                  <a:cubicBezTo>
                    <a:pt x="678026" y="965690"/>
                    <a:pt x="622677" y="1145607"/>
                    <a:pt x="615758" y="1159447"/>
                  </a:cubicBezTo>
                  <a:cubicBezTo>
                    <a:pt x="615758" y="1166365"/>
                    <a:pt x="615758" y="1214787"/>
                    <a:pt x="615758" y="1214806"/>
                  </a:cubicBezTo>
                  <a:cubicBezTo>
                    <a:pt x="595017" y="1235550"/>
                    <a:pt x="588094" y="1249385"/>
                    <a:pt x="588084" y="1249405"/>
                  </a:cubicBezTo>
                  <a:cubicBezTo>
                    <a:pt x="588084" y="1311684"/>
                    <a:pt x="581165" y="1408562"/>
                    <a:pt x="581165" y="1450081"/>
                  </a:cubicBezTo>
                  <a:cubicBezTo>
                    <a:pt x="588084" y="1505440"/>
                    <a:pt x="574246" y="1623078"/>
                    <a:pt x="581165" y="1685357"/>
                  </a:cubicBezTo>
                  <a:cubicBezTo>
                    <a:pt x="595002" y="1740716"/>
                    <a:pt x="588084" y="1982911"/>
                    <a:pt x="581165" y="2059030"/>
                  </a:cubicBezTo>
                  <a:cubicBezTo>
                    <a:pt x="581165" y="2121309"/>
                    <a:pt x="581165" y="2117416"/>
                    <a:pt x="581165" y="2121308"/>
                  </a:cubicBezTo>
                  <a:cubicBezTo>
                    <a:pt x="581165" y="2142040"/>
                    <a:pt x="581165" y="2148969"/>
                    <a:pt x="581165" y="2148988"/>
                  </a:cubicBezTo>
                  <a:cubicBezTo>
                    <a:pt x="581165" y="2148988"/>
                    <a:pt x="588084" y="2162828"/>
                    <a:pt x="581165" y="2183587"/>
                  </a:cubicBezTo>
                  <a:cubicBezTo>
                    <a:pt x="581165" y="2204311"/>
                    <a:pt x="574270" y="2204347"/>
                    <a:pt x="574246" y="2204347"/>
                  </a:cubicBezTo>
                  <a:cubicBezTo>
                    <a:pt x="574246" y="2204347"/>
                    <a:pt x="574246" y="2204347"/>
                    <a:pt x="588084" y="2266626"/>
                  </a:cubicBezTo>
                  <a:cubicBezTo>
                    <a:pt x="588084" y="2266626"/>
                    <a:pt x="588084" y="2266626"/>
                    <a:pt x="588948" y="2266626"/>
                  </a:cubicBezTo>
                  <a:lnTo>
                    <a:pt x="595002" y="2266626"/>
                  </a:lnTo>
                  <a:cubicBezTo>
                    <a:pt x="595002" y="2266626"/>
                    <a:pt x="595002" y="2266626"/>
                    <a:pt x="595002" y="2287385"/>
                  </a:cubicBezTo>
                  <a:cubicBezTo>
                    <a:pt x="574246" y="2294305"/>
                    <a:pt x="560409" y="2294305"/>
                    <a:pt x="525816" y="2294305"/>
                  </a:cubicBezTo>
                  <a:cubicBezTo>
                    <a:pt x="484328" y="2294305"/>
                    <a:pt x="456662" y="2287393"/>
                    <a:pt x="456630" y="2287385"/>
                  </a:cubicBezTo>
                  <a:cubicBezTo>
                    <a:pt x="456630" y="2287385"/>
                    <a:pt x="456630" y="2287385"/>
                    <a:pt x="456630" y="2266626"/>
                  </a:cubicBezTo>
                  <a:cubicBezTo>
                    <a:pt x="456630" y="2266626"/>
                    <a:pt x="456630" y="2266626"/>
                    <a:pt x="457494" y="2265761"/>
                  </a:cubicBezTo>
                  <a:lnTo>
                    <a:pt x="463548" y="2259706"/>
                  </a:lnTo>
                  <a:cubicBezTo>
                    <a:pt x="463548" y="2259706"/>
                    <a:pt x="463548" y="2259706"/>
                    <a:pt x="463548" y="2232026"/>
                  </a:cubicBezTo>
                  <a:cubicBezTo>
                    <a:pt x="463548" y="2232026"/>
                    <a:pt x="463548" y="2232026"/>
                    <a:pt x="463548" y="2231161"/>
                  </a:cubicBezTo>
                  <a:lnTo>
                    <a:pt x="463548" y="2225106"/>
                  </a:lnTo>
                  <a:cubicBezTo>
                    <a:pt x="463548" y="2225106"/>
                    <a:pt x="463548" y="2225106"/>
                    <a:pt x="462684" y="2224241"/>
                  </a:cubicBezTo>
                  <a:lnTo>
                    <a:pt x="456630" y="2218187"/>
                  </a:lnTo>
                  <a:cubicBezTo>
                    <a:pt x="456630" y="2218187"/>
                    <a:pt x="456630" y="2218187"/>
                    <a:pt x="455765" y="2218187"/>
                  </a:cubicBezTo>
                  <a:lnTo>
                    <a:pt x="449711" y="2218187"/>
                  </a:lnTo>
                  <a:cubicBezTo>
                    <a:pt x="449711" y="2211267"/>
                    <a:pt x="463548" y="2197427"/>
                    <a:pt x="449711" y="2190507"/>
                  </a:cubicBezTo>
                  <a:cubicBezTo>
                    <a:pt x="435874" y="2190507"/>
                    <a:pt x="428955" y="2155908"/>
                    <a:pt x="428955" y="2135148"/>
                  </a:cubicBezTo>
                  <a:cubicBezTo>
                    <a:pt x="428955" y="2107469"/>
                    <a:pt x="408199" y="1941392"/>
                    <a:pt x="401281" y="1872193"/>
                  </a:cubicBezTo>
                  <a:cubicBezTo>
                    <a:pt x="387443" y="1796075"/>
                    <a:pt x="394362" y="1650757"/>
                    <a:pt x="387443" y="1588479"/>
                  </a:cubicBezTo>
                  <a:cubicBezTo>
                    <a:pt x="380526" y="1533130"/>
                    <a:pt x="366693" y="1429361"/>
                    <a:pt x="366688" y="1429322"/>
                  </a:cubicBezTo>
                  <a:cubicBezTo>
                    <a:pt x="366688" y="1429322"/>
                    <a:pt x="339013" y="1574639"/>
                    <a:pt x="339013" y="1602318"/>
                  </a:cubicBezTo>
                  <a:cubicBezTo>
                    <a:pt x="339013" y="1629998"/>
                    <a:pt x="290583" y="1886033"/>
                    <a:pt x="290583" y="1920632"/>
                  </a:cubicBezTo>
                  <a:cubicBezTo>
                    <a:pt x="290583" y="1955232"/>
                    <a:pt x="318257" y="2135148"/>
                    <a:pt x="325176" y="2162828"/>
                  </a:cubicBezTo>
                  <a:cubicBezTo>
                    <a:pt x="325176" y="2183587"/>
                    <a:pt x="325176" y="2225106"/>
                    <a:pt x="325176" y="2232026"/>
                  </a:cubicBezTo>
                  <a:cubicBezTo>
                    <a:pt x="325176" y="2238938"/>
                    <a:pt x="332077" y="2245849"/>
                    <a:pt x="332094" y="2245866"/>
                  </a:cubicBezTo>
                  <a:cubicBezTo>
                    <a:pt x="332094" y="2245866"/>
                    <a:pt x="332094" y="2245866"/>
                    <a:pt x="332094" y="2266626"/>
                  </a:cubicBezTo>
                  <a:cubicBezTo>
                    <a:pt x="332094" y="2266626"/>
                    <a:pt x="332094" y="2266626"/>
                    <a:pt x="249071" y="2280465"/>
                  </a:cubicBezTo>
                  <a:cubicBezTo>
                    <a:pt x="249071" y="2280465"/>
                    <a:pt x="249071" y="2280465"/>
                    <a:pt x="249071" y="2259706"/>
                  </a:cubicBezTo>
                  <a:cubicBezTo>
                    <a:pt x="249071" y="2259706"/>
                    <a:pt x="179884" y="2280465"/>
                    <a:pt x="110698" y="2287385"/>
                  </a:cubicBezTo>
                  <a:cubicBezTo>
                    <a:pt x="41531" y="2287385"/>
                    <a:pt x="23" y="2273554"/>
                    <a:pt x="0" y="2273546"/>
                  </a:cubicBezTo>
                  <a:cubicBezTo>
                    <a:pt x="0" y="2273546"/>
                    <a:pt x="0" y="2273546"/>
                    <a:pt x="0" y="2272681"/>
                  </a:cubicBezTo>
                  <a:lnTo>
                    <a:pt x="0" y="2266626"/>
                  </a:lnTo>
                  <a:cubicBezTo>
                    <a:pt x="0" y="2266626"/>
                    <a:pt x="0" y="2266626"/>
                    <a:pt x="865" y="2266626"/>
                  </a:cubicBezTo>
                  <a:lnTo>
                    <a:pt x="6919" y="2266626"/>
                  </a:lnTo>
                  <a:cubicBezTo>
                    <a:pt x="6919" y="2266626"/>
                    <a:pt x="6919" y="2245866"/>
                    <a:pt x="13837" y="2245866"/>
                  </a:cubicBezTo>
                  <a:cubicBezTo>
                    <a:pt x="27674" y="2238946"/>
                    <a:pt x="69186" y="2245866"/>
                    <a:pt x="96861" y="2238946"/>
                  </a:cubicBezTo>
                  <a:cubicBezTo>
                    <a:pt x="117608" y="2232029"/>
                    <a:pt x="145267" y="2211285"/>
                    <a:pt x="145291" y="2211267"/>
                  </a:cubicBezTo>
                  <a:cubicBezTo>
                    <a:pt x="145291" y="2211267"/>
                    <a:pt x="145291" y="2211267"/>
                    <a:pt x="144426" y="2210402"/>
                  </a:cubicBezTo>
                  <a:lnTo>
                    <a:pt x="138372" y="2204347"/>
                  </a:lnTo>
                  <a:cubicBezTo>
                    <a:pt x="138372" y="2204347"/>
                    <a:pt x="145291" y="2197427"/>
                    <a:pt x="152210" y="2197427"/>
                  </a:cubicBezTo>
                  <a:cubicBezTo>
                    <a:pt x="159128" y="2190507"/>
                    <a:pt x="152210" y="2169748"/>
                    <a:pt x="145291" y="2162828"/>
                  </a:cubicBezTo>
                  <a:cubicBezTo>
                    <a:pt x="138372" y="2148988"/>
                    <a:pt x="166047" y="2128228"/>
                    <a:pt x="152210" y="2114389"/>
                  </a:cubicBezTo>
                  <a:cubicBezTo>
                    <a:pt x="145291" y="2107469"/>
                    <a:pt x="138372" y="2079789"/>
                    <a:pt x="138372" y="2045190"/>
                  </a:cubicBezTo>
                  <a:cubicBezTo>
                    <a:pt x="138372" y="2003671"/>
                    <a:pt x="145291" y="1713036"/>
                    <a:pt x="138372" y="1664597"/>
                  </a:cubicBezTo>
                  <a:cubicBezTo>
                    <a:pt x="131454" y="1616158"/>
                    <a:pt x="131454" y="1498520"/>
                    <a:pt x="124535" y="1429322"/>
                  </a:cubicBezTo>
                  <a:cubicBezTo>
                    <a:pt x="117618" y="1360132"/>
                    <a:pt x="110700" y="1201009"/>
                    <a:pt x="110698" y="1200966"/>
                  </a:cubicBezTo>
                  <a:cubicBezTo>
                    <a:pt x="110698" y="1200966"/>
                    <a:pt x="110698" y="1200966"/>
                    <a:pt x="89942" y="1194046"/>
                  </a:cubicBezTo>
                  <a:cubicBezTo>
                    <a:pt x="89942" y="1194046"/>
                    <a:pt x="76105" y="1194046"/>
                    <a:pt x="76105" y="1180206"/>
                  </a:cubicBezTo>
                  <a:cubicBezTo>
                    <a:pt x="69186" y="1166366"/>
                    <a:pt x="62268" y="1069488"/>
                    <a:pt x="69186" y="1034889"/>
                  </a:cubicBezTo>
                  <a:cubicBezTo>
                    <a:pt x="76105" y="1000290"/>
                    <a:pt x="55349" y="854972"/>
                    <a:pt x="69186" y="778854"/>
                  </a:cubicBezTo>
                  <a:cubicBezTo>
                    <a:pt x="76105" y="695815"/>
                    <a:pt x="41512" y="522819"/>
                    <a:pt x="48430" y="502059"/>
                  </a:cubicBezTo>
                  <a:cubicBezTo>
                    <a:pt x="48430" y="481299"/>
                    <a:pt x="55349" y="474380"/>
                    <a:pt x="62268" y="453620"/>
                  </a:cubicBezTo>
                  <a:cubicBezTo>
                    <a:pt x="62268" y="432860"/>
                    <a:pt x="62268" y="405181"/>
                    <a:pt x="76105" y="391341"/>
                  </a:cubicBezTo>
                  <a:cubicBezTo>
                    <a:pt x="83019" y="391341"/>
                    <a:pt x="96845" y="391341"/>
                    <a:pt x="96861" y="391341"/>
                  </a:cubicBezTo>
                  <a:cubicBezTo>
                    <a:pt x="96861" y="391341"/>
                    <a:pt x="96861" y="391341"/>
                    <a:pt x="166047" y="370581"/>
                  </a:cubicBezTo>
                  <a:cubicBezTo>
                    <a:pt x="166047" y="370581"/>
                    <a:pt x="172966" y="363662"/>
                    <a:pt x="186803" y="363662"/>
                  </a:cubicBezTo>
                  <a:cubicBezTo>
                    <a:pt x="193722" y="356742"/>
                    <a:pt x="228315" y="342902"/>
                    <a:pt x="242152" y="342902"/>
                  </a:cubicBezTo>
                  <a:cubicBezTo>
                    <a:pt x="249066" y="335987"/>
                    <a:pt x="255980" y="356712"/>
                    <a:pt x="255989" y="356742"/>
                  </a:cubicBezTo>
                  <a:cubicBezTo>
                    <a:pt x="255989" y="356742"/>
                    <a:pt x="242175" y="356742"/>
                    <a:pt x="242152" y="356742"/>
                  </a:cubicBezTo>
                  <a:cubicBezTo>
                    <a:pt x="235234" y="363662"/>
                    <a:pt x="262908" y="412101"/>
                    <a:pt x="276745" y="460540"/>
                  </a:cubicBezTo>
                  <a:cubicBezTo>
                    <a:pt x="290578" y="508961"/>
                    <a:pt x="311323" y="557383"/>
                    <a:pt x="311338" y="557418"/>
                  </a:cubicBezTo>
                  <a:cubicBezTo>
                    <a:pt x="311338" y="557418"/>
                    <a:pt x="332094" y="502059"/>
                    <a:pt x="339013" y="495139"/>
                  </a:cubicBezTo>
                  <a:cubicBezTo>
                    <a:pt x="339013" y="495139"/>
                    <a:pt x="352827" y="488231"/>
                    <a:pt x="352850" y="488219"/>
                  </a:cubicBezTo>
                  <a:cubicBezTo>
                    <a:pt x="352850" y="488219"/>
                    <a:pt x="352850" y="488219"/>
                    <a:pt x="332094" y="488219"/>
                  </a:cubicBezTo>
                  <a:cubicBezTo>
                    <a:pt x="332094" y="488219"/>
                    <a:pt x="325176" y="474380"/>
                    <a:pt x="325176" y="467460"/>
                  </a:cubicBezTo>
                  <a:cubicBezTo>
                    <a:pt x="325176" y="460540"/>
                    <a:pt x="345932" y="425940"/>
                    <a:pt x="352850" y="425940"/>
                  </a:cubicBezTo>
                  <a:cubicBezTo>
                    <a:pt x="359765" y="419024"/>
                    <a:pt x="380503" y="460497"/>
                    <a:pt x="380525" y="460540"/>
                  </a:cubicBezTo>
                  <a:cubicBezTo>
                    <a:pt x="380525" y="467456"/>
                    <a:pt x="366703" y="481284"/>
                    <a:pt x="366688" y="481299"/>
                  </a:cubicBezTo>
                  <a:cubicBezTo>
                    <a:pt x="366688" y="481299"/>
                    <a:pt x="373606" y="508979"/>
                    <a:pt x="373606" y="529738"/>
                  </a:cubicBezTo>
                  <a:cubicBezTo>
                    <a:pt x="373606" y="550488"/>
                    <a:pt x="380518" y="564325"/>
                    <a:pt x="380525" y="564338"/>
                  </a:cubicBezTo>
                  <a:cubicBezTo>
                    <a:pt x="380525" y="564338"/>
                    <a:pt x="408199" y="522819"/>
                    <a:pt x="415118" y="508979"/>
                  </a:cubicBezTo>
                  <a:cubicBezTo>
                    <a:pt x="422037" y="495139"/>
                    <a:pt x="456630" y="419021"/>
                    <a:pt x="463548" y="384421"/>
                  </a:cubicBezTo>
                  <a:cubicBezTo>
                    <a:pt x="463548" y="342921"/>
                    <a:pt x="435899" y="335988"/>
                    <a:pt x="435874" y="335982"/>
                  </a:cubicBezTo>
                  <a:close/>
                  <a:moveTo>
                    <a:pt x="337948" y="198"/>
                  </a:moveTo>
                  <a:cubicBezTo>
                    <a:pt x="363174" y="1591"/>
                    <a:pt x="382373" y="9973"/>
                    <a:pt x="391189" y="14681"/>
                  </a:cubicBezTo>
                  <a:cubicBezTo>
                    <a:pt x="393415" y="15113"/>
                    <a:pt x="395535" y="15727"/>
                    <a:pt x="397298" y="17253"/>
                  </a:cubicBezTo>
                  <a:cubicBezTo>
                    <a:pt x="400070" y="14651"/>
                    <a:pt x="413032" y="4705"/>
                    <a:pt x="431367" y="10780"/>
                  </a:cubicBezTo>
                  <a:cubicBezTo>
                    <a:pt x="452224" y="24600"/>
                    <a:pt x="466128" y="52241"/>
                    <a:pt x="466128" y="79882"/>
                  </a:cubicBezTo>
                  <a:cubicBezTo>
                    <a:pt x="459176" y="107523"/>
                    <a:pt x="466128" y="121344"/>
                    <a:pt x="466128" y="121344"/>
                  </a:cubicBezTo>
                  <a:lnTo>
                    <a:pt x="460045" y="115297"/>
                  </a:lnTo>
                  <a:cubicBezTo>
                    <a:pt x="459171" y="114454"/>
                    <a:pt x="456916" y="123419"/>
                    <a:pt x="455017" y="132418"/>
                  </a:cubicBezTo>
                  <a:cubicBezTo>
                    <a:pt x="456113" y="131603"/>
                    <a:pt x="457100" y="130617"/>
                    <a:pt x="458088" y="129631"/>
                  </a:cubicBezTo>
                  <a:cubicBezTo>
                    <a:pt x="461129" y="129631"/>
                    <a:pt x="465040" y="140041"/>
                    <a:pt x="465040" y="150452"/>
                  </a:cubicBezTo>
                  <a:cubicBezTo>
                    <a:pt x="465040" y="164332"/>
                    <a:pt x="465040" y="185152"/>
                    <a:pt x="465040" y="192093"/>
                  </a:cubicBezTo>
                  <a:cubicBezTo>
                    <a:pt x="458088" y="199033"/>
                    <a:pt x="451136" y="205973"/>
                    <a:pt x="451136" y="205973"/>
                  </a:cubicBezTo>
                  <a:lnTo>
                    <a:pt x="447660" y="198165"/>
                  </a:lnTo>
                  <a:cubicBezTo>
                    <a:pt x="445922" y="197298"/>
                    <a:pt x="444184" y="199033"/>
                    <a:pt x="444184" y="205973"/>
                  </a:cubicBezTo>
                  <a:cubicBezTo>
                    <a:pt x="444184" y="212913"/>
                    <a:pt x="437231" y="233734"/>
                    <a:pt x="437231" y="247614"/>
                  </a:cubicBezTo>
                  <a:cubicBezTo>
                    <a:pt x="430279" y="261494"/>
                    <a:pt x="423327" y="275375"/>
                    <a:pt x="423327" y="275375"/>
                  </a:cubicBezTo>
                  <a:cubicBezTo>
                    <a:pt x="423306" y="275395"/>
                    <a:pt x="416375" y="282346"/>
                    <a:pt x="416375" y="303135"/>
                  </a:cubicBezTo>
                  <a:cubicBezTo>
                    <a:pt x="416375" y="323956"/>
                    <a:pt x="360758" y="344776"/>
                    <a:pt x="360758" y="344776"/>
                  </a:cubicBezTo>
                  <a:cubicBezTo>
                    <a:pt x="360715" y="344768"/>
                    <a:pt x="291236" y="330890"/>
                    <a:pt x="291236" y="310075"/>
                  </a:cubicBezTo>
                  <a:cubicBezTo>
                    <a:pt x="291236" y="296195"/>
                    <a:pt x="291236" y="290990"/>
                    <a:pt x="291236" y="289255"/>
                  </a:cubicBezTo>
                  <a:cubicBezTo>
                    <a:pt x="291221" y="289239"/>
                    <a:pt x="277328" y="275363"/>
                    <a:pt x="270380" y="254554"/>
                  </a:cubicBezTo>
                  <a:cubicBezTo>
                    <a:pt x="263428" y="233734"/>
                    <a:pt x="263428" y="212913"/>
                    <a:pt x="263428" y="212913"/>
                  </a:cubicBezTo>
                  <a:cubicBezTo>
                    <a:pt x="263414" y="212942"/>
                    <a:pt x="256468" y="226786"/>
                    <a:pt x="249524" y="219853"/>
                  </a:cubicBezTo>
                  <a:cubicBezTo>
                    <a:pt x="242571" y="205973"/>
                    <a:pt x="242571" y="185152"/>
                    <a:pt x="235619" y="171272"/>
                  </a:cubicBezTo>
                  <a:cubicBezTo>
                    <a:pt x="228667" y="157392"/>
                    <a:pt x="235619" y="143511"/>
                    <a:pt x="242571" y="143511"/>
                  </a:cubicBezTo>
                  <a:lnTo>
                    <a:pt x="244562" y="142802"/>
                  </a:lnTo>
                  <a:cubicBezTo>
                    <a:pt x="244335" y="142100"/>
                    <a:pt x="244001" y="142075"/>
                    <a:pt x="243660" y="142075"/>
                  </a:cubicBezTo>
                  <a:cubicBezTo>
                    <a:pt x="236707" y="135164"/>
                    <a:pt x="229755" y="142075"/>
                    <a:pt x="229755" y="142075"/>
                  </a:cubicBezTo>
                  <a:cubicBezTo>
                    <a:pt x="229755" y="142038"/>
                    <a:pt x="229764" y="128254"/>
                    <a:pt x="236707" y="128254"/>
                  </a:cubicBezTo>
                  <a:cubicBezTo>
                    <a:pt x="243660" y="128254"/>
                    <a:pt x="243660" y="114434"/>
                    <a:pt x="243660" y="114434"/>
                  </a:cubicBezTo>
                  <a:cubicBezTo>
                    <a:pt x="243647" y="114447"/>
                    <a:pt x="236701" y="121344"/>
                    <a:pt x="229755" y="121344"/>
                  </a:cubicBezTo>
                  <a:cubicBezTo>
                    <a:pt x="229730" y="121344"/>
                    <a:pt x="222803" y="121344"/>
                    <a:pt x="222803" y="121344"/>
                  </a:cubicBezTo>
                  <a:cubicBezTo>
                    <a:pt x="222831" y="121330"/>
                    <a:pt x="236707" y="114412"/>
                    <a:pt x="236707" y="93703"/>
                  </a:cubicBezTo>
                  <a:cubicBezTo>
                    <a:pt x="236707" y="72972"/>
                    <a:pt x="243660" y="24600"/>
                    <a:pt x="299277" y="3869"/>
                  </a:cubicBezTo>
                  <a:cubicBezTo>
                    <a:pt x="313181" y="414"/>
                    <a:pt x="326216" y="-450"/>
                    <a:pt x="337948"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37" name="Freeform 12"/>
            <p:cNvSpPr/>
            <p:nvPr/>
          </p:nvSpPr>
          <p:spPr bwMode="auto">
            <a:xfrm>
              <a:off x="3496067" y="2273334"/>
              <a:ext cx="695136" cy="2294305"/>
            </a:xfrm>
            <a:custGeom>
              <a:avLst/>
              <a:gdLst/>
              <a:ahLst/>
              <a:cxnLst/>
              <a:rect l="l" t="t" r="r" b="b"/>
              <a:pathLst>
                <a:path w="695136" h="2294305">
                  <a:moveTo>
                    <a:pt x="443981" y="335982"/>
                  </a:moveTo>
                  <a:cubicBezTo>
                    <a:pt x="443981" y="335982"/>
                    <a:pt x="478667" y="342902"/>
                    <a:pt x="492542" y="349822"/>
                  </a:cubicBezTo>
                  <a:cubicBezTo>
                    <a:pt x="499479" y="349822"/>
                    <a:pt x="541102" y="356742"/>
                    <a:pt x="561914" y="377501"/>
                  </a:cubicBezTo>
                  <a:cubicBezTo>
                    <a:pt x="575781" y="391334"/>
                    <a:pt x="617369" y="384428"/>
                    <a:pt x="617412" y="384421"/>
                  </a:cubicBezTo>
                  <a:cubicBezTo>
                    <a:pt x="617412" y="384421"/>
                    <a:pt x="665972" y="405181"/>
                    <a:pt x="672909" y="412101"/>
                  </a:cubicBezTo>
                  <a:cubicBezTo>
                    <a:pt x="679847" y="419021"/>
                    <a:pt x="672909" y="474380"/>
                    <a:pt x="679847" y="515899"/>
                  </a:cubicBezTo>
                  <a:cubicBezTo>
                    <a:pt x="679847" y="515899"/>
                    <a:pt x="679847" y="654296"/>
                    <a:pt x="679847" y="744254"/>
                  </a:cubicBezTo>
                  <a:cubicBezTo>
                    <a:pt x="679847" y="778235"/>
                    <a:pt x="679847" y="793455"/>
                    <a:pt x="679847" y="799613"/>
                  </a:cubicBezTo>
                  <a:cubicBezTo>
                    <a:pt x="679847" y="813453"/>
                    <a:pt x="700658" y="931091"/>
                    <a:pt x="693721" y="944931"/>
                  </a:cubicBezTo>
                  <a:cubicBezTo>
                    <a:pt x="686784" y="965690"/>
                    <a:pt x="624349" y="1145607"/>
                    <a:pt x="624349" y="1159447"/>
                  </a:cubicBezTo>
                  <a:cubicBezTo>
                    <a:pt x="617412" y="1166366"/>
                    <a:pt x="624349" y="1214806"/>
                    <a:pt x="617412" y="1214806"/>
                  </a:cubicBezTo>
                  <a:cubicBezTo>
                    <a:pt x="596615" y="1235550"/>
                    <a:pt x="589673" y="1249384"/>
                    <a:pt x="589663" y="1249405"/>
                  </a:cubicBezTo>
                  <a:cubicBezTo>
                    <a:pt x="596600" y="1311684"/>
                    <a:pt x="582726" y="1408562"/>
                    <a:pt x="589663" y="1450081"/>
                  </a:cubicBezTo>
                  <a:cubicBezTo>
                    <a:pt x="589663" y="1505440"/>
                    <a:pt x="575788" y="1623078"/>
                    <a:pt x="582726" y="1685357"/>
                  </a:cubicBezTo>
                  <a:cubicBezTo>
                    <a:pt x="596600" y="1740716"/>
                    <a:pt x="589663" y="1982911"/>
                    <a:pt x="589663" y="2059030"/>
                  </a:cubicBezTo>
                  <a:cubicBezTo>
                    <a:pt x="584460" y="2121309"/>
                    <a:pt x="587061" y="2117416"/>
                    <a:pt x="582726" y="2121308"/>
                  </a:cubicBezTo>
                  <a:cubicBezTo>
                    <a:pt x="582726" y="2142040"/>
                    <a:pt x="582726" y="2148969"/>
                    <a:pt x="582726" y="2148988"/>
                  </a:cubicBezTo>
                  <a:cubicBezTo>
                    <a:pt x="582726" y="2148988"/>
                    <a:pt x="589663" y="2162828"/>
                    <a:pt x="589663" y="2183587"/>
                  </a:cubicBezTo>
                  <a:cubicBezTo>
                    <a:pt x="582733" y="2204326"/>
                    <a:pt x="575802" y="2204347"/>
                    <a:pt x="575788" y="2204347"/>
                  </a:cubicBezTo>
                  <a:cubicBezTo>
                    <a:pt x="575788" y="2204347"/>
                    <a:pt x="575788" y="2204347"/>
                    <a:pt x="589663" y="2266626"/>
                  </a:cubicBezTo>
                  <a:cubicBezTo>
                    <a:pt x="589663" y="2266626"/>
                    <a:pt x="589663" y="2266626"/>
                    <a:pt x="590530" y="2266626"/>
                  </a:cubicBezTo>
                  <a:lnTo>
                    <a:pt x="596600" y="2266626"/>
                  </a:lnTo>
                  <a:cubicBezTo>
                    <a:pt x="596600" y="2266626"/>
                    <a:pt x="596600" y="2266626"/>
                    <a:pt x="596600" y="2287385"/>
                  </a:cubicBezTo>
                  <a:cubicBezTo>
                    <a:pt x="575788" y="2294305"/>
                    <a:pt x="561914" y="2294305"/>
                    <a:pt x="527228" y="2294305"/>
                  </a:cubicBezTo>
                  <a:cubicBezTo>
                    <a:pt x="485624" y="2294305"/>
                    <a:pt x="457881" y="2287392"/>
                    <a:pt x="457856" y="2287385"/>
                  </a:cubicBezTo>
                  <a:cubicBezTo>
                    <a:pt x="457856" y="2287385"/>
                    <a:pt x="457856" y="2287385"/>
                    <a:pt x="457856" y="2266626"/>
                  </a:cubicBezTo>
                  <a:cubicBezTo>
                    <a:pt x="457856" y="2266626"/>
                    <a:pt x="457856" y="2266626"/>
                    <a:pt x="458723" y="2265761"/>
                  </a:cubicBezTo>
                  <a:lnTo>
                    <a:pt x="464793" y="2259706"/>
                  </a:lnTo>
                  <a:cubicBezTo>
                    <a:pt x="464793" y="2259706"/>
                    <a:pt x="464793" y="2259706"/>
                    <a:pt x="464793" y="2232026"/>
                  </a:cubicBezTo>
                  <a:cubicBezTo>
                    <a:pt x="464793" y="2232026"/>
                    <a:pt x="464793" y="2232026"/>
                    <a:pt x="464793" y="2231161"/>
                  </a:cubicBezTo>
                  <a:lnTo>
                    <a:pt x="464793" y="2225106"/>
                  </a:lnTo>
                  <a:cubicBezTo>
                    <a:pt x="464793" y="2225106"/>
                    <a:pt x="464793" y="2225106"/>
                    <a:pt x="463926" y="2224241"/>
                  </a:cubicBezTo>
                  <a:lnTo>
                    <a:pt x="457856" y="2218187"/>
                  </a:lnTo>
                  <a:cubicBezTo>
                    <a:pt x="457856" y="2218187"/>
                    <a:pt x="457856" y="2218187"/>
                    <a:pt x="456989" y="2218187"/>
                  </a:cubicBezTo>
                  <a:lnTo>
                    <a:pt x="450919" y="2218187"/>
                  </a:lnTo>
                  <a:cubicBezTo>
                    <a:pt x="450919" y="2211267"/>
                    <a:pt x="471730" y="2197427"/>
                    <a:pt x="457856" y="2190507"/>
                  </a:cubicBezTo>
                  <a:cubicBezTo>
                    <a:pt x="443981" y="2190507"/>
                    <a:pt x="437044" y="2155908"/>
                    <a:pt x="437044" y="2135148"/>
                  </a:cubicBezTo>
                  <a:cubicBezTo>
                    <a:pt x="437044" y="2107469"/>
                    <a:pt x="416233" y="1941392"/>
                    <a:pt x="402358" y="1872193"/>
                  </a:cubicBezTo>
                  <a:cubicBezTo>
                    <a:pt x="388484" y="1796075"/>
                    <a:pt x="402358" y="1650757"/>
                    <a:pt x="388484" y="1588479"/>
                  </a:cubicBezTo>
                  <a:cubicBezTo>
                    <a:pt x="381548" y="1533131"/>
                    <a:pt x="367678" y="1429363"/>
                    <a:pt x="367672" y="1429322"/>
                  </a:cubicBezTo>
                  <a:cubicBezTo>
                    <a:pt x="367672" y="1429322"/>
                    <a:pt x="339923" y="1574639"/>
                    <a:pt x="339923" y="1602318"/>
                  </a:cubicBezTo>
                  <a:cubicBezTo>
                    <a:pt x="339923" y="1629998"/>
                    <a:pt x="291363" y="1886033"/>
                    <a:pt x="291363" y="1920632"/>
                  </a:cubicBezTo>
                  <a:cubicBezTo>
                    <a:pt x="291363" y="1955232"/>
                    <a:pt x="319112" y="2135148"/>
                    <a:pt x="326049" y="2162828"/>
                  </a:cubicBezTo>
                  <a:cubicBezTo>
                    <a:pt x="326049" y="2183587"/>
                    <a:pt x="326049" y="2225106"/>
                    <a:pt x="326049" y="2232026"/>
                  </a:cubicBezTo>
                  <a:cubicBezTo>
                    <a:pt x="326049" y="2238937"/>
                    <a:pt x="332968" y="2245848"/>
                    <a:pt x="332986" y="2245866"/>
                  </a:cubicBezTo>
                  <a:cubicBezTo>
                    <a:pt x="332986" y="2245866"/>
                    <a:pt x="332986" y="2245866"/>
                    <a:pt x="332986" y="2266626"/>
                  </a:cubicBezTo>
                  <a:cubicBezTo>
                    <a:pt x="332986" y="2266626"/>
                    <a:pt x="332986" y="2266626"/>
                    <a:pt x="249740" y="2280465"/>
                  </a:cubicBezTo>
                  <a:cubicBezTo>
                    <a:pt x="249740" y="2280465"/>
                    <a:pt x="249740" y="2280465"/>
                    <a:pt x="249740" y="2259706"/>
                  </a:cubicBezTo>
                  <a:cubicBezTo>
                    <a:pt x="249740" y="2259706"/>
                    <a:pt x="180367" y="2280465"/>
                    <a:pt x="110995" y="2287385"/>
                  </a:cubicBezTo>
                  <a:cubicBezTo>
                    <a:pt x="48584" y="2287385"/>
                    <a:pt x="37" y="2273556"/>
                    <a:pt x="0" y="2273546"/>
                  </a:cubicBezTo>
                  <a:cubicBezTo>
                    <a:pt x="0" y="2273546"/>
                    <a:pt x="0" y="2273546"/>
                    <a:pt x="0" y="2272681"/>
                  </a:cubicBezTo>
                  <a:lnTo>
                    <a:pt x="0" y="2266626"/>
                  </a:lnTo>
                  <a:cubicBezTo>
                    <a:pt x="0" y="2266626"/>
                    <a:pt x="0" y="2266626"/>
                    <a:pt x="867" y="2266626"/>
                  </a:cubicBezTo>
                  <a:lnTo>
                    <a:pt x="6937" y="2266626"/>
                  </a:lnTo>
                  <a:cubicBezTo>
                    <a:pt x="6937" y="2266626"/>
                    <a:pt x="6937" y="2245866"/>
                    <a:pt x="13874" y="2245866"/>
                  </a:cubicBezTo>
                  <a:cubicBezTo>
                    <a:pt x="27749" y="2238946"/>
                    <a:pt x="76309" y="2245866"/>
                    <a:pt x="97121" y="2238946"/>
                  </a:cubicBezTo>
                  <a:cubicBezTo>
                    <a:pt x="117922" y="2232030"/>
                    <a:pt x="145654" y="2211287"/>
                    <a:pt x="145681" y="2211267"/>
                  </a:cubicBezTo>
                  <a:cubicBezTo>
                    <a:pt x="145681" y="2211267"/>
                    <a:pt x="145681" y="2211267"/>
                    <a:pt x="144814" y="2210402"/>
                  </a:cubicBezTo>
                  <a:lnTo>
                    <a:pt x="138744" y="2204347"/>
                  </a:lnTo>
                  <a:cubicBezTo>
                    <a:pt x="138744" y="2204347"/>
                    <a:pt x="145681" y="2197427"/>
                    <a:pt x="152618" y="2197427"/>
                  </a:cubicBezTo>
                  <a:cubicBezTo>
                    <a:pt x="159556" y="2190507"/>
                    <a:pt x="152618" y="2169748"/>
                    <a:pt x="145681" y="2162828"/>
                  </a:cubicBezTo>
                  <a:cubicBezTo>
                    <a:pt x="138744" y="2148988"/>
                    <a:pt x="166493" y="2128228"/>
                    <a:pt x="159556" y="2114389"/>
                  </a:cubicBezTo>
                  <a:cubicBezTo>
                    <a:pt x="145681" y="2107469"/>
                    <a:pt x="138744" y="2079789"/>
                    <a:pt x="138744" y="2045190"/>
                  </a:cubicBezTo>
                  <a:cubicBezTo>
                    <a:pt x="145681" y="2003671"/>
                    <a:pt x="145681" y="1713036"/>
                    <a:pt x="138744" y="1664597"/>
                  </a:cubicBezTo>
                  <a:cubicBezTo>
                    <a:pt x="131807" y="1616158"/>
                    <a:pt x="138744" y="1498520"/>
                    <a:pt x="124870" y="1429322"/>
                  </a:cubicBezTo>
                  <a:cubicBezTo>
                    <a:pt x="117933" y="1360132"/>
                    <a:pt x="110997" y="1201008"/>
                    <a:pt x="110995" y="1200966"/>
                  </a:cubicBezTo>
                  <a:cubicBezTo>
                    <a:pt x="110995" y="1200966"/>
                    <a:pt x="110995" y="1200966"/>
                    <a:pt x="90184" y="1194046"/>
                  </a:cubicBezTo>
                  <a:cubicBezTo>
                    <a:pt x="90184" y="1194046"/>
                    <a:pt x="83246" y="1194046"/>
                    <a:pt x="76309" y="1180206"/>
                  </a:cubicBezTo>
                  <a:cubicBezTo>
                    <a:pt x="69372" y="1166366"/>
                    <a:pt x="69372" y="1069488"/>
                    <a:pt x="69372" y="1034889"/>
                  </a:cubicBezTo>
                  <a:cubicBezTo>
                    <a:pt x="76309" y="1000290"/>
                    <a:pt x="62435" y="854972"/>
                    <a:pt x="69372" y="778854"/>
                  </a:cubicBezTo>
                  <a:cubicBezTo>
                    <a:pt x="76309" y="695815"/>
                    <a:pt x="41623" y="522819"/>
                    <a:pt x="48560" y="502059"/>
                  </a:cubicBezTo>
                  <a:cubicBezTo>
                    <a:pt x="48560" y="481299"/>
                    <a:pt x="62435" y="474380"/>
                    <a:pt x="62435" y="453620"/>
                  </a:cubicBezTo>
                  <a:cubicBezTo>
                    <a:pt x="62435" y="432860"/>
                    <a:pt x="62435" y="405181"/>
                    <a:pt x="76309" y="391341"/>
                  </a:cubicBezTo>
                  <a:cubicBezTo>
                    <a:pt x="83240" y="391341"/>
                    <a:pt x="97097" y="391341"/>
                    <a:pt x="97121" y="391341"/>
                  </a:cubicBezTo>
                  <a:cubicBezTo>
                    <a:pt x="97121" y="391341"/>
                    <a:pt x="97121" y="391341"/>
                    <a:pt x="166493" y="370581"/>
                  </a:cubicBezTo>
                  <a:cubicBezTo>
                    <a:pt x="166493" y="370581"/>
                    <a:pt x="173430" y="363662"/>
                    <a:pt x="187304" y="363662"/>
                  </a:cubicBezTo>
                  <a:cubicBezTo>
                    <a:pt x="201179" y="356742"/>
                    <a:pt x="228928" y="342902"/>
                    <a:pt x="242802" y="342902"/>
                  </a:cubicBezTo>
                  <a:cubicBezTo>
                    <a:pt x="249735" y="335987"/>
                    <a:pt x="256667" y="356712"/>
                    <a:pt x="256677" y="356742"/>
                  </a:cubicBezTo>
                  <a:cubicBezTo>
                    <a:pt x="256677" y="356742"/>
                    <a:pt x="242830" y="356742"/>
                    <a:pt x="242802" y="356742"/>
                  </a:cubicBezTo>
                  <a:cubicBezTo>
                    <a:pt x="235865" y="363662"/>
                    <a:pt x="263614" y="412101"/>
                    <a:pt x="277488" y="460540"/>
                  </a:cubicBezTo>
                  <a:cubicBezTo>
                    <a:pt x="291359" y="508964"/>
                    <a:pt x="319095" y="557388"/>
                    <a:pt x="319112" y="557418"/>
                  </a:cubicBezTo>
                  <a:cubicBezTo>
                    <a:pt x="319112" y="557418"/>
                    <a:pt x="332986" y="502059"/>
                    <a:pt x="339923" y="495139"/>
                  </a:cubicBezTo>
                  <a:cubicBezTo>
                    <a:pt x="346852" y="495139"/>
                    <a:pt x="353780" y="488236"/>
                    <a:pt x="353798" y="488219"/>
                  </a:cubicBezTo>
                  <a:cubicBezTo>
                    <a:pt x="353798" y="488219"/>
                    <a:pt x="353798" y="488219"/>
                    <a:pt x="352063" y="488219"/>
                  </a:cubicBezTo>
                  <a:lnTo>
                    <a:pt x="339923" y="488219"/>
                  </a:lnTo>
                  <a:cubicBezTo>
                    <a:pt x="339923" y="488219"/>
                    <a:pt x="326049" y="474380"/>
                    <a:pt x="326049" y="467460"/>
                  </a:cubicBezTo>
                  <a:cubicBezTo>
                    <a:pt x="326049" y="460540"/>
                    <a:pt x="353798" y="425940"/>
                    <a:pt x="360735" y="425940"/>
                  </a:cubicBezTo>
                  <a:cubicBezTo>
                    <a:pt x="367669" y="419024"/>
                    <a:pt x="381533" y="460498"/>
                    <a:pt x="381547" y="460540"/>
                  </a:cubicBezTo>
                  <a:cubicBezTo>
                    <a:pt x="381547" y="467455"/>
                    <a:pt x="367691" y="481280"/>
                    <a:pt x="367672" y="481299"/>
                  </a:cubicBezTo>
                  <a:cubicBezTo>
                    <a:pt x="367672" y="481299"/>
                    <a:pt x="374609" y="508979"/>
                    <a:pt x="374609" y="529738"/>
                  </a:cubicBezTo>
                  <a:cubicBezTo>
                    <a:pt x="374609" y="550480"/>
                    <a:pt x="381535" y="564314"/>
                    <a:pt x="381547" y="564338"/>
                  </a:cubicBezTo>
                  <a:cubicBezTo>
                    <a:pt x="381547" y="564338"/>
                    <a:pt x="409295" y="522819"/>
                    <a:pt x="416233" y="508979"/>
                  </a:cubicBezTo>
                  <a:cubicBezTo>
                    <a:pt x="423170" y="495139"/>
                    <a:pt x="464793" y="419021"/>
                    <a:pt x="464793" y="384421"/>
                  </a:cubicBezTo>
                  <a:cubicBezTo>
                    <a:pt x="464793" y="342929"/>
                    <a:pt x="444009" y="335991"/>
                    <a:pt x="443981" y="335982"/>
                  </a:cubicBezTo>
                  <a:close/>
                  <a:moveTo>
                    <a:pt x="344369" y="198"/>
                  </a:moveTo>
                  <a:cubicBezTo>
                    <a:pt x="379411" y="2142"/>
                    <a:pt x="402773" y="17690"/>
                    <a:pt x="402773" y="17690"/>
                  </a:cubicBezTo>
                  <a:cubicBezTo>
                    <a:pt x="402787" y="17662"/>
                    <a:pt x="409716" y="3877"/>
                    <a:pt x="430461" y="10780"/>
                  </a:cubicBezTo>
                  <a:cubicBezTo>
                    <a:pt x="451226" y="24600"/>
                    <a:pt x="471992" y="52241"/>
                    <a:pt x="465070" y="79882"/>
                  </a:cubicBezTo>
                  <a:cubicBezTo>
                    <a:pt x="458148" y="107523"/>
                    <a:pt x="471992" y="121344"/>
                    <a:pt x="471992" y="121344"/>
                  </a:cubicBezTo>
                  <a:lnTo>
                    <a:pt x="459879" y="115297"/>
                  </a:lnTo>
                  <a:cubicBezTo>
                    <a:pt x="458142" y="114458"/>
                    <a:pt x="455156" y="126386"/>
                    <a:pt x="453160" y="136534"/>
                  </a:cubicBezTo>
                  <a:cubicBezTo>
                    <a:pt x="453947" y="134555"/>
                    <a:pt x="455545" y="132093"/>
                    <a:pt x="458023" y="129631"/>
                  </a:cubicBezTo>
                  <a:cubicBezTo>
                    <a:pt x="461078" y="129631"/>
                    <a:pt x="465007" y="140041"/>
                    <a:pt x="465007" y="150452"/>
                  </a:cubicBezTo>
                  <a:cubicBezTo>
                    <a:pt x="465007" y="164332"/>
                    <a:pt x="465007" y="185152"/>
                    <a:pt x="465007" y="192093"/>
                  </a:cubicBezTo>
                  <a:cubicBezTo>
                    <a:pt x="465007" y="199033"/>
                    <a:pt x="451039" y="205973"/>
                    <a:pt x="451039" y="205973"/>
                  </a:cubicBezTo>
                  <a:lnTo>
                    <a:pt x="447546" y="198165"/>
                  </a:lnTo>
                  <a:cubicBezTo>
                    <a:pt x="445800" y="197298"/>
                    <a:pt x="444054" y="199033"/>
                    <a:pt x="444054" y="205973"/>
                  </a:cubicBezTo>
                  <a:cubicBezTo>
                    <a:pt x="444054" y="212913"/>
                    <a:pt x="437070" y="233734"/>
                    <a:pt x="437070" y="247614"/>
                  </a:cubicBezTo>
                  <a:cubicBezTo>
                    <a:pt x="430086" y="261494"/>
                    <a:pt x="423102" y="275375"/>
                    <a:pt x="423102" y="275375"/>
                  </a:cubicBezTo>
                  <a:cubicBezTo>
                    <a:pt x="423102" y="275399"/>
                    <a:pt x="423102" y="282351"/>
                    <a:pt x="423102" y="303135"/>
                  </a:cubicBezTo>
                  <a:cubicBezTo>
                    <a:pt x="423102" y="323956"/>
                    <a:pt x="360244" y="344776"/>
                    <a:pt x="360244" y="344776"/>
                  </a:cubicBezTo>
                  <a:cubicBezTo>
                    <a:pt x="360190" y="344765"/>
                    <a:pt x="290403" y="330888"/>
                    <a:pt x="290403" y="310075"/>
                  </a:cubicBezTo>
                  <a:cubicBezTo>
                    <a:pt x="290403" y="296195"/>
                    <a:pt x="290403" y="290990"/>
                    <a:pt x="290403" y="289255"/>
                  </a:cubicBezTo>
                  <a:cubicBezTo>
                    <a:pt x="290386" y="289238"/>
                    <a:pt x="276430" y="275362"/>
                    <a:pt x="269450" y="254554"/>
                  </a:cubicBezTo>
                  <a:cubicBezTo>
                    <a:pt x="262466" y="233734"/>
                    <a:pt x="262466" y="212913"/>
                    <a:pt x="262466" y="212913"/>
                  </a:cubicBezTo>
                  <a:cubicBezTo>
                    <a:pt x="262452" y="212941"/>
                    <a:pt x="255474" y="226786"/>
                    <a:pt x="248497" y="219853"/>
                  </a:cubicBezTo>
                  <a:cubicBezTo>
                    <a:pt x="241513" y="205973"/>
                    <a:pt x="241513" y="185152"/>
                    <a:pt x="234529" y="171272"/>
                  </a:cubicBezTo>
                  <a:cubicBezTo>
                    <a:pt x="234529" y="157392"/>
                    <a:pt x="234529" y="143511"/>
                    <a:pt x="241513" y="143511"/>
                  </a:cubicBezTo>
                  <a:lnTo>
                    <a:pt x="244469" y="142804"/>
                  </a:lnTo>
                  <a:cubicBezTo>
                    <a:pt x="244244" y="142100"/>
                    <a:pt x="243910" y="142075"/>
                    <a:pt x="243569" y="142075"/>
                  </a:cubicBezTo>
                  <a:cubicBezTo>
                    <a:pt x="236647" y="135164"/>
                    <a:pt x="229725" y="142075"/>
                    <a:pt x="229725" y="142075"/>
                  </a:cubicBezTo>
                  <a:cubicBezTo>
                    <a:pt x="229725" y="142038"/>
                    <a:pt x="229734" y="128254"/>
                    <a:pt x="236647" y="128254"/>
                  </a:cubicBezTo>
                  <a:cubicBezTo>
                    <a:pt x="243569" y="128254"/>
                    <a:pt x="243569" y="114434"/>
                    <a:pt x="243569" y="114434"/>
                  </a:cubicBezTo>
                  <a:cubicBezTo>
                    <a:pt x="243553" y="114449"/>
                    <a:pt x="236647" y="121344"/>
                    <a:pt x="236647" y="121344"/>
                  </a:cubicBezTo>
                  <a:cubicBezTo>
                    <a:pt x="229725" y="121344"/>
                    <a:pt x="222803" y="121344"/>
                    <a:pt x="222803" y="121344"/>
                  </a:cubicBezTo>
                  <a:cubicBezTo>
                    <a:pt x="222834" y="121328"/>
                    <a:pt x="236647" y="114410"/>
                    <a:pt x="236647" y="93703"/>
                  </a:cubicBezTo>
                  <a:cubicBezTo>
                    <a:pt x="236647" y="72972"/>
                    <a:pt x="250491" y="24600"/>
                    <a:pt x="305866" y="3869"/>
                  </a:cubicBezTo>
                  <a:cubicBezTo>
                    <a:pt x="319710" y="414"/>
                    <a:pt x="332689" y="-450"/>
                    <a:pt x="344369"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38" name="Freeform 15"/>
            <p:cNvSpPr/>
            <p:nvPr/>
          </p:nvSpPr>
          <p:spPr bwMode="auto">
            <a:xfrm>
              <a:off x="4313990" y="2273334"/>
              <a:ext cx="692752" cy="2294305"/>
            </a:xfrm>
            <a:custGeom>
              <a:avLst/>
              <a:gdLst/>
              <a:ahLst/>
              <a:cxnLst/>
              <a:rect l="l" t="t" r="r" b="b"/>
              <a:pathLst>
                <a:path w="692752" h="2294305">
                  <a:moveTo>
                    <a:pt x="442124" y="335982"/>
                  </a:moveTo>
                  <a:cubicBezTo>
                    <a:pt x="442124" y="335982"/>
                    <a:pt x="476665" y="342902"/>
                    <a:pt x="490481" y="349822"/>
                  </a:cubicBezTo>
                  <a:cubicBezTo>
                    <a:pt x="504297" y="349822"/>
                    <a:pt x="538838" y="356742"/>
                    <a:pt x="559563" y="377501"/>
                  </a:cubicBezTo>
                  <a:cubicBezTo>
                    <a:pt x="580277" y="391335"/>
                    <a:pt x="614796" y="384428"/>
                    <a:pt x="614828" y="384421"/>
                  </a:cubicBezTo>
                  <a:cubicBezTo>
                    <a:pt x="614828" y="384421"/>
                    <a:pt x="670094" y="405181"/>
                    <a:pt x="670094" y="412101"/>
                  </a:cubicBezTo>
                  <a:cubicBezTo>
                    <a:pt x="677002" y="419021"/>
                    <a:pt x="670094" y="474380"/>
                    <a:pt x="677002" y="515899"/>
                  </a:cubicBezTo>
                  <a:cubicBezTo>
                    <a:pt x="677002" y="515899"/>
                    <a:pt x="677002" y="654296"/>
                    <a:pt x="677002" y="744254"/>
                  </a:cubicBezTo>
                  <a:cubicBezTo>
                    <a:pt x="677002" y="819070"/>
                    <a:pt x="681780" y="802946"/>
                    <a:pt x="683910" y="799613"/>
                  </a:cubicBezTo>
                  <a:cubicBezTo>
                    <a:pt x="683910" y="813453"/>
                    <a:pt x="697726" y="931091"/>
                    <a:pt x="690818" y="944931"/>
                  </a:cubicBezTo>
                  <a:cubicBezTo>
                    <a:pt x="683910" y="965690"/>
                    <a:pt x="628644" y="1145607"/>
                    <a:pt x="621736" y="1159447"/>
                  </a:cubicBezTo>
                  <a:cubicBezTo>
                    <a:pt x="614828" y="1166366"/>
                    <a:pt x="621736" y="1214806"/>
                    <a:pt x="614828" y="1214806"/>
                  </a:cubicBezTo>
                  <a:cubicBezTo>
                    <a:pt x="594127" y="1235541"/>
                    <a:pt x="594104" y="1249373"/>
                    <a:pt x="594104" y="1249405"/>
                  </a:cubicBezTo>
                  <a:cubicBezTo>
                    <a:pt x="594104" y="1249405"/>
                    <a:pt x="594104" y="1249405"/>
                    <a:pt x="593240" y="1249405"/>
                  </a:cubicBezTo>
                  <a:lnTo>
                    <a:pt x="587195" y="1249405"/>
                  </a:lnTo>
                  <a:cubicBezTo>
                    <a:pt x="594104" y="1311684"/>
                    <a:pt x="580287" y="1408562"/>
                    <a:pt x="587195" y="1450081"/>
                  </a:cubicBezTo>
                  <a:cubicBezTo>
                    <a:pt x="587195" y="1505440"/>
                    <a:pt x="573379" y="1623078"/>
                    <a:pt x="587195" y="1685357"/>
                  </a:cubicBezTo>
                  <a:cubicBezTo>
                    <a:pt x="594104" y="1740716"/>
                    <a:pt x="587195" y="1982911"/>
                    <a:pt x="587195" y="2059030"/>
                  </a:cubicBezTo>
                  <a:cubicBezTo>
                    <a:pt x="582014" y="2121309"/>
                    <a:pt x="584605" y="2117416"/>
                    <a:pt x="580287" y="2121308"/>
                  </a:cubicBezTo>
                  <a:cubicBezTo>
                    <a:pt x="580287" y="2142043"/>
                    <a:pt x="587179" y="2148972"/>
                    <a:pt x="587195" y="2148988"/>
                  </a:cubicBezTo>
                  <a:cubicBezTo>
                    <a:pt x="587195" y="2148988"/>
                    <a:pt x="587195" y="2162828"/>
                    <a:pt x="587195" y="2183587"/>
                  </a:cubicBezTo>
                  <a:cubicBezTo>
                    <a:pt x="580296" y="2204321"/>
                    <a:pt x="573396" y="2204347"/>
                    <a:pt x="573379" y="2204347"/>
                  </a:cubicBezTo>
                  <a:cubicBezTo>
                    <a:pt x="573379" y="2204347"/>
                    <a:pt x="573379" y="2204347"/>
                    <a:pt x="594104" y="2266626"/>
                  </a:cubicBezTo>
                  <a:cubicBezTo>
                    <a:pt x="594104" y="2266626"/>
                    <a:pt x="594104" y="2266626"/>
                    <a:pt x="594967" y="2266626"/>
                  </a:cubicBezTo>
                  <a:lnTo>
                    <a:pt x="601012" y="2266626"/>
                  </a:lnTo>
                  <a:cubicBezTo>
                    <a:pt x="601012" y="2266626"/>
                    <a:pt x="601012" y="2266626"/>
                    <a:pt x="601012" y="2287385"/>
                  </a:cubicBezTo>
                  <a:cubicBezTo>
                    <a:pt x="573379" y="2294305"/>
                    <a:pt x="559563" y="2294305"/>
                    <a:pt x="525022" y="2294305"/>
                  </a:cubicBezTo>
                  <a:cubicBezTo>
                    <a:pt x="490499" y="2294305"/>
                    <a:pt x="455978" y="2287393"/>
                    <a:pt x="455940" y="2287385"/>
                  </a:cubicBezTo>
                  <a:cubicBezTo>
                    <a:pt x="455940" y="2287385"/>
                    <a:pt x="455940" y="2287385"/>
                    <a:pt x="455940" y="2266626"/>
                  </a:cubicBezTo>
                  <a:cubicBezTo>
                    <a:pt x="455940" y="2266626"/>
                    <a:pt x="455940" y="2266626"/>
                    <a:pt x="456804" y="2265761"/>
                  </a:cubicBezTo>
                  <a:lnTo>
                    <a:pt x="462848" y="2259706"/>
                  </a:lnTo>
                  <a:cubicBezTo>
                    <a:pt x="462848" y="2259706"/>
                    <a:pt x="462848" y="2259706"/>
                    <a:pt x="462848" y="2232026"/>
                  </a:cubicBezTo>
                  <a:cubicBezTo>
                    <a:pt x="462848" y="2232026"/>
                    <a:pt x="462848" y="2232026"/>
                    <a:pt x="462848" y="2231161"/>
                  </a:cubicBezTo>
                  <a:lnTo>
                    <a:pt x="462848" y="2225106"/>
                  </a:lnTo>
                  <a:cubicBezTo>
                    <a:pt x="462848" y="2225106"/>
                    <a:pt x="462848" y="2225106"/>
                    <a:pt x="462848" y="2224241"/>
                  </a:cubicBezTo>
                  <a:lnTo>
                    <a:pt x="462848" y="2218187"/>
                  </a:lnTo>
                  <a:cubicBezTo>
                    <a:pt x="462848" y="2218187"/>
                    <a:pt x="455961" y="2218187"/>
                    <a:pt x="455940" y="2218187"/>
                  </a:cubicBezTo>
                  <a:cubicBezTo>
                    <a:pt x="449032" y="2211267"/>
                    <a:pt x="469756" y="2197427"/>
                    <a:pt x="455940" y="2190507"/>
                  </a:cubicBezTo>
                  <a:cubicBezTo>
                    <a:pt x="442124" y="2190507"/>
                    <a:pt x="435215" y="2155908"/>
                    <a:pt x="435215" y="2135148"/>
                  </a:cubicBezTo>
                  <a:cubicBezTo>
                    <a:pt x="435215" y="2107469"/>
                    <a:pt x="414491" y="1941392"/>
                    <a:pt x="400675" y="1872193"/>
                  </a:cubicBezTo>
                  <a:cubicBezTo>
                    <a:pt x="393766" y="1796075"/>
                    <a:pt x="400675" y="1650757"/>
                    <a:pt x="393766" y="1588479"/>
                  </a:cubicBezTo>
                  <a:cubicBezTo>
                    <a:pt x="386860" y="1533131"/>
                    <a:pt x="366142" y="1429364"/>
                    <a:pt x="366134" y="1429322"/>
                  </a:cubicBezTo>
                  <a:cubicBezTo>
                    <a:pt x="366134" y="1429322"/>
                    <a:pt x="345409" y="1574639"/>
                    <a:pt x="338501" y="1602318"/>
                  </a:cubicBezTo>
                  <a:cubicBezTo>
                    <a:pt x="338501" y="1629998"/>
                    <a:pt x="290144" y="1886033"/>
                    <a:pt x="290144" y="1920632"/>
                  </a:cubicBezTo>
                  <a:cubicBezTo>
                    <a:pt x="290144" y="1955232"/>
                    <a:pt x="324685" y="2135148"/>
                    <a:pt x="324685" y="2162828"/>
                  </a:cubicBezTo>
                  <a:cubicBezTo>
                    <a:pt x="324685" y="2183587"/>
                    <a:pt x="331593" y="2225106"/>
                    <a:pt x="331593" y="2232026"/>
                  </a:cubicBezTo>
                  <a:cubicBezTo>
                    <a:pt x="331593" y="2238936"/>
                    <a:pt x="331593" y="2245846"/>
                    <a:pt x="331593" y="2245866"/>
                  </a:cubicBezTo>
                  <a:cubicBezTo>
                    <a:pt x="331593" y="2245866"/>
                    <a:pt x="331593" y="2245866"/>
                    <a:pt x="338501" y="2266626"/>
                  </a:cubicBezTo>
                  <a:cubicBezTo>
                    <a:pt x="338501" y="2266626"/>
                    <a:pt x="338501" y="2266626"/>
                    <a:pt x="248695" y="2280465"/>
                  </a:cubicBezTo>
                  <a:cubicBezTo>
                    <a:pt x="248695" y="2280465"/>
                    <a:pt x="248695" y="2280465"/>
                    <a:pt x="248695" y="2259706"/>
                  </a:cubicBezTo>
                  <a:cubicBezTo>
                    <a:pt x="248695" y="2259706"/>
                    <a:pt x="179612" y="2280465"/>
                    <a:pt x="117439" y="2287385"/>
                  </a:cubicBezTo>
                  <a:cubicBezTo>
                    <a:pt x="48375" y="2287385"/>
                    <a:pt x="26" y="2273553"/>
                    <a:pt x="0" y="2273546"/>
                  </a:cubicBezTo>
                  <a:cubicBezTo>
                    <a:pt x="0" y="2273546"/>
                    <a:pt x="0" y="2273546"/>
                    <a:pt x="0" y="2272681"/>
                  </a:cubicBezTo>
                  <a:lnTo>
                    <a:pt x="0" y="2266626"/>
                  </a:lnTo>
                  <a:cubicBezTo>
                    <a:pt x="0" y="2266626"/>
                    <a:pt x="0" y="2266626"/>
                    <a:pt x="863" y="2266626"/>
                  </a:cubicBezTo>
                  <a:lnTo>
                    <a:pt x="6908" y="2266626"/>
                  </a:lnTo>
                  <a:cubicBezTo>
                    <a:pt x="6908" y="2266626"/>
                    <a:pt x="6908" y="2245866"/>
                    <a:pt x="20724" y="2245866"/>
                  </a:cubicBezTo>
                  <a:cubicBezTo>
                    <a:pt x="27632" y="2238946"/>
                    <a:pt x="75990" y="2245866"/>
                    <a:pt x="96714" y="2238946"/>
                  </a:cubicBezTo>
                  <a:cubicBezTo>
                    <a:pt x="117430" y="2232029"/>
                    <a:pt x="145049" y="2211284"/>
                    <a:pt x="145072" y="2211267"/>
                  </a:cubicBezTo>
                  <a:cubicBezTo>
                    <a:pt x="145072" y="2211267"/>
                    <a:pt x="145072" y="2211267"/>
                    <a:pt x="145072" y="2210402"/>
                  </a:cubicBezTo>
                  <a:lnTo>
                    <a:pt x="145072" y="2204347"/>
                  </a:lnTo>
                  <a:cubicBezTo>
                    <a:pt x="145072" y="2204347"/>
                    <a:pt x="145072" y="2197427"/>
                    <a:pt x="151980" y="2197427"/>
                  </a:cubicBezTo>
                  <a:cubicBezTo>
                    <a:pt x="158888" y="2190507"/>
                    <a:pt x="151980" y="2169748"/>
                    <a:pt x="145072" y="2162828"/>
                  </a:cubicBezTo>
                  <a:cubicBezTo>
                    <a:pt x="138163" y="2148988"/>
                    <a:pt x="165796" y="2128228"/>
                    <a:pt x="158888" y="2114389"/>
                  </a:cubicBezTo>
                  <a:cubicBezTo>
                    <a:pt x="145072" y="2107469"/>
                    <a:pt x="138163" y="2079789"/>
                    <a:pt x="145072" y="2045190"/>
                  </a:cubicBezTo>
                  <a:cubicBezTo>
                    <a:pt x="145072" y="2003671"/>
                    <a:pt x="151980" y="1713036"/>
                    <a:pt x="138163" y="1664597"/>
                  </a:cubicBezTo>
                  <a:cubicBezTo>
                    <a:pt x="131255" y="1616158"/>
                    <a:pt x="138163" y="1498520"/>
                    <a:pt x="131255" y="1429322"/>
                  </a:cubicBezTo>
                  <a:cubicBezTo>
                    <a:pt x="117441" y="1360132"/>
                    <a:pt x="110533" y="1201008"/>
                    <a:pt x="110531" y="1200966"/>
                  </a:cubicBezTo>
                  <a:cubicBezTo>
                    <a:pt x="110531" y="1200966"/>
                    <a:pt x="110531" y="1200966"/>
                    <a:pt x="108804" y="1200101"/>
                  </a:cubicBezTo>
                  <a:lnTo>
                    <a:pt x="96714" y="1194046"/>
                  </a:lnTo>
                  <a:cubicBezTo>
                    <a:pt x="96714" y="1194046"/>
                    <a:pt x="82898" y="1194046"/>
                    <a:pt x="75990" y="1180206"/>
                  </a:cubicBezTo>
                  <a:cubicBezTo>
                    <a:pt x="75990" y="1166366"/>
                    <a:pt x="69082" y="1069488"/>
                    <a:pt x="75990" y="1034889"/>
                  </a:cubicBezTo>
                  <a:cubicBezTo>
                    <a:pt x="75990" y="1000290"/>
                    <a:pt x="62173" y="854972"/>
                    <a:pt x="69082" y="778854"/>
                  </a:cubicBezTo>
                  <a:cubicBezTo>
                    <a:pt x="75990" y="695815"/>
                    <a:pt x="48357" y="522819"/>
                    <a:pt x="48357" y="502059"/>
                  </a:cubicBezTo>
                  <a:cubicBezTo>
                    <a:pt x="48357" y="481299"/>
                    <a:pt x="62173" y="474380"/>
                    <a:pt x="62173" y="453620"/>
                  </a:cubicBezTo>
                  <a:cubicBezTo>
                    <a:pt x="62173" y="432860"/>
                    <a:pt x="62173" y="405181"/>
                    <a:pt x="75990" y="391341"/>
                  </a:cubicBezTo>
                  <a:cubicBezTo>
                    <a:pt x="82892" y="391341"/>
                    <a:pt x="103591" y="391341"/>
                    <a:pt x="103622" y="391341"/>
                  </a:cubicBezTo>
                  <a:cubicBezTo>
                    <a:pt x="103622" y="391341"/>
                    <a:pt x="103622" y="391341"/>
                    <a:pt x="165796" y="370581"/>
                  </a:cubicBezTo>
                  <a:cubicBezTo>
                    <a:pt x="165796" y="370581"/>
                    <a:pt x="172704" y="363662"/>
                    <a:pt x="186521" y="363662"/>
                  </a:cubicBezTo>
                  <a:cubicBezTo>
                    <a:pt x="200337" y="356742"/>
                    <a:pt x="227970" y="342902"/>
                    <a:pt x="241786" y="342902"/>
                  </a:cubicBezTo>
                  <a:cubicBezTo>
                    <a:pt x="255594" y="335987"/>
                    <a:pt x="255603" y="356714"/>
                    <a:pt x="255603" y="356742"/>
                  </a:cubicBezTo>
                  <a:cubicBezTo>
                    <a:pt x="255603" y="356742"/>
                    <a:pt x="248695" y="356742"/>
                    <a:pt x="241786" y="356742"/>
                  </a:cubicBezTo>
                  <a:cubicBezTo>
                    <a:pt x="234878" y="363662"/>
                    <a:pt x="262511" y="412101"/>
                    <a:pt x="276327" y="460540"/>
                  </a:cubicBezTo>
                  <a:cubicBezTo>
                    <a:pt x="290140" y="508964"/>
                    <a:pt x="317760" y="557389"/>
                    <a:pt x="317776" y="557418"/>
                  </a:cubicBezTo>
                  <a:cubicBezTo>
                    <a:pt x="317776" y="557418"/>
                    <a:pt x="331593" y="502059"/>
                    <a:pt x="338501" y="495139"/>
                  </a:cubicBezTo>
                  <a:cubicBezTo>
                    <a:pt x="345400" y="495139"/>
                    <a:pt x="352298" y="488238"/>
                    <a:pt x="352317" y="488219"/>
                  </a:cubicBezTo>
                  <a:cubicBezTo>
                    <a:pt x="352317" y="488219"/>
                    <a:pt x="352317" y="488219"/>
                    <a:pt x="350590" y="488219"/>
                  </a:cubicBezTo>
                  <a:lnTo>
                    <a:pt x="338501" y="488219"/>
                  </a:lnTo>
                  <a:cubicBezTo>
                    <a:pt x="338501" y="488219"/>
                    <a:pt x="324685" y="474380"/>
                    <a:pt x="324685" y="467460"/>
                  </a:cubicBezTo>
                  <a:cubicBezTo>
                    <a:pt x="331593" y="460540"/>
                    <a:pt x="352317" y="425940"/>
                    <a:pt x="359226" y="425940"/>
                  </a:cubicBezTo>
                  <a:cubicBezTo>
                    <a:pt x="366130" y="419024"/>
                    <a:pt x="379937" y="460499"/>
                    <a:pt x="379950" y="460540"/>
                  </a:cubicBezTo>
                  <a:cubicBezTo>
                    <a:pt x="379950" y="467455"/>
                    <a:pt x="366152" y="481281"/>
                    <a:pt x="366134" y="481299"/>
                  </a:cubicBezTo>
                  <a:cubicBezTo>
                    <a:pt x="366134" y="481299"/>
                    <a:pt x="373042" y="508979"/>
                    <a:pt x="373042" y="529738"/>
                  </a:cubicBezTo>
                  <a:cubicBezTo>
                    <a:pt x="373042" y="550481"/>
                    <a:pt x="379939" y="564315"/>
                    <a:pt x="379950" y="564338"/>
                  </a:cubicBezTo>
                  <a:cubicBezTo>
                    <a:pt x="379950" y="564338"/>
                    <a:pt x="414491" y="522819"/>
                    <a:pt x="414491" y="508979"/>
                  </a:cubicBezTo>
                  <a:cubicBezTo>
                    <a:pt x="421399" y="495139"/>
                    <a:pt x="462848" y="419021"/>
                    <a:pt x="462848" y="384421"/>
                  </a:cubicBezTo>
                  <a:cubicBezTo>
                    <a:pt x="462848" y="342940"/>
                    <a:pt x="442162" y="335995"/>
                    <a:pt x="442124" y="335982"/>
                  </a:cubicBezTo>
                  <a:close/>
                  <a:moveTo>
                    <a:pt x="342424" y="198"/>
                  </a:moveTo>
                  <a:cubicBezTo>
                    <a:pt x="377195" y="2142"/>
                    <a:pt x="400376" y="17690"/>
                    <a:pt x="400376" y="17690"/>
                  </a:cubicBezTo>
                  <a:cubicBezTo>
                    <a:pt x="400391" y="17660"/>
                    <a:pt x="407266" y="3877"/>
                    <a:pt x="427849" y="10780"/>
                  </a:cubicBezTo>
                  <a:cubicBezTo>
                    <a:pt x="448454" y="24600"/>
                    <a:pt x="469059" y="52241"/>
                    <a:pt x="462191" y="79882"/>
                  </a:cubicBezTo>
                  <a:cubicBezTo>
                    <a:pt x="462191" y="107523"/>
                    <a:pt x="469059" y="121344"/>
                    <a:pt x="469059" y="121344"/>
                  </a:cubicBezTo>
                  <a:lnTo>
                    <a:pt x="463049" y="115297"/>
                  </a:lnTo>
                  <a:cubicBezTo>
                    <a:pt x="462178" y="114458"/>
                    <a:pt x="458443" y="121976"/>
                    <a:pt x="454898" y="130155"/>
                  </a:cubicBezTo>
                  <a:cubicBezTo>
                    <a:pt x="454967" y="129933"/>
                    <a:pt x="455113" y="129782"/>
                    <a:pt x="455263" y="129631"/>
                  </a:cubicBezTo>
                  <a:cubicBezTo>
                    <a:pt x="462161" y="122691"/>
                    <a:pt x="462161" y="136571"/>
                    <a:pt x="462161" y="150452"/>
                  </a:cubicBezTo>
                  <a:cubicBezTo>
                    <a:pt x="462161" y="164332"/>
                    <a:pt x="462161" y="185152"/>
                    <a:pt x="462161" y="192093"/>
                  </a:cubicBezTo>
                  <a:cubicBezTo>
                    <a:pt x="462161" y="199033"/>
                    <a:pt x="455263" y="205973"/>
                    <a:pt x="448365" y="205973"/>
                  </a:cubicBezTo>
                  <a:lnTo>
                    <a:pt x="444916" y="198165"/>
                  </a:lnTo>
                  <a:cubicBezTo>
                    <a:pt x="443192" y="197298"/>
                    <a:pt x="441467" y="199033"/>
                    <a:pt x="441467" y="205973"/>
                  </a:cubicBezTo>
                  <a:cubicBezTo>
                    <a:pt x="441467" y="212913"/>
                    <a:pt x="441467" y="233734"/>
                    <a:pt x="434570" y="247614"/>
                  </a:cubicBezTo>
                  <a:cubicBezTo>
                    <a:pt x="434570" y="261494"/>
                    <a:pt x="420774" y="275375"/>
                    <a:pt x="420774" y="275375"/>
                  </a:cubicBezTo>
                  <a:cubicBezTo>
                    <a:pt x="420774" y="275399"/>
                    <a:pt x="420774" y="282351"/>
                    <a:pt x="420774" y="303135"/>
                  </a:cubicBezTo>
                  <a:cubicBezTo>
                    <a:pt x="420774" y="323956"/>
                    <a:pt x="358692" y="344776"/>
                    <a:pt x="358692" y="344776"/>
                  </a:cubicBezTo>
                  <a:cubicBezTo>
                    <a:pt x="358639" y="344765"/>
                    <a:pt x="289713" y="330888"/>
                    <a:pt x="289713" y="310075"/>
                  </a:cubicBezTo>
                  <a:cubicBezTo>
                    <a:pt x="289713" y="296195"/>
                    <a:pt x="289713" y="290990"/>
                    <a:pt x="289713" y="289255"/>
                  </a:cubicBezTo>
                  <a:cubicBezTo>
                    <a:pt x="289683" y="289225"/>
                    <a:pt x="275909" y="275353"/>
                    <a:pt x="269019" y="254554"/>
                  </a:cubicBezTo>
                  <a:cubicBezTo>
                    <a:pt x="262121" y="233734"/>
                    <a:pt x="262121" y="212913"/>
                    <a:pt x="262121" y="212913"/>
                  </a:cubicBezTo>
                  <a:cubicBezTo>
                    <a:pt x="262107" y="212943"/>
                    <a:pt x="255216" y="226786"/>
                    <a:pt x="248325" y="219853"/>
                  </a:cubicBezTo>
                  <a:cubicBezTo>
                    <a:pt x="241427" y="205973"/>
                    <a:pt x="241427" y="185152"/>
                    <a:pt x="241427" y="171272"/>
                  </a:cubicBezTo>
                  <a:cubicBezTo>
                    <a:pt x="234529" y="157392"/>
                    <a:pt x="241427" y="143511"/>
                    <a:pt x="248325" y="143511"/>
                  </a:cubicBezTo>
                  <a:lnTo>
                    <a:pt x="249874" y="142848"/>
                  </a:lnTo>
                  <a:cubicBezTo>
                    <a:pt x="249856" y="142150"/>
                    <a:pt x="249563" y="142075"/>
                    <a:pt x="249271" y="142075"/>
                  </a:cubicBezTo>
                  <a:lnTo>
                    <a:pt x="237252" y="139483"/>
                  </a:lnTo>
                  <a:cubicBezTo>
                    <a:pt x="235520" y="142046"/>
                    <a:pt x="228673" y="128254"/>
                    <a:pt x="235535" y="128254"/>
                  </a:cubicBezTo>
                  <a:cubicBezTo>
                    <a:pt x="242403" y="128254"/>
                    <a:pt x="242403" y="114434"/>
                    <a:pt x="242403" y="114434"/>
                  </a:cubicBezTo>
                  <a:cubicBezTo>
                    <a:pt x="242386" y="114451"/>
                    <a:pt x="235535" y="121344"/>
                    <a:pt x="235535" y="121344"/>
                  </a:cubicBezTo>
                  <a:lnTo>
                    <a:pt x="229524" y="121344"/>
                  </a:lnTo>
                  <a:cubicBezTo>
                    <a:pt x="228695" y="121329"/>
                    <a:pt x="242403" y="114412"/>
                    <a:pt x="242403" y="93703"/>
                  </a:cubicBezTo>
                  <a:cubicBezTo>
                    <a:pt x="242403" y="72972"/>
                    <a:pt x="249271" y="24600"/>
                    <a:pt x="304218" y="3869"/>
                  </a:cubicBezTo>
                  <a:cubicBezTo>
                    <a:pt x="317955" y="414"/>
                    <a:pt x="330833" y="-450"/>
                    <a:pt x="342424"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39" name="Freeform 18"/>
            <p:cNvSpPr/>
            <p:nvPr/>
          </p:nvSpPr>
          <p:spPr bwMode="auto">
            <a:xfrm>
              <a:off x="5137774" y="2273334"/>
              <a:ext cx="686881" cy="2294305"/>
            </a:xfrm>
            <a:custGeom>
              <a:avLst/>
              <a:gdLst/>
              <a:ahLst/>
              <a:cxnLst/>
              <a:rect l="l" t="t" r="r" b="b"/>
              <a:pathLst>
                <a:path w="686881" h="2294305">
                  <a:moveTo>
                    <a:pt x="435874" y="335982"/>
                  </a:moveTo>
                  <a:cubicBezTo>
                    <a:pt x="435874" y="335982"/>
                    <a:pt x="477386" y="342902"/>
                    <a:pt x="484304" y="349822"/>
                  </a:cubicBezTo>
                  <a:cubicBezTo>
                    <a:pt x="498142" y="349822"/>
                    <a:pt x="532735" y="356742"/>
                    <a:pt x="553491" y="377501"/>
                  </a:cubicBezTo>
                  <a:cubicBezTo>
                    <a:pt x="574237" y="391335"/>
                    <a:pt x="608809" y="384427"/>
                    <a:pt x="608840" y="384421"/>
                  </a:cubicBezTo>
                  <a:cubicBezTo>
                    <a:pt x="608840" y="384421"/>
                    <a:pt x="664189" y="405181"/>
                    <a:pt x="664189" y="412101"/>
                  </a:cubicBezTo>
                  <a:cubicBezTo>
                    <a:pt x="671107" y="419021"/>
                    <a:pt x="671107" y="474380"/>
                    <a:pt x="671107" y="515899"/>
                  </a:cubicBezTo>
                  <a:cubicBezTo>
                    <a:pt x="671107" y="515899"/>
                    <a:pt x="671107" y="654296"/>
                    <a:pt x="671107" y="744254"/>
                  </a:cubicBezTo>
                  <a:cubicBezTo>
                    <a:pt x="671107" y="819075"/>
                    <a:pt x="675894" y="802944"/>
                    <a:pt x="678026" y="799613"/>
                  </a:cubicBezTo>
                  <a:cubicBezTo>
                    <a:pt x="678026" y="813453"/>
                    <a:pt x="691863" y="931091"/>
                    <a:pt x="684945" y="944931"/>
                  </a:cubicBezTo>
                  <a:cubicBezTo>
                    <a:pt x="678026" y="965690"/>
                    <a:pt x="622677" y="1145607"/>
                    <a:pt x="615758" y="1159447"/>
                  </a:cubicBezTo>
                  <a:cubicBezTo>
                    <a:pt x="615758" y="1166366"/>
                    <a:pt x="615758" y="1214806"/>
                    <a:pt x="608840" y="1214806"/>
                  </a:cubicBezTo>
                  <a:cubicBezTo>
                    <a:pt x="595017" y="1235543"/>
                    <a:pt x="588099" y="1249375"/>
                    <a:pt x="588084" y="1249405"/>
                  </a:cubicBezTo>
                  <a:cubicBezTo>
                    <a:pt x="588084" y="1311684"/>
                    <a:pt x="581165" y="1408562"/>
                    <a:pt x="581165" y="1450081"/>
                  </a:cubicBezTo>
                  <a:cubicBezTo>
                    <a:pt x="581165" y="1505440"/>
                    <a:pt x="567328" y="1623078"/>
                    <a:pt x="581165" y="1685357"/>
                  </a:cubicBezTo>
                  <a:cubicBezTo>
                    <a:pt x="588084" y="1740716"/>
                    <a:pt x="588084" y="1982911"/>
                    <a:pt x="581165" y="2059030"/>
                  </a:cubicBezTo>
                  <a:cubicBezTo>
                    <a:pt x="575976" y="2121309"/>
                    <a:pt x="578571" y="2117416"/>
                    <a:pt x="581165" y="2121308"/>
                  </a:cubicBezTo>
                  <a:cubicBezTo>
                    <a:pt x="574254" y="2142044"/>
                    <a:pt x="581149" y="2148972"/>
                    <a:pt x="581165" y="2148988"/>
                  </a:cubicBezTo>
                  <a:cubicBezTo>
                    <a:pt x="581165" y="2148988"/>
                    <a:pt x="581165" y="2162828"/>
                    <a:pt x="581165" y="2183587"/>
                  </a:cubicBezTo>
                  <a:cubicBezTo>
                    <a:pt x="574254" y="2204322"/>
                    <a:pt x="567344" y="2204347"/>
                    <a:pt x="567328" y="2204347"/>
                  </a:cubicBezTo>
                  <a:cubicBezTo>
                    <a:pt x="567328" y="2204347"/>
                    <a:pt x="567328" y="2204347"/>
                    <a:pt x="588084" y="2266626"/>
                  </a:cubicBezTo>
                  <a:cubicBezTo>
                    <a:pt x="588084" y="2266626"/>
                    <a:pt x="588084" y="2266626"/>
                    <a:pt x="588949" y="2266626"/>
                  </a:cubicBezTo>
                  <a:lnTo>
                    <a:pt x="595002" y="2266626"/>
                  </a:lnTo>
                  <a:cubicBezTo>
                    <a:pt x="595002" y="2266626"/>
                    <a:pt x="595002" y="2266626"/>
                    <a:pt x="595002" y="2287385"/>
                  </a:cubicBezTo>
                  <a:cubicBezTo>
                    <a:pt x="567328" y="2294305"/>
                    <a:pt x="553491" y="2294305"/>
                    <a:pt x="518897" y="2294305"/>
                  </a:cubicBezTo>
                  <a:cubicBezTo>
                    <a:pt x="484319" y="2294305"/>
                    <a:pt x="456653" y="2287391"/>
                    <a:pt x="456630" y="2287385"/>
                  </a:cubicBezTo>
                  <a:cubicBezTo>
                    <a:pt x="456630" y="2287385"/>
                    <a:pt x="456630" y="2287385"/>
                    <a:pt x="456630" y="2266626"/>
                  </a:cubicBezTo>
                  <a:cubicBezTo>
                    <a:pt x="456630" y="2266626"/>
                    <a:pt x="456630" y="2266626"/>
                    <a:pt x="456630" y="2265761"/>
                  </a:cubicBezTo>
                  <a:lnTo>
                    <a:pt x="456630" y="2259706"/>
                  </a:lnTo>
                  <a:cubicBezTo>
                    <a:pt x="456630" y="2259706"/>
                    <a:pt x="456630" y="2259706"/>
                    <a:pt x="463548" y="2232026"/>
                  </a:cubicBezTo>
                  <a:cubicBezTo>
                    <a:pt x="463548" y="2232026"/>
                    <a:pt x="463548" y="2232026"/>
                    <a:pt x="462683" y="2231161"/>
                  </a:cubicBezTo>
                  <a:lnTo>
                    <a:pt x="456630" y="2225106"/>
                  </a:lnTo>
                  <a:cubicBezTo>
                    <a:pt x="456630" y="2225106"/>
                    <a:pt x="456630" y="2225106"/>
                    <a:pt x="456630" y="2224241"/>
                  </a:cubicBezTo>
                  <a:lnTo>
                    <a:pt x="456630" y="2218187"/>
                  </a:lnTo>
                  <a:cubicBezTo>
                    <a:pt x="456630" y="2218187"/>
                    <a:pt x="456630" y="2218187"/>
                    <a:pt x="455765" y="2218187"/>
                  </a:cubicBezTo>
                  <a:lnTo>
                    <a:pt x="449711" y="2218187"/>
                  </a:lnTo>
                  <a:cubicBezTo>
                    <a:pt x="442793" y="2211267"/>
                    <a:pt x="463548" y="2197427"/>
                    <a:pt x="449711" y="2190507"/>
                  </a:cubicBezTo>
                  <a:cubicBezTo>
                    <a:pt x="435874" y="2190507"/>
                    <a:pt x="428955" y="2155908"/>
                    <a:pt x="428955" y="2135148"/>
                  </a:cubicBezTo>
                  <a:cubicBezTo>
                    <a:pt x="428955" y="2107469"/>
                    <a:pt x="408199" y="1941392"/>
                    <a:pt x="394362" y="1872193"/>
                  </a:cubicBezTo>
                  <a:cubicBezTo>
                    <a:pt x="387444" y="1796075"/>
                    <a:pt x="394362" y="1650757"/>
                    <a:pt x="387444" y="1588479"/>
                  </a:cubicBezTo>
                  <a:cubicBezTo>
                    <a:pt x="380526" y="1533130"/>
                    <a:pt x="359777" y="1429360"/>
                    <a:pt x="359769" y="1429322"/>
                  </a:cubicBezTo>
                  <a:cubicBezTo>
                    <a:pt x="359769" y="1429322"/>
                    <a:pt x="339013" y="1574639"/>
                    <a:pt x="339013" y="1602318"/>
                  </a:cubicBezTo>
                  <a:cubicBezTo>
                    <a:pt x="332094" y="1629998"/>
                    <a:pt x="290583" y="1886033"/>
                    <a:pt x="290583" y="1920632"/>
                  </a:cubicBezTo>
                  <a:cubicBezTo>
                    <a:pt x="290583" y="1955232"/>
                    <a:pt x="318257" y="2135148"/>
                    <a:pt x="318257" y="2162828"/>
                  </a:cubicBezTo>
                  <a:cubicBezTo>
                    <a:pt x="318257" y="2183587"/>
                    <a:pt x="325176" y="2225106"/>
                    <a:pt x="325176" y="2232026"/>
                  </a:cubicBezTo>
                  <a:cubicBezTo>
                    <a:pt x="325176" y="2238937"/>
                    <a:pt x="332076" y="2245848"/>
                    <a:pt x="332094" y="2245866"/>
                  </a:cubicBezTo>
                  <a:cubicBezTo>
                    <a:pt x="332094" y="2245866"/>
                    <a:pt x="332094" y="2245866"/>
                    <a:pt x="332094" y="2266626"/>
                  </a:cubicBezTo>
                  <a:cubicBezTo>
                    <a:pt x="332094" y="2266626"/>
                    <a:pt x="332094" y="2266626"/>
                    <a:pt x="242152" y="2280465"/>
                  </a:cubicBezTo>
                  <a:cubicBezTo>
                    <a:pt x="242152" y="2280465"/>
                    <a:pt x="242152" y="2280465"/>
                    <a:pt x="242152" y="2259706"/>
                  </a:cubicBezTo>
                  <a:cubicBezTo>
                    <a:pt x="242152" y="2259706"/>
                    <a:pt x="172966" y="2280465"/>
                    <a:pt x="110698" y="2287385"/>
                  </a:cubicBezTo>
                  <a:cubicBezTo>
                    <a:pt x="41550" y="2287385"/>
                    <a:pt x="45" y="2273561"/>
                    <a:pt x="0" y="2273546"/>
                  </a:cubicBezTo>
                  <a:cubicBezTo>
                    <a:pt x="0" y="2273546"/>
                    <a:pt x="0" y="2273546"/>
                    <a:pt x="0" y="2272681"/>
                  </a:cubicBezTo>
                  <a:lnTo>
                    <a:pt x="0" y="2266626"/>
                  </a:lnTo>
                  <a:cubicBezTo>
                    <a:pt x="0" y="2266626"/>
                    <a:pt x="0" y="2266626"/>
                    <a:pt x="865" y="2266626"/>
                  </a:cubicBezTo>
                  <a:lnTo>
                    <a:pt x="6918" y="2266626"/>
                  </a:lnTo>
                  <a:cubicBezTo>
                    <a:pt x="6918" y="2266626"/>
                    <a:pt x="0" y="2245866"/>
                    <a:pt x="13837" y="2245866"/>
                  </a:cubicBezTo>
                  <a:cubicBezTo>
                    <a:pt x="20756" y="2238946"/>
                    <a:pt x="69186" y="2245866"/>
                    <a:pt x="89942" y="2238946"/>
                  </a:cubicBezTo>
                  <a:cubicBezTo>
                    <a:pt x="110688" y="2232030"/>
                    <a:pt x="145257" y="2211287"/>
                    <a:pt x="145291" y="2211267"/>
                  </a:cubicBezTo>
                  <a:cubicBezTo>
                    <a:pt x="145291" y="2211267"/>
                    <a:pt x="145291" y="2211267"/>
                    <a:pt x="144426" y="2210402"/>
                  </a:cubicBezTo>
                  <a:lnTo>
                    <a:pt x="138372" y="2204347"/>
                  </a:lnTo>
                  <a:cubicBezTo>
                    <a:pt x="138372" y="2204347"/>
                    <a:pt x="145270" y="2197448"/>
                    <a:pt x="145291" y="2197427"/>
                  </a:cubicBezTo>
                  <a:cubicBezTo>
                    <a:pt x="152210" y="2190507"/>
                    <a:pt x="145291" y="2169748"/>
                    <a:pt x="138372" y="2162828"/>
                  </a:cubicBezTo>
                  <a:cubicBezTo>
                    <a:pt x="131454" y="2148988"/>
                    <a:pt x="159128" y="2128228"/>
                    <a:pt x="152210" y="2114389"/>
                  </a:cubicBezTo>
                  <a:cubicBezTo>
                    <a:pt x="138372" y="2107469"/>
                    <a:pt x="138372" y="2079789"/>
                    <a:pt x="138372" y="2045190"/>
                  </a:cubicBezTo>
                  <a:cubicBezTo>
                    <a:pt x="138372" y="2003671"/>
                    <a:pt x="145291" y="1713036"/>
                    <a:pt x="138372" y="1664597"/>
                  </a:cubicBezTo>
                  <a:cubicBezTo>
                    <a:pt x="124535" y="1616158"/>
                    <a:pt x="131454" y="1498520"/>
                    <a:pt x="124535" y="1429322"/>
                  </a:cubicBezTo>
                  <a:cubicBezTo>
                    <a:pt x="117617" y="1360132"/>
                    <a:pt x="110700" y="1201007"/>
                    <a:pt x="110698" y="1200966"/>
                  </a:cubicBezTo>
                  <a:cubicBezTo>
                    <a:pt x="110698" y="1200966"/>
                    <a:pt x="110698" y="1200966"/>
                    <a:pt x="89942" y="1194046"/>
                  </a:cubicBezTo>
                  <a:cubicBezTo>
                    <a:pt x="89942" y="1194046"/>
                    <a:pt x="76105" y="1194046"/>
                    <a:pt x="69186" y="1180206"/>
                  </a:cubicBezTo>
                  <a:cubicBezTo>
                    <a:pt x="69186" y="1166366"/>
                    <a:pt x="62267" y="1069488"/>
                    <a:pt x="69186" y="1034889"/>
                  </a:cubicBezTo>
                  <a:cubicBezTo>
                    <a:pt x="76105" y="1000290"/>
                    <a:pt x="55349" y="854972"/>
                    <a:pt x="62267" y="778854"/>
                  </a:cubicBezTo>
                  <a:cubicBezTo>
                    <a:pt x="69186" y="695815"/>
                    <a:pt x="41512" y="522819"/>
                    <a:pt x="41512" y="502059"/>
                  </a:cubicBezTo>
                  <a:cubicBezTo>
                    <a:pt x="48430" y="481299"/>
                    <a:pt x="55349" y="474380"/>
                    <a:pt x="55349" y="453620"/>
                  </a:cubicBezTo>
                  <a:cubicBezTo>
                    <a:pt x="55349" y="432860"/>
                    <a:pt x="55349" y="405181"/>
                    <a:pt x="76105" y="391341"/>
                  </a:cubicBezTo>
                  <a:cubicBezTo>
                    <a:pt x="83019" y="391341"/>
                    <a:pt x="96845" y="391341"/>
                    <a:pt x="96861" y="391341"/>
                  </a:cubicBezTo>
                  <a:cubicBezTo>
                    <a:pt x="96861" y="391341"/>
                    <a:pt x="96861" y="391341"/>
                    <a:pt x="159128" y="370581"/>
                  </a:cubicBezTo>
                  <a:cubicBezTo>
                    <a:pt x="159128" y="370581"/>
                    <a:pt x="166047" y="363662"/>
                    <a:pt x="179884" y="363662"/>
                  </a:cubicBezTo>
                  <a:cubicBezTo>
                    <a:pt x="193721" y="356742"/>
                    <a:pt x="228315" y="342902"/>
                    <a:pt x="235234" y="342902"/>
                  </a:cubicBezTo>
                  <a:cubicBezTo>
                    <a:pt x="249062" y="335987"/>
                    <a:pt x="249071" y="356714"/>
                    <a:pt x="249071" y="356742"/>
                  </a:cubicBezTo>
                  <a:cubicBezTo>
                    <a:pt x="249071" y="356742"/>
                    <a:pt x="242152" y="356742"/>
                    <a:pt x="235234" y="356742"/>
                  </a:cubicBezTo>
                  <a:cubicBezTo>
                    <a:pt x="235234" y="363662"/>
                    <a:pt x="255990" y="412101"/>
                    <a:pt x="269827" y="460540"/>
                  </a:cubicBezTo>
                  <a:cubicBezTo>
                    <a:pt x="283659" y="508962"/>
                    <a:pt x="311319" y="557384"/>
                    <a:pt x="311339" y="557418"/>
                  </a:cubicBezTo>
                  <a:cubicBezTo>
                    <a:pt x="311339" y="557418"/>
                    <a:pt x="325176" y="502059"/>
                    <a:pt x="332094" y="495139"/>
                  </a:cubicBezTo>
                  <a:cubicBezTo>
                    <a:pt x="339004" y="495139"/>
                    <a:pt x="345914" y="488237"/>
                    <a:pt x="345932" y="488219"/>
                  </a:cubicBezTo>
                  <a:cubicBezTo>
                    <a:pt x="345932" y="488219"/>
                    <a:pt x="345932" y="488219"/>
                    <a:pt x="344202" y="488219"/>
                  </a:cubicBezTo>
                  <a:lnTo>
                    <a:pt x="332094" y="488219"/>
                  </a:lnTo>
                  <a:cubicBezTo>
                    <a:pt x="332094" y="488219"/>
                    <a:pt x="318257" y="474380"/>
                    <a:pt x="325176" y="467460"/>
                  </a:cubicBezTo>
                  <a:cubicBezTo>
                    <a:pt x="325176" y="460540"/>
                    <a:pt x="345932" y="425940"/>
                    <a:pt x="352850" y="425940"/>
                  </a:cubicBezTo>
                  <a:cubicBezTo>
                    <a:pt x="359766" y="419024"/>
                    <a:pt x="373592" y="460498"/>
                    <a:pt x="373606" y="460540"/>
                  </a:cubicBezTo>
                  <a:cubicBezTo>
                    <a:pt x="373606" y="467455"/>
                    <a:pt x="366697" y="481282"/>
                    <a:pt x="366688" y="481299"/>
                  </a:cubicBezTo>
                  <a:cubicBezTo>
                    <a:pt x="366688" y="481299"/>
                    <a:pt x="366688" y="508979"/>
                    <a:pt x="366688" y="529738"/>
                  </a:cubicBezTo>
                  <a:cubicBezTo>
                    <a:pt x="373600" y="550480"/>
                    <a:pt x="373606" y="564313"/>
                    <a:pt x="373606" y="564338"/>
                  </a:cubicBezTo>
                  <a:cubicBezTo>
                    <a:pt x="373606" y="564338"/>
                    <a:pt x="408199" y="522819"/>
                    <a:pt x="415118" y="508979"/>
                  </a:cubicBezTo>
                  <a:cubicBezTo>
                    <a:pt x="415118" y="495139"/>
                    <a:pt x="456630" y="419021"/>
                    <a:pt x="456630" y="384421"/>
                  </a:cubicBezTo>
                  <a:cubicBezTo>
                    <a:pt x="463546" y="342916"/>
                    <a:pt x="435893" y="335987"/>
                    <a:pt x="435874" y="335982"/>
                  </a:cubicBezTo>
                  <a:close/>
                  <a:moveTo>
                    <a:pt x="336562" y="198"/>
                  </a:moveTo>
                  <a:cubicBezTo>
                    <a:pt x="361201" y="1576"/>
                    <a:pt x="380021" y="9785"/>
                    <a:pt x="388864" y="14513"/>
                  </a:cubicBezTo>
                  <a:cubicBezTo>
                    <a:pt x="391432" y="14653"/>
                    <a:pt x="393800" y="15305"/>
                    <a:pt x="395838" y="16757"/>
                  </a:cubicBezTo>
                  <a:cubicBezTo>
                    <a:pt x="399328" y="13483"/>
                    <a:pt x="410657" y="5081"/>
                    <a:pt x="421987" y="10780"/>
                  </a:cubicBezTo>
                  <a:cubicBezTo>
                    <a:pt x="442592" y="24600"/>
                    <a:pt x="463197" y="52241"/>
                    <a:pt x="456329" y="79882"/>
                  </a:cubicBezTo>
                  <a:cubicBezTo>
                    <a:pt x="456329" y="107523"/>
                    <a:pt x="463197" y="121344"/>
                    <a:pt x="463197" y="121344"/>
                  </a:cubicBezTo>
                  <a:lnTo>
                    <a:pt x="457187" y="115297"/>
                  </a:lnTo>
                  <a:cubicBezTo>
                    <a:pt x="456316" y="114459"/>
                    <a:pt x="450016" y="127139"/>
                    <a:pt x="446036" y="137496"/>
                  </a:cubicBezTo>
                  <a:cubicBezTo>
                    <a:pt x="448973" y="137373"/>
                    <a:pt x="451136" y="133502"/>
                    <a:pt x="451136" y="129631"/>
                  </a:cubicBezTo>
                  <a:cubicBezTo>
                    <a:pt x="458088" y="122691"/>
                    <a:pt x="465040" y="136571"/>
                    <a:pt x="465040" y="150452"/>
                  </a:cubicBezTo>
                  <a:cubicBezTo>
                    <a:pt x="465040" y="164332"/>
                    <a:pt x="465040" y="185152"/>
                    <a:pt x="458088" y="192093"/>
                  </a:cubicBezTo>
                  <a:cubicBezTo>
                    <a:pt x="458088" y="199033"/>
                    <a:pt x="451136" y="205973"/>
                    <a:pt x="451136" y="205973"/>
                  </a:cubicBezTo>
                  <a:lnTo>
                    <a:pt x="445053" y="198165"/>
                  </a:lnTo>
                  <a:cubicBezTo>
                    <a:pt x="444184" y="197298"/>
                    <a:pt x="444184" y="199033"/>
                    <a:pt x="444184" y="205973"/>
                  </a:cubicBezTo>
                  <a:cubicBezTo>
                    <a:pt x="444184" y="212913"/>
                    <a:pt x="437232" y="233734"/>
                    <a:pt x="430279" y="247614"/>
                  </a:cubicBezTo>
                  <a:cubicBezTo>
                    <a:pt x="430279" y="261494"/>
                    <a:pt x="416375" y="275375"/>
                    <a:pt x="416375" y="275375"/>
                  </a:cubicBezTo>
                  <a:cubicBezTo>
                    <a:pt x="416375" y="275399"/>
                    <a:pt x="416375" y="282351"/>
                    <a:pt x="416375" y="303135"/>
                  </a:cubicBezTo>
                  <a:cubicBezTo>
                    <a:pt x="416375" y="323956"/>
                    <a:pt x="360758" y="344776"/>
                    <a:pt x="360758" y="344776"/>
                  </a:cubicBezTo>
                  <a:cubicBezTo>
                    <a:pt x="360703" y="344766"/>
                    <a:pt x="284284" y="330888"/>
                    <a:pt x="284284" y="310075"/>
                  </a:cubicBezTo>
                  <a:cubicBezTo>
                    <a:pt x="284284" y="296195"/>
                    <a:pt x="284284" y="290990"/>
                    <a:pt x="284284" y="289255"/>
                  </a:cubicBezTo>
                  <a:cubicBezTo>
                    <a:pt x="284257" y="289227"/>
                    <a:pt x="270380" y="275354"/>
                    <a:pt x="270380" y="254554"/>
                  </a:cubicBezTo>
                  <a:cubicBezTo>
                    <a:pt x="263428" y="233734"/>
                    <a:pt x="256476" y="212913"/>
                    <a:pt x="256476" y="212913"/>
                  </a:cubicBezTo>
                  <a:cubicBezTo>
                    <a:pt x="256461" y="212942"/>
                    <a:pt x="249517" y="226786"/>
                    <a:pt x="242572" y="219853"/>
                  </a:cubicBezTo>
                  <a:cubicBezTo>
                    <a:pt x="242572" y="205973"/>
                    <a:pt x="235619" y="185152"/>
                    <a:pt x="235619" y="171272"/>
                  </a:cubicBezTo>
                  <a:cubicBezTo>
                    <a:pt x="228667" y="157392"/>
                    <a:pt x="235619" y="143511"/>
                    <a:pt x="242572" y="143511"/>
                  </a:cubicBezTo>
                  <a:lnTo>
                    <a:pt x="244042" y="142887"/>
                  </a:lnTo>
                  <a:cubicBezTo>
                    <a:pt x="244028" y="142159"/>
                    <a:pt x="243719" y="142075"/>
                    <a:pt x="243409" y="142075"/>
                  </a:cubicBezTo>
                  <a:lnTo>
                    <a:pt x="231390" y="139483"/>
                  </a:lnTo>
                  <a:cubicBezTo>
                    <a:pt x="229673" y="142039"/>
                    <a:pt x="229682" y="128254"/>
                    <a:pt x="236541" y="128254"/>
                  </a:cubicBezTo>
                  <a:cubicBezTo>
                    <a:pt x="236556" y="128223"/>
                    <a:pt x="243409" y="114434"/>
                    <a:pt x="243409" y="114434"/>
                  </a:cubicBezTo>
                  <a:cubicBezTo>
                    <a:pt x="243386" y="114457"/>
                    <a:pt x="236529" y="121344"/>
                    <a:pt x="229673" y="121344"/>
                  </a:cubicBezTo>
                  <a:cubicBezTo>
                    <a:pt x="229647" y="121344"/>
                    <a:pt x="222804" y="121344"/>
                    <a:pt x="222804" y="121344"/>
                  </a:cubicBezTo>
                  <a:cubicBezTo>
                    <a:pt x="222833" y="121329"/>
                    <a:pt x="236541" y="114412"/>
                    <a:pt x="236541" y="93703"/>
                  </a:cubicBezTo>
                  <a:cubicBezTo>
                    <a:pt x="236541" y="72972"/>
                    <a:pt x="243409" y="24600"/>
                    <a:pt x="298356" y="3869"/>
                  </a:cubicBezTo>
                  <a:cubicBezTo>
                    <a:pt x="312093" y="414"/>
                    <a:pt x="324971" y="-450"/>
                    <a:pt x="336562"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40" name="Freeform 21"/>
            <p:cNvSpPr/>
            <p:nvPr/>
          </p:nvSpPr>
          <p:spPr bwMode="auto">
            <a:xfrm>
              <a:off x="5955698" y="2273334"/>
              <a:ext cx="686881" cy="2294305"/>
            </a:xfrm>
            <a:custGeom>
              <a:avLst/>
              <a:gdLst/>
              <a:ahLst/>
              <a:cxnLst/>
              <a:rect l="l" t="t" r="r" b="b"/>
              <a:pathLst>
                <a:path w="686881" h="2294305">
                  <a:moveTo>
                    <a:pt x="435874" y="335982"/>
                  </a:moveTo>
                  <a:cubicBezTo>
                    <a:pt x="435874" y="335982"/>
                    <a:pt x="477386" y="342902"/>
                    <a:pt x="484304" y="349822"/>
                  </a:cubicBezTo>
                  <a:cubicBezTo>
                    <a:pt x="498142" y="349822"/>
                    <a:pt x="532735" y="356742"/>
                    <a:pt x="553491" y="377501"/>
                  </a:cubicBezTo>
                  <a:cubicBezTo>
                    <a:pt x="574236" y="391334"/>
                    <a:pt x="615716" y="384428"/>
                    <a:pt x="615758" y="384421"/>
                  </a:cubicBezTo>
                  <a:cubicBezTo>
                    <a:pt x="615758" y="384421"/>
                    <a:pt x="664189" y="405181"/>
                    <a:pt x="671107" y="412101"/>
                  </a:cubicBezTo>
                  <a:cubicBezTo>
                    <a:pt x="671107" y="419021"/>
                    <a:pt x="671107" y="474380"/>
                    <a:pt x="678026" y="515899"/>
                  </a:cubicBezTo>
                  <a:cubicBezTo>
                    <a:pt x="678026" y="515899"/>
                    <a:pt x="671107" y="654296"/>
                    <a:pt x="671107" y="744254"/>
                  </a:cubicBezTo>
                  <a:cubicBezTo>
                    <a:pt x="671107" y="819075"/>
                    <a:pt x="675894" y="802944"/>
                    <a:pt x="678026" y="799613"/>
                  </a:cubicBezTo>
                  <a:cubicBezTo>
                    <a:pt x="678026" y="813453"/>
                    <a:pt x="691863" y="931091"/>
                    <a:pt x="684945" y="944931"/>
                  </a:cubicBezTo>
                  <a:cubicBezTo>
                    <a:pt x="678026" y="965690"/>
                    <a:pt x="622677" y="1145607"/>
                    <a:pt x="615758" y="1159447"/>
                  </a:cubicBezTo>
                  <a:cubicBezTo>
                    <a:pt x="615758" y="1166364"/>
                    <a:pt x="615758" y="1214767"/>
                    <a:pt x="615758" y="1214806"/>
                  </a:cubicBezTo>
                  <a:cubicBezTo>
                    <a:pt x="595026" y="1235541"/>
                    <a:pt x="588100" y="1249373"/>
                    <a:pt x="588084" y="1249405"/>
                  </a:cubicBezTo>
                  <a:cubicBezTo>
                    <a:pt x="588084" y="1311684"/>
                    <a:pt x="581165" y="1408562"/>
                    <a:pt x="581165" y="1450081"/>
                  </a:cubicBezTo>
                  <a:cubicBezTo>
                    <a:pt x="588084" y="1505440"/>
                    <a:pt x="574246" y="1623078"/>
                    <a:pt x="581165" y="1685357"/>
                  </a:cubicBezTo>
                  <a:cubicBezTo>
                    <a:pt x="595002" y="1740716"/>
                    <a:pt x="588084" y="1982911"/>
                    <a:pt x="581165" y="2059030"/>
                  </a:cubicBezTo>
                  <a:cubicBezTo>
                    <a:pt x="581165" y="2121309"/>
                    <a:pt x="581165" y="2117416"/>
                    <a:pt x="581165" y="2121308"/>
                  </a:cubicBezTo>
                  <a:cubicBezTo>
                    <a:pt x="574254" y="2142044"/>
                    <a:pt x="581149" y="2148972"/>
                    <a:pt x="581165" y="2148988"/>
                  </a:cubicBezTo>
                  <a:cubicBezTo>
                    <a:pt x="581165" y="2148988"/>
                    <a:pt x="581165" y="2162828"/>
                    <a:pt x="581165" y="2183587"/>
                  </a:cubicBezTo>
                  <a:cubicBezTo>
                    <a:pt x="581165" y="2204331"/>
                    <a:pt x="567349" y="2204347"/>
                    <a:pt x="567328" y="2204347"/>
                  </a:cubicBezTo>
                  <a:cubicBezTo>
                    <a:pt x="567328" y="2204347"/>
                    <a:pt x="567328" y="2204347"/>
                    <a:pt x="588084" y="2266626"/>
                  </a:cubicBezTo>
                  <a:cubicBezTo>
                    <a:pt x="588084" y="2266626"/>
                    <a:pt x="588084" y="2266626"/>
                    <a:pt x="588949" y="2266626"/>
                  </a:cubicBezTo>
                  <a:lnTo>
                    <a:pt x="595002" y="2266626"/>
                  </a:lnTo>
                  <a:cubicBezTo>
                    <a:pt x="595002" y="2266626"/>
                    <a:pt x="595002" y="2266626"/>
                    <a:pt x="595002" y="2287385"/>
                  </a:cubicBezTo>
                  <a:cubicBezTo>
                    <a:pt x="574246" y="2294305"/>
                    <a:pt x="560409" y="2294305"/>
                    <a:pt x="518897" y="2294305"/>
                  </a:cubicBezTo>
                  <a:cubicBezTo>
                    <a:pt x="484319" y="2294305"/>
                    <a:pt x="456653" y="2287391"/>
                    <a:pt x="456630" y="2287385"/>
                  </a:cubicBezTo>
                  <a:cubicBezTo>
                    <a:pt x="456630" y="2287385"/>
                    <a:pt x="456630" y="2287385"/>
                    <a:pt x="456630" y="2266626"/>
                  </a:cubicBezTo>
                  <a:cubicBezTo>
                    <a:pt x="456630" y="2266626"/>
                    <a:pt x="456630" y="2266626"/>
                    <a:pt x="456630" y="2265761"/>
                  </a:cubicBezTo>
                  <a:lnTo>
                    <a:pt x="456630" y="2259706"/>
                  </a:lnTo>
                  <a:cubicBezTo>
                    <a:pt x="456630" y="2259706"/>
                    <a:pt x="456630" y="2259706"/>
                    <a:pt x="463548" y="2232026"/>
                  </a:cubicBezTo>
                  <a:cubicBezTo>
                    <a:pt x="463548" y="2232026"/>
                    <a:pt x="463548" y="2232026"/>
                    <a:pt x="463548" y="2231161"/>
                  </a:cubicBezTo>
                  <a:lnTo>
                    <a:pt x="463548" y="2225106"/>
                  </a:lnTo>
                  <a:cubicBezTo>
                    <a:pt x="463548" y="2225106"/>
                    <a:pt x="463548" y="2225106"/>
                    <a:pt x="462683" y="2224241"/>
                  </a:cubicBezTo>
                  <a:lnTo>
                    <a:pt x="456630" y="2218187"/>
                  </a:lnTo>
                  <a:cubicBezTo>
                    <a:pt x="456630" y="2218187"/>
                    <a:pt x="456630" y="2218187"/>
                    <a:pt x="455765" y="2218187"/>
                  </a:cubicBezTo>
                  <a:lnTo>
                    <a:pt x="449711" y="2218187"/>
                  </a:lnTo>
                  <a:cubicBezTo>
                    <a:pt x="442793" y="2211267"/>
                    <a:pt x="463548" y="2197427"/>
                    <a:pt x="449711" y="2190507"/>
                  </a:cubicBezTo>
                  <a:cubicBezTo>
                    <a:pt x="435874" y="2190507"/>
                    <a:pt x="428955" y="2155908"/>
                    <a:pt x="428955" y="2135148"/>
                  </a:cubicBezTo>
                  <a:cubicBezTo>
                    <a:pt x="428955" y="2107469"/>
                    <a:pt x="408199" y="1941392"/>
                    <a:pt x="401281" y="1872193"/>
                  </a:cubicBezTo>
                  <a:cubicBezTo>
                    <a:pt x="387444" y="1796075"/>
                    <a:pt x="394362" y="1650757"/>
                    <a:pt x="387444" y="1588479"/>
                  </a:cubicBezTo>
                  <a:cubicBezTo>
                    <a:pt x="380526" y="1533130"/>
                    <a:pt x="359777" y="1429360"/>
                    <a:pt x="359769" y="1429322"/>
                  </a:cubicBezTo>
                  <a:cubicBezTo>
                    <a:pt x="359769" y="1429322"/>
                    <a:pt x="339013" y="1574639"/>
                    <a:pt x="339013" y="1602318"/>
                  </a:cubicBezTo>
                  <a:cubicBezTo>
                    <a:pt x="339013" y="1629998"/>
                    <a:pt x="290583" y="1886033"/>
                    <a:pt x="290583" y="1920632"/>
                  </a:cubicBezTo>
                  <a:cubicBezTo>
                    <a:pt x="290583" y="1955232"/>
                    <a:pt x="318257" y="2135148"/>
                    <a:pt x="318257" y="2162828"/>
                  </a:cubicBezTo>
                  <a:cubicBezTo>
                    <a:pt x="325176" y="2183587"/>
                    <a:pt x="325176" y="2225106"/>
                    <a:pt x="325176" y="2232026"/>
                  </a:cubicBezTo>
                  <a:cubicBezTo>
                    <a:pt x="325176" y="2238937"/>
                    <a:pt x="332076" y="2245848"/>
                    <a:pt x="332094" y="2245866"/>
                  </a:cubicBezTo>
                  <a:cubicBezTo>
                    <a:pt x="332094" y="2245866"/>
                    <a:pt x="332094" y="2245866"/>
                    <a:pt x="332094" y="2266626"/>
                  </a:cubicBezTo>
                  <a:cubicBezTo>
                    <a:pt x="332094" y="2266626"/>
                    <a:pt x="332094" y="2266626"/>
                    <a:pt x="242152" y="2280465"/>
                  </a:cubicBezTo>
                  <a:cubicBezTo>
                    <a:pt x="242152" y="2280465"/>
                    <a:pt x="242152" y="2280465"/>
                    <a:pt x="242152" y="2259706"/>
                  </a:cubicBezTo>
                  <a:cubicBezTo>
                    <a:pt x="242152" y="2259706"/>
                    <a:pt x="179884" y="2280465"/>
                    <a:pt x="110698" y="2287385"/>
                  </a:cubicBezTo>
                  <a:cubicBezTo>
                    <a:pt x="41550" y="2287385"/>
                    <a:pt x="45" y="2273561"/>
                    <a:pt x="0" y="2273546"/>
                  </a:cubicBezTo>
                  <a:cubicBezTo>
                    <a:pt x="0" y="2273546"/>
                    <a:pt x="0" y="2273546"/>
                    <a:pt x="0" y="2272681"/>
                  </a:cubicBezTo>
                  <a:lnTo>
                    <a:pt x="0" y="2266626"/>
                  </a:lnTo>
                  <a:cubicBezTo>
                    <a:pt x="0" y="2266626"/>
                    <a:pt x="0" y="2266626"/>
                    <a:pt x="865" y="2266626"/>
                  </a:cubicBezTo>
                  <a:lnTo>
                    <a:pt x="6918" y="2266626"/>
                  </a:lnTo>
                  <a:cubicBezTo>
                    <a:pt x="6918" y="2266626"/>
                    <a:pt x="6918" y="2245866"/>
                    <a:pt x="13837" y="2245866"/>
                  </a:cubicBezTo>
                  <a:cubicBezTo>
                    <a:pt x="20756" y="2238946"/>
                    <a:pt x="69186" y="2245866"/>
                    <a:pt x="89942" y="2238946"/>
                  </a:cubicBezTo>
                  <a:cubicBezTo>
                    <a:pt x="110688" y="2232030"/>
                    <a:pt x="145257" y="2211287"/>
                    <a:pt x="145291" y="2211267"/>
                  </a:cubicBezTo>
                  <a:cubicBezTo>
                    <a:pt x="145291" y="2211267"/>
                    <a:pt x="145291" y="2211267"/>
                    <a:pt x="144426" y="2210402"/>
                  </a:cubicBezTo>
                  <a:lnTo>
                    <a:pt x="138372" y="2204347"/>
                  </a:lnTo>
                  <a:cubicBezTo>
                    <a:pt x="138372" y="2204347"/>
                    <a:pt x="145291" y="2197427"/>
                    <a:pt x="152210" y="2197427"/>
                  </a:cubicBezTo>
                  <a:cubicBezTo>
                    <a:pt x="152210" y="2190507"/>
                    <a:pt x="152210" y="2169748"/>
                    <a:pt x="145291" y="2162828"/>
                  </a:cubicBezTo>
                  <a:cubicBezTo>
                    <a:pt x="131454" y="2148988"/>
                    <a:pt x="166047" y="2128228"/>
                    <a:pt x="152210" y="2114389"/>
                  </a:cubicBezTo>
                  <a:cubicBezTo>
                    <a:pt x="145291" y="2107469"/>
                    <a:pt x="138372" y="2079789"/>
                    <a:pt x="138372" y="2045190"/>
                  </a:cubicBezTo>
                  <a:cubicBezTo>
                    <a:pt x="138372" y="2003671"/>
                    <a:pt x="145291" y="1713036"/>
                    <a:pt x="138372" y="1664597"/>
                  </a:cubicBezTo>
                  <a:cubicBezTo>
                    <a:pt x="131454" y="1616158"/>
                    <a:pt x="131454" y="1498520"/>
                    <a:pt x="124535" y="1429322"/>
                  </a:cubicBezTo>
                  <a:cubicBezTo>
                    <a:pt x="117617" y="1360132"/>
                    <a:pt x="110700" y="1201007"/>
                    <a:pt x="110698" y="1200966"/>
                  </a:cubicBezTo>
                  <a:cubicBezTo>
                    <a:pt x="110698" y="1200966"/>
                    <a:pt x="110698" y="1200966"/>
                    <a:pt x="89942" y="1194046"/>
                  </a:cubicBezTo>
                  <a:cubicBezTo>
                    <a:pt x="89942" y="1194046"/>
                    <a:pt x="76105" y="1194046"/>
                    <a:pt x="76105" y="1180206"/>
                  </a:cubicBezTo>
                  <a:cubicBezTo>
                    <a:pt x="69186" y="1166366"/>
                    <a:pt x="62267" y="1069488"/>
                    <a:pt x="69186" y="1034889"/>
                  </a:cubicBezTo>
                  <a:cubicBezTo>
                    <a:pt x="76105" y="1000290"/>
                    <a:pt x="55349" y="854972"/>
                    <a:pt x="62267" y="778854"/>
                  </a:cubicBezTo>
                  <a:cubicBezTo>
                    <a:pt x="76105" y="695815"/>
                    <a:pt x="41512" y="522819"/>
                    <a:pt x="41512" y="502059"/>
                  </a:cubicBezTo>
                  <a:cubicBezTo>
                    <a:pt x="48430" y="481299"/>
                    <a:pt x="55349" y="474380"/>
                    <a:pt x="55349" y="453620"/>
                  </a:cubicBezTo>
                  <a:cubicBezTo>
                    <a:pt x="62267" y="432860"/>
                    <a:pt x="55349" y="405181"/>
                    <a:pt x="76105" y="391341"/>
                  </a:cubicBezTo>
                  <a:cubicBezTo>
                    <a:pt x="83019" y="391341"/>
                    <a:pt x="96845" y="391341"/>
                    <a:pt x="96861" y="391341"/>
                  </a:cubicBezTo>
                  <a:cubicBezTo>
                    <a:pt x="96861" y="391341"/>
                    <a:pt x="96861" y="391341"/>
                    <a:pt x="159128" y="370581"/>
                  </a:cubicBezTo>
                  <a:cubicBezTo>
                    <a:pt x="159128" y="370581"/>
                    <a:pt x="172966" y="363662"/>
                    <a:pt x="179884" y="363662"/>
                  </a:cubicBezTo>
                  <a:cubicBezTo>
                    <a:pt x="193721" y="356742"/>
                    <a:pt x="228315" y="342902"/>
                    <a:pt x="235234" y="342902"/>
                  </a:cubicBezTo>
                  <a:cubicBezTo>
                    <a:pt x="249061" y="335987"/>
                    <a:pt x="255980" y="356712"/>
                    <a:pt x="255990" y="356742"/>
                  </a:cubicBezTo>
                  <a:cubicBezTo>
                    <a:pt x="255990" y="356742"/>
                    <a:pt x="242152" y="356742"/>
                    <a:pt x="235234" y="356742"/>
                  </a:cubicBezTo>
                  <a:cubicBezTo>
                    <a:pt x="235234" y="363662"/>
                    <a:pt x="262908" y="412101"/>
                    <a:pt x="276745" y="460540"/>
                  </a:cubicBezTo>
                  <a:cubicBezTo>
                    <a:pt x="290575" y="508953"/>
                    <a:pt x="311317" y="557367"/>
                    <a:pt x="311339" y="557418"/>
                  </a:cubicBezTo>
                  <a:cubicBezTo>
                    <a:pt x="311339" y="557418"/>
                    <a:pt x="332094" y="502059"/>
                    <a:pt x="332094" y="495139"/>
                  </a:cubicBezTo>
                  <a:cubicBezTo>
                    <a:pt x="339004" y="495139"/>
                    <a:pt x="345914" y="488237"/>
                    <a:pt x="345932" y="488219"/>
                  </a:cubicBezTo>
                  <a:cubicBezTo>
                    <a:pt x="345932" y="488219"/>
                    <a:pt x="345932" y="488219"/>
                    <a:pt x="344202" y="488219"/>
                  </a:cubicBezTo>
                  <a:lnTo>
                    <a:pt x="332094" y="488219"/>
                  </a:lnTo>
                  <a:cubicBezTo>
                    <a:pt x="332094" y="488219"/>
                    <a:pt x="325176" y="474380"/>
                    <a:pt x="325176" y="467460"/>
                  </a:cubicBezTo>
                  <a:cubicBezTo>
                    <a:pt x="325176" y="460540"/>
                    <a:pt x="345932" y="425940"/>
                    <a:pt x="352850" y="425940"/>
                  </a:cubicBezTo>
                  <a:cubicBezTo>
                    <a:pt x="359766" y="419024"/>
                    <a:pt x="373592" y="460498"/>
                    <a:pt x="373606" y="460540"/>
                  </a:cubicBezTo>
                  <a:cubicBezTo>
                    <a:pt x="373606" y="467455"/>
                    <a:pt x="366697" y="481282"/>
                    <a:pt x="366688" y="481299"/>
                  </a:cubicBezTo>
                  <a:cubicBezTo>
                    <a:pt x="366688" y="481299"/>
                    <a:pt x="366688" y="508979"/>
                    <a:pt x="373606" y="529738"/>
                  </a:cubicBezTo>
                  <a:cubicBezTo>
                    <a:pt x="373606" y="550480"/>
                    <a:pt x="373606" y="564314"/>
                    <a:pt x="373606" y="564338"/>
                  </a:cubicBezTo>
                  <a:cubicBezTo>
                    <a:pt x="373606" y="564338"/>
                    <a:pt x="408199" y="522819"/>
                    <a:pt x="415118" y="508979"/>
                  </a:cubicBezTo>
                  <a:cubicBezTo>
                    <a:pt x="422037" y="495139"/>
                    <a:pt x="456630" y="419021"/>
                    <a:pt x="463548" y="384421"/>
                  </a:cubicBezTo>
                  <a:cubicBezTo>
                    <a:pt x="463548" y="342917"/>
                    <a:pt x="435894" y="335987"/>
                    <a:pt x="435874" y="335982"/>
                  </a:cubicBezTo>
                  <a:close/>
                  <a:moveTo>
                    <a:pt x="335015" y="198"/>
                  </a:moveTo>
                  <a:cubicBezTo>
                    <a:pt x="360124" y="1585"/>
                    <a:pt x="379262" y="9896"/>
                    <a:pt x="388134" y="14613"/>
                  </a:cubicBezTo>
                  <a:cubicBezTo>
                    <a:pt x="390504" y="14935"/>
                    <a:pt x="392722" y="15581"/>
                    <a:pt x="394574" y="17121"/>
                  </a:cubicBezTo>
                  <a:cubicBezTo>
                    <a:pt x="397664" y="14255"/>
                    <a:pt x="410471" y="4828"/>
                    <a:pt x="428435" y="10780"/>
                  </a:cubicBezTo>
                  <a:cubicBezTo>
                    <a:pt x="449291" y="24600"/>
                    <a:pt x="463195" y="52241"/>
                    <a:pt x="463195" y="79882"/>
                  </a:cubicBezTo>
                  <a:cubicBezTo>
                    <a:pt x="456243" y="107523"/>
                    <a:pt x="463195" y="121344"/>
                    <a:pt x="463195" y="121344"/>
                  </a:cubicBezTo>
                  <a:lnTo>
                    <a:pt x="457112" y="115297"/>
                  </a:lnTo>
                  <a:cubicBezTo>
                    <a:pt x="456237" y="114459"/>
                    <a:pt x="454641" y="120804"/>
                    <a:pt x="452988" y="128169"/>
                  </a:cubicBezTo>
                  <a:cubicBezTo>
                    <a:pt x="458087" y="128994"/>
                    <a:pt x="462191" y="139723"/>
                    <a:pt x="462191" y="150452"/>
                  </a:cubicBezTo>
                  <a:cubicBezTo>
                    <a:pt x="462191" y="164332"/>
                    <a:pt x="462191" y="185152"/>
                    <a:pt x="462191" y="192093"/>
                  </a:cubicBezTo>
                  <a:cubicBezTo>
                    <a:pt x="455323" y="199033"/>
                    <a:pt x="448454" y="205973"/>
                    <a:pt x="448454" y="205973"/>
                  </a:cubicBezTo>
                  <a:lnTo>
                    <a:pt x="445020" y="198165"/>
                  </a:lnTo>
                  <a:cubicBezTo>
                    <a:pt x="443303" y="197298"/>
                    <a:pt x="441586" y="199033"/>
                    <a:pt x="441586" y="205973"/>
                  </a:cubicBezTo>
                  <a:cubicBezTo>
                    <a:pt x="441586" y="212913"/>
                    <a:pt x="434717" y="233734"/>
                    <a:pt x="434717" y="247614"/>
                  </a:cubicBezTo>
                  <a:cubicBezTo>
                    <a:pt x="427849" y="261494"/>
                    <a:pt x="420981" y="275375"/>
                    <a:pt x="420981" y="275375"/>
                  </a:cubicBezTo>
                  <a:cubicBezTo>
                    <a:pt x="420960" y="275396"/>
                    <a:pt x="414112" y="282346"/>
                    <a:pt x="414112" y="303135"/>
                  </a:cubicBezTo>
                  <a:cubicBezTo>
                    <a:pt x="414112" y="323956"/>
                    <a:pt x="359165" y="344776"/>
                    <a:pt x="359165" y="344776"/>
                  </a:cubicBezTo>
                  <a:cubicBezTo>
                    <a:pt x="359113" y="344765"/>
                    <a:pt x="290482" y="330888"/>
                    <a:pt x="290482" y="310075"/>
                  </a:cubicBezTo>
                  <a:cubicBezTo>
                    <a:pt x="290482" y="282315"/>
                    <a:pt x="283613" y="289255"/>
                    <a:pt x="283613" y="289255"/>
                  </a:cubicBezTo>
                  <a:cubicBezTo>
                    <a:pt x="283597" y="289223"/>
                    <a:pt x="276737" y="275350"/>
                    <a:pt x="269876" y="254554"/>
                  </a:cubicBezTo>
                  <a:cubicBezTo>
                    <a:pt x="263008" y="233734"/>
                    <a:pt x="256140" y="212913"/>
                    <a:pt x="256140" y="212913"/>
                  </a:cubicBezTo>
                  <a:cubicBezTo>
                    <a:pt x="256127" y="212939"/>
                    <a:pt x="249271" y="226787"/>
                    <a:pt x="249271" y="219853"/>
                  </a:cubicBezTo>
                  <a:cubicBezTo>
                    <a:pt x="242403" y="205973"/>
                    <a:pt x="242403" y="185152"/>
                    <a:pt x="235535" y="171272"/>
                  </a:cubicBezTo>
                  <a:cubicBezTo>
                    <a:pt x="228666" y="157392"/>
                    <a:pt x="235535" y="143511"/>
                    <a:pt x="242403" y="143511"/>
                  </a:cubicBezTo>
                  <a:lnTo>
                    <a:pt x="242472" y="143481"/>
                  </a:lnTo>
                  <a:cubicBezTo>
                    <a:pt x="242167" y="142192"/>
                    <a:pt x="241466" y="142075"/>
                    <a:pt x="240727" y="142075"/>
                  </a:cubicBezTo>
                  <a:lnTo>
                    <a:pt x="228560" y="139483"/>
                  </a:lnTo>
                  <a:cubicBezTo>
                    <a:pt x="226822" y="142038"/>
                    <a:pt x="226831" y="128254"/>
                    <a:pt x="233775" y="128254"/>
                  </a:cubicBezTo>
                  <a:cubicBezTo>
                    <a:pt x="240727" y="128254"/>
                    <a:pt x="240727" y="114434"/>
                    <a:pt x="240727" y="114434"/>
                  </a:cubicBezTo>
                  <a:cubicBezTo>
                    <a:pt x="240705" y="114455"/>
                    <a:pt x="233764" y="121344"/>
                    <a:pt x="226822" y="121344"/>
                  </a:cubicBezTo>
                  <a:cubicBezTo>
                    <a:pt x="226794" y="121344"/>
                    <a:pt x="219870" y="121344"/>
                    <a:pt x="219870" y="121344"/>
                  </a:cubicBezTo>
                  <a:cubicBezTo>
                    <a:pt x="219899" y="121329"/>
                    <a:pt x="233775" y="114412"/>
                    <a:pt x="233775" y="93703"/>
                  </a:cubicBezTo>
                  <a:cubicBezTo>
                    <a:pt x="233775" y="72972"/>
                    <a:pt x="240727" y="24600"/>
                    <a:pt x="296344" y="3869"/>
                  </a:cubicBezTo>
                  <a:cubicBezTo>
                    <a:pt x="310248" y="414"/>
                    <a:pt x="323283" y="-450"/>
                    <a:pt x="335015"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41" name="Freeform 24"/>
            <p:cNvSpPr/>
            <p:nvPr/>
          </p:nvSpPr>
          <p:spPr bwMode="auto">
            <a:xfrm>
              <a:off x="6770687" y="2273334"/>
              <a:ext cx="689792" cy="2294305"/>
            </a:xfrm>
            <a:custGeom>
              <a:avLst/>
              <a:gdLst/>
              <a:ahLst/>
              <a:cxnLst/>
              <a:rect l="l" t="t" r="r" b="b"/>
              <a:pathLst>
                <a:path w="689792" h="2294305">
                  <a:moveTo>
                    <a:pt x="437721" y="335982"/>
                  </a:moveTo>
                  <a:cubicBezTo>
                    <a:pt x="437721" y="335982"/>
                    <a:pt x="479409" y="342902"/>
                    <a:pt x="493305" y="349822"/>
                  </a:cubicBezTo>
                  <a:cubicBezTo>
                    <a:pt x="500253" y="349822"/>
                    <a:pt x="541940" y="356742"/>
                    <a:pt x="555836" y="377501"/>
                  </a:cubicBezTo>
                  <a:cubicBezTo>
                    <a:pt x="576671" y="391335"/>
                    <a:pt x="618329" y="384428"/>
                    <a:pt x="618368" y="384421"/>
                  </a:cubicBezTo>
                  <a:cubicBezTo>
                    <a:pt x="618368" y="384421"/>
                    <a:pt x="667003" y="405181"/>
                    <a:pt x="673951" y="412101"/>
                  </a:cubicBezTo>
                  <a:cubicBezTo>
                    <a:pt x="673951" y="419021"/>
                    <a:pt x="673951" y="474380"/>
                    <a:pt x="680899" y="515899"/>
                  </a:cubicBezTo>
                  <a:cubicBezTo>
                    <a:pt x="680899" y="515899"/>
                    <a:pt x="673951" y="654296"/>
                    <a:pt x="673951" y="744254"/>
                  </a:cubicBezTo>
                  <a:cubicBezTo>
                    <a:pt x="673951" y="819087"/>
                    <a:pt x="678759" y="802939"/>
                    <a:pt x="680899" y="799613"/>
                  </a:cubicBezTo>
                  <a:cubicBezTo>
                    <a:pt x="680899" y="813453"/>
                    <a:pt x="694795" y="931091"/>
                    <a:pt x="687847" y="944931"/>
                  </a:cubicBezTo>
                  <a:cubicBezTo>
                    <a:pt x="680899" y="965690"/>
                    <a:pt x="625316" y="1145607"/>
                    <a:pt x="618368" y="1159447"/>
                  </a:cubicBezTo>
                  <a:cubicBezTo>
                    <a:pt x="618368" y="1166364"/>
                    <a:pt x="618368" y="1214767"/>
                    <a:pt x="618368" y="1214806"/>
                  </a:cubicBezTo>
                  <a:cubicBezTo>
                    <a:pt x="597547" y="1235542"/>
                    <a:pt x="590592" y="1249374"/>
                    <a:pt x="590576" y="1249405"/>
                  </a:cubicBezTo>
                  <a:cubicBezTo>
                    <a:pt x="590576" y="1311684"/>
                    <a:pt x="583628" y="1408562"/>
                    <a:pt x="583628" y="1450081"/>
                  </a:cubicBezTo>
                  <a:cubicBezTo>
                    <a:pt x="590576" y="1505440"/>
                    <a:pt x="576680" y="1623078"/>
                    <a:pt x="583628" y="1685357"/>
                  </a:cubicBezTo>
                  <a:cubicBezTo>
                    <a:pt x="597524" y="1740716"/>
                    <a:pt x="590576" y="1982911"/>
                    <a:pt x="583628" y="2059030"/>
                  </a:cubicBezTo>
                  <a:cubicBezTo>
                    <a:pt x="583628" y="2121309"/>
                    <a:pt x="583628" y="2117416"/>
                    <a:pt x="583628" y="2121308"/>
                  </a:cubicBezTo>
                  <a:cubicBezTo>
                    <a:pt x="583628" y="2142040"/>
                    <a:pt x="583628" y="2148969"/>
                    <a:pt x="583628" y="2148988"/>
                  </a:cubicBezTo>
                  <a:cubicBezTo>
                    <a:pt x="583628" y="2148988"/>
                    <a:pt x="590576" y="2162828"/>
                    <a:pt x="590576" y="2183587"/>
                  </a:cubicBezTo>
                  <a:cubicBezTo>
                    <a:pt x="583642" y="2204305"/>
                    <a:pt x="576708" y="2204347"/>
                    <a:pt x="576680" y="2204347"/>
                  </a:cubicBezTo>
                  <a:cubicBezTo>
                    <a:pt x="576680" y="2204347"/>
                    <a:pt x="576680" y="2204347"/>
                    <a:pt x="590576" y="2266626"/>
                  </a:cubicBezTo>
                  <a:cubicBezTo>
                    <a:pt x="590576" y="2266626"/>
                    <a:pt x="590576" y="2266626"/>
                    <a:pt x="591445" y="2266626"/>
                  </a:cubicBezTo>
                  <a:lnTo>
                    <a:pt x="597524" y="2266626"/>
                  </a:lnTo>
                  <a:cubicBezTo>
                    <a:pt x="597524" y="2266626"/>
                    <a:pt x="597524" y="2266626"/>
                    <a:pt x="597524" y="2287385"/>
                  </a:cubicBezTo>
                  <a:cubicBezTo>
                    <a:pt x="576680" y="2294305"/>
                    <a:pt x="562784" y="2294305"/>
                    <a:pt x="528044" y="2294305"/>
                  </a:cubicBezTo>
                  <a:cubicBezTo>
                    <a:pt x="486380" y="2294305"/>
                    <a:pt x="458596" y="2287393"/>
                    <a:pt x="458565" y="2287385"/>
                  </a:cubicBezTo>
                  <a:cubicBezTo>
                    <a:pt x="458565" y="2287385"/>
                    <a:pt x="458565" y="2287385"/>
                    <a:pt x="458565" y="2266626"/>
                  </a:cubicBezTo>
                  <a:cubicBezTo>
                    <a:pt x="458565" y="2266626"/>
                    <a:pt x="458565" y="2266626"/>
                    <a:pt x="459433" y="2265761"/>
                  </a:cubicBezTo>
                  <a:lnTo>
                    <a:pt x="465513" y="2259706"/>
                  </a:lnTo>
                  <a:cubicBezTo>
                    <a:pt x="465513" y="2259706"/>
                    <a:pt x="465513" y="2259706"/>
                    <a:pt x="465513" y="2232026"/>
                  </a:cubicBezTo>
                  <a:cubicBezTo>
                    <a:pt x="465513" y="2232026"/>
                    <a:pt x="465513" y="2232026"/>
                    <a:pt x="465513" y="2231161"/>
                  </a:cubicBezTo>
                  <a:lnTo>
                    <a:pt x="465513" y="2225106"/>
                  </a:lnTo>
                  <a:cubicBezTo>
                    <a:pt x="465513" y="2225106"/>
                    <a:pt x="465513" y="2225106"/>
                    <a:pt x="464644" y="2224241"/>
                  </a:cubicBezTo>
                  <a:lnTo>
                    <a:pt x="458565" y="2218187"/>
                  </a:lnTo>
                  <a:cubicBezTo>
                    <a:pt x="458565" y="2218187"/>
                    <a:pt x="458565" y="2218187"/>
                    <a:pt x="457696" y="2218187"/>
                  </a:cubicBezTo>
                  <a:lnTo>
                    <a:pt x="451617" y="2218187"/>
                  </a:lnTo>
                  <a:cubicBezTo>
                    <a:pt x="451617" y="2211267"/>
                    <a:pt x="465513" y="2197427"/>
                    <a:pt x="451617" y="2190507"/>
                  </a:cubicBezTo>
                  <a:cubicBezTo>
                    <a:pt x="437721" y="2190507"/>
                    <a:pt x="430773" y="2155908"/>
                    <a:pt x="430773" y="2135148"/>
                  </a:cubicBezTo>
                  <a:cubicBezTo>
                    <a:pt x="430773" y="2107469"/>
                    <a:pt x="409929" y="1941392"/>
                    <a:pt x="402981" y="1872193"/>
                  </a:cubicBezTo>
                  <a:cubicBezTo>
                    <a:pt x="389085" y="1796075"/>
                    <a:pt x="396033" y="1650757"/>
                    <a:pt x="389085" y="1588479"/>
                  </a:cubicBezTo>
                  <a:cubicBezTo>
                    <a:pt x="382139" y="1533130"/>
                    <a:pt x="368247" y="1429362"/>
                    <a:pt x="368242" y="1429322"/>
                  </a:cubicBezTo>
                  <a:cubicBezTo>
                    <a:pt x="368242" y="1429322"/>
                    <a:pt x="340450" y="1574639"/>
                    <a:pt x="340450" y="1602318"/>
                  </a:cubicBezTo>
                  <a:cubicBezTo>
                    <a:pt x="340450" y="1629998"/>
                    <a:pt x="291814" y="1886033"/>
                    <a:pt x="291814" y="1920632"/>
                  </a:cubicBezTo>
                  <a:cubicBezTo>
                    <a:pt x="291814" y="1955232"/>
                    <a:pt x="319606" y="2135148"/>
                    <a:pt x="326554" y="2162828"/>
                  </a:cubicBezTo>
                  <a:cubicBezTo>
                    <a:pt x="326554" y="2183587"/>
                    <a:pt x="326554" y="2225106"/>
                    <a:pt x="326554" y="2232026"/>
                  </a:cubicBezTo>
                  <a:cubicBezTo>
                    <a:pt x="326554" y="2238937"/>
                    <a:pt x="333483" y="2245848"/>
                    <a:pt x="333502" y="2245866"/>
                  </a:cubicBezTo>
                  <a:cubicBezTo>
                    <a:pt x="333502" y="2245866"/>
                    <a:pt x="333502" y="2245866"/>
                    <a:pt x="333502" y="2266626"/>
                  </a:cubicBezTo>
                  <a:cubicBezTo>
                    <a:pt x="333502" y="2266626"/>
                    <a:pt x="333502" y="2266626"/>
                    <a:pt x="250126" y="2280465"/>
                  </a:cubicBezTo>
                  <a:cubicBezTo>
                    <a:pt x="250126" y="2280465"/>
                    <a:pt x="250126" y="2280465"/>
                    <a:pt x="250126" y="2259706"/>
                  </a:cubicBezTo>
                  <a:cubicBezTo>
                    <a:pt x="250126" y="2259706"/>
                    <a:pt x="180646" y="2280465"/>
                    <a:pt x="111167" y="2287385"/>
                  </a:cubicBezTo>
                  <a:cubicBezTo>
                    <a:pt x="41722" y="2287385"/>
                    <a:pt x="41" y="2273560"/>
                    <a:pt x="0" y="2273546"/>
                  </a:cubicBezTo>
                  <a:cubicBezTo>
                    <a:pt x="0" y="2273546"/>
                    <a:pt x="0" y="2273546"/>
                    <a:pt x="0" y="2272681"/>
                  </a:cubicBezTo>
                  <a:lnTo>
                    <a:pt x="0" y="2266626"/>
                  </a:lnTo>
                  <a:cubicBezTo>
                    <a:pt x="0" y="2266626"/>
                    <a:pt x="0" y="2266626"/>
                    <a:pt x="868" y="2266626"/>
                  </a:cubicBezTo>
                  <a:lnTo>
                    <a:pt x="6948" y="2266626"/>
                  </a:lnTo>
                  <a:cubicBezTo>
                    <a:pt x="6948" y="2266626"/>
                    <a:pt x="6948" y="2245866"/>
                    <a:pt x="13896" y="2245866"/>
                  </a:cubicBezTo>
                  <a:cubicBezTo>
                    <a:pt x="27792" y="2238946"/>
                    <a:pt x="69479" y="2245866"/>
                    <a:pt x="97271" y="2238946"/>
                  </a:cubicBezTo>
                  <a:cubicBezTo>
                    <a:pt x="118106" y="2232029"/>
                    <a:pt x="145885" y="2211283"/>
                    <a:pt x="145907" y="2211267"/>
                  </a:cubicBezTo>
                  <a:cubicBezTo>
                    <a:pt x="145907" y="2211267"/>
                    <a:pt x="145907" y="2211267"/>
                    <a:pt x="145038" y="2210402"/>
                  </a:cubicBezTo>
                  <a:lnTo>
                    <a:pt x="138959" y="2204347"/>
                  </a:lnTo>
                  <a:cubicBezTo>
                    <a:pt x="138959" y="2204347"/>
                    <a:pt x="145907" y="2197427"/>
                    <a:pt x="152855" y="2197427"/>
                  </a:cubicBezTo>
                  <a:cubicBezTo>
                    <a:pt x="159803" y="2190507"/>
                    <a:pt x="152855" y="2169748"/>
                    <a:pt x="145907" y="2162828"/>
                  </a:cubicBezTo>
                  <a:cubicBezTo>
                    <a:pt x="138959" y="2148988"/>
                    <a:pt x="166751" y="2128228"/>
                    <a:pt x="152855" y="2114389"/>
                  </a:cubicBezTo>
                  <a:cubicBezTo>
                    <a:pt x="145907" y="2107469"/>
                    <a:pt x="138959" y="2079789"/>
                    <a:pt x="138959" y="2045190"/>
                  </a:cubicBezTo>
                  <a:cubicBezTo>
                    <a:pt x="145907" y="2003671"/>
                    <a:pt x="145907" y="1713036"/>
                    <a:pt x="138959" y="1664597"/>
                  </a:cubicBezTo>
                  <a:cubicBezTo>
                    <a:pt x="132011" y="1616158"/>
                    <a:pt x="132011" y="1498520"/>
                    <a:pt x="125063" y="1429322"/>
                  </a:cubicBezTo>
                  <a:cubicBezTo>
                    <a:pt x="118116" y="1360132"/>
                    <a:pt x="111169" y="1201008"/>
                    <a:pt x="111167" y="1200966"/>
                  </a:cubicBezTo>
                  <a:cubicBezTo>
                    <a:pt x="111167" y="1200966"/>
                    <a:pt x="111167" y="1200966"/>
                    <a:pt x="90323" y="1194046"/>
                  </a:cubicBezTo>
                  <a:cubicBezTo>
                    <a:pt x="90323" y="1194046"/>
                    <a:pt x="76427" y="1194046"/>
                    <a:pt x="76427" y="1180206"/>
                  </a:cubicBezTo>
                  <a:cubicBezTo>
                    <a:pt x="69479" y="1166366"/>
                    <a:pt x="62531" y="1069488"/>
                    <a:pt x="69479" y="1034889"/>
                  </a:cubicBezTo>
                  <a:cubicBezTo>
                    <a:pt x="76427" y="1000290"/>
                    <a:pt x="55583" y="854972"/>
                    <a:pt x="69479" y="778854"/>
                  </a:cubicBezTo>
                  <a:cubicBezTo>
                    <a:pt x="76427" y="695815"/>
                    <a:pt x="41687" y="522819"/>
                    <a:pt x="48635" y="502059"/>
                  </a:cubicBezTo>
                  <a:cubicBezTo>
                    <a:pt x="48635" y="481299"/>
                    <a:pt x="55583" y="474380"/>
                    <a:pt x="62531" y="453620"/>
                  </a:cubicBezTo>
                  <a:cubicBezTo>
                    <a:pt x="62531" y="432860"/>
                    <a:pt x="62531" y="405181"/>
                    <a:pt x="76427" y="391341"/>
                  </a:cubicBezTo>
                  <a:cubicBezTo>
                    <a:pt x="83367" y="391341"/>
                    <a:pt x="97237" y="391341"/>
                    <a:pt x="97271" y="391341"/>
                  </a:cubicBezTo>
                  <a:cubicBezTo>
                    <a:pt x="97271" y="391341"/>
                    <a:pt x="97271" y="391341"/>
                    <a:pt x="166751" y="370581"/>
                  </a:cubicBezTo>
                  <a:cubicBezTo>
                    <a:pt x="166751" y="370581"/>
                    <a:pt x="173699" y="363662"/>
                    <a:pt x="187594" y="363662"/>
                  </a:cubicBezTo>
                  <a:cubicBezTo>
                    <a:pt x="201490" y="356742"/>
                    <a:pt x="229283" y="342902"/>
                    <a:pt x="243178" y="342902"/>
                  </a:cubicBezTo>
                  <a:cubicBezTo>
                    <a:pt x="250122" y="335987"/>
                    <a:pt x="257065" y="356715"/>
                    <a:pt x="257074" y="356742"/>
                  </a:cubicBezTo>
                  <a:cubicBezTo>
                    <a:pt x="257074" y="356742"/>
                    <a:pt x="243203" y="356742"/>
                    <a:pt x="243178" y="356742"/>
                  </a:cubicBezTo>
                  <a:cubicBezTo>
                    <a:pt x="236231" y="363662"/>
                    <a:pt x="264022" y="412101"/>
                    <a:pt x="277918" y="460540"/>
                  </a:cubicBezTo>
                  <a:cubicBezTo>
                    <a:pt x="291807" y="508953"/>
                    <a:pt x="312636" y="557367"/>
                    <a:pt x="312658" y="557418"/>
                  </a:cubicBezTo>
                  <a:cubicBezTo>
                    <a:pt x="312658" y="557418"/>
                    <a:pt x="333502" y="502059"/>
                    <a:pt x="340450" y="495139"/>
                  </a:cubicBezTo>
                  <a:cubicBezTo>
                    <a:pt x="340450" y="495139"/>
                    <a:pt x="354318" y="488233"/>
                    <a:pt x="354346" y="488219"/>
                  </a:cubicBezTo>
                  <a:cubicBezTo>
                    <a:pt x="354346" y="488219"/>
                    <a:pt x="354346" y="488219"/>
                    <a:pt x="333502" y="488219"/>
                  </a:cubicBezTo>
                  <a:cubicBezTo>
                    <a:pt x="333502" y="488219"/>
                    <a:pt x="326554" y="474380"/>
                    <a:pt x="326554" y="467460"/>
                  </a:cubicBezTo>
                  <a:cubicBezTo>
                    <a:pt x="326554" y="460540"/>
                    <a:pt x="347398" y="425940"/>
                    <a:pt x="354346" y="425940"/>
                  </a:cubicBezTo>
                  <a:cubicBezTo>
                    <a:pt x="361290" y="419024"/>
                    <a:pt x="382117" y="460499"/>
                    <a:pt x="382137" y="460540"/>
                  </a:cubicBezTo>
                  <a:cubicBezTo>
                    <a:pt x="382137" y="467456"/>
                    <a:pt x="368258" y="481283"/>
                    <a:pt x="368242" y="481299"/>
                  </a:cubicBezTo>
                  <a:cubicBezTo>
                    <a:pt x="368242" y="481299"/>
                    <a:pt x="375190" y="508979"/>
                    <a:pt x="375190" y="529738"/>
                  </a:cubicBezTo>
                  <a:cubicBezTo>
                    <a:pt x="375190" y="550481"/>
                    <a:pt x="382126" y="564315"/>
                    <a:pt x="382137" y="564338"/>
                  </a:cubicBezTo>
                  <a:cubicBezTo>
                    <a:pt x="382137" y="564338"/>
                    <a:pt x="409929" y="522819"/>
                    <a:pt x="416877" y="508979"/>
                  </a:cubicBezTo>
                  <a:cubicBezTo>
                    <a:pt x="423825" y="495139"/>
                    <a:pt x="465513" y="419021"/>
                    <a:pt x="465513" y="384421"/>
                  </a:cubicBezTo>
                  <a:cubicBezTo>
                    <a:pt x="465513" y="342937"/>
                    <a:pt x="437769" y="335994"/>
                    <a:pt x="437721" y="335982"/>
                  </a:cubicBezTo>
                  <a:close/>
                  <a:moveTo>
                    <a:pt x="337448" y="198"/>
                  </a:moveTo>
                  <a:cubicBezTo>
                    <a:pt x="362443" y="1585"/>
                    <a:pt x="381495" y="9893"/>
                    <a:pt x="390330" y="14610"/>
                  </a:cubicBezTo>
                  <a:cubicBezTo>
                    <a:pt x="392721" y="14917"/>
                    <a:pt x="394967" y="15549"/>
                    <a:pt x="396874" y="17041"/>
                  </a:cubicBezTo>
                  <a:cubicBezTo>
                    <a:pt x="400117" y="14041"/>
                    <a:pt x="412780" y="4896"/>
                    <a:pt x="430461" y="10780"/>
                  </a:cubicBezTo>
                  <a:cubicBezTo>
                    <a:pt x="451226" y="24600"/>
                    <a:pt x="471992" y="52241"/>
                    <a:pt x="465070" y="79882"/>
                  </a:cubicBezTo>
                  <a:cubicBezTo>
                    <a:pt x="458148" y="107523"/>
                    <a:pt x="465070" y="121344"/>
                    <a:pt x="465070" y="121344"/>
                  </a:cubicBezTo>
                  <a:lnTo>
                    <a:pt x="459014" y="115297"/>
                  </a:lnTo>
                  <a:cubicBezTo>
                    <a:pt x="458140" y="114469"/>
                    <a:pt x="455620" y="124534"/>
                    <a:pt x="453674" y="134037"/>
                  </a:cubicBezTo>
                  <a:cubicBezTo>
                    <a:pt x="455048" y="132665"/>
                    <a:pt x="456568" y="131148"/>
                    <a:pt x="458088" y="129631"/>
                  </a:cubicBezTo>
                  <a:cubicBezTo>
                    <a:pt x="461129" y="129631"/>
                    <a:pt x="465040" y="140041"/>
                    <a:pt x="465040" y="150452"/>
                  </a:cubicBezTo>
                  <a:cubicBezTo>
                    <a:pt x="465040" y="164332"/>
                    <a:pt x="465040" y="185152"/>
                    <a:pt x="465040" y="192093"/>
                  </a:cubicBezTo>
                  <a:cubicBezTo>
                    <a:pt x="458088" y="199033"/>
                    <a:pt x="451136" y="205973"/>
                    <a:pt x="451136" y="205973"/>
                  </a:cubicBezTo>
                  <a:lnTo>
                    <a:pt x="447660" y="198165"/>
                  </a:lnTo>
                  <a:cubicBezTo>
                    <a:pt x="445922" y="197298"/>
                    <a:pt x="444184" y="199033"/>
                    <a:pt x="444184" y="205973"/>
                  </a:cubicBezTo>
                  <a:cubicBezTo>
                    <a:pt x="444184" y="212913"/>
                    <a:pt x="437232" y="233734"/>
                    <a:pt x="437232" y="247614"/>
                  </a:cubicBezTo>
                  <a:cubicBezTo>
                    <a:pt x="430279" y="261494"/>
                    <a:pt x="423327" y="275375"/>
                    <a:pt x="423327" y="275375"/>
                  </a:cubicBezTo>
                  <a:cubicBezTo>
                    <a:pt x="423307" y="275395"/>
                    <a:pt x="416375" y="282346"/>
                    <a:pt x="416375" y="303135"/>
                  </a:cubicBezTo>
                  <a:cubicBezTo>
                    <a:pt x="416375" y="323956"/>
                    <a:pt x="360758" y="344776"/>
                    <a:pt x="360758" y="344776"/>
                  </a:cubicBezTo>
                  <a:cubicBezTo>
                    <a:pt x="360720" y="344769"/>
                    <a:pt x="291237" y="330890"/>
                    <a:pt x="291237" y="310075"/>
                  </a:cubicBezTo>
                  <a:cubicBezTo>
                    <a:pt x="291237" y="296195"/>
                    <a:pt x="291237" y="290990"/>
                    <a:pt x="291237" y="289255"/>
                  </a:cubicBezTo>
                  <a:cubicBezTo>
                    <a:pt x="291206" y="289224"/>
                    <a:pt x="277325" y="275352"/>
                    <a:pt x="270380" y="254554"/>
                  </a:cubicBezTo>
                  <a:cubicBezTo>
                    <a:pt x="263428" y="233734"/>
                    <a:pt x="263428" y="212913"/>
                    <a:pt x="263428" y="212913"/>
                  </a:cubicBezTo>
                  <a:cubicBezTo>
                    <a:pt x="263414" y="212941"/>
                    <a:pt x="256469" y="226787"/>
                    <a:pt x="249524" y="219853"/>
                  </a:cubicBezTo>
                  <a:cubicBezTo>
                    <a:pt x="242572" y="205973"/>
                    <a:pt x="242572" y="185152"/>
                    <a:pt x="235619" y="171272"/>
                  </a:cubicBezTo>
                  <a:cubicBezTo>
                    <a:pt x="228667" y="157392"/>
                    <a:pt x="235619" y="143511"/>
                    <a:pt x="242572" y="143511"/>
                  </a:cubicBezTo>
                  <a:lnTo>
                    <a:pt x="244496" y="142825"/>
                  </a:lnTo>
                  <a:cubicBezTo>
                    <a:pt x="244266" y="142102"/>
                    <a:pt x="243922" y="142075"/>
                    <a:pt x="243569" y="142075"/>
                  </a:cubicBezTo>
                  <a:cubicBezTo>
                    <a:pt x="236647" y="135164"/>
                    <a:pt x="229725" y="142075"/>
                    <a:pt x="229725" y="142075"/>
                  </a:cubicBezTo>
                  <a:cubicBezTo>
                    <a:pt x="229725" y="142038"/>
                    <a:pt x="229734" y="128254"/>
                    <a:pt x="236647" y="128254"/>
                  </a:cubicBezTo>
                  <a:cubicBezTo>
                    <a:pt x="243569" y="128254"/>
                    <a:pt x="243569" y="114434"/>
                    <a:pt x="243569" y="114434"/>
                  </a:cubicBezTo>
                  <a:cubicBezTo>
                    <a:pt x="243548" y="114455"/>
                    <a:pt x="236636" y="121344"/>
                    <a:pt x="229725" y="121344"/>
                  </a:cubicBezTo>
                  <a:cubicBezTo>
                    <a:pt x="229699" y="121344"/>
                    <a:pt x="222803" y="121344"/>
                    <a:pt x="222803" y="121344"/>
                  </a:cubicBezTo>
                  <a:cubicBezTo>
                    <a:pt x="222832" y="121329"/>
                    <a:pt x="236647" y="114412"/>
                    <a:pt x="236647" y="93703"/>
                  </a:cubicBezTo>
                  <a:cubicBezTo>
                    <a:pt x="236647" y="72972"/>
                    <a:pt x="243569" y="24600"/>
                    <a:pt x="298944" y="3869"/>
                  </a:cubicBezTo>
                  <a:cubicBezTo>
                    <a:pt x="312788" y="414"/>
                    <a:pt x="325767" y="-450"/>
                    <a:pt x="337448"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42" name="Freeform 27"/>
            <p:cNvSpPr/>
            <p:nvPr/>
          </p:nvSpPr>
          <p:spPr bwMode="auto">
            <a:xfrm>
              <a:off x="7588610" y="2273334"/>
              <a:ext cx="695136" cy="2294305"/>
            </a:xfrm>
            <a:custGeom>
              <a:avLst/>
              <a:gdLst/>
              <a:ahLst/>
              <a:cxnLst/>
              <a:rect l="l" t="t" r="r" b="b"/>
              <a:pathLst>
                <a:path w="695136" h="2294305">
                  <a:moveTo>
                    <a:pt x="443982" y="335982"/>
                  </a:moveTo>
                  <a:cubicBezTo>
                    <a:pt x="443982" y="335982"/>
                    <a:pt x="478668" y="342902"/>
                    <a:pt x="492542" y="349822"/>
                  </a:cubicBezTo>
                  <a:cubicBezTo>
                    <a:pt x="499479" y="349822"/>
                    <a:pt x="541102" y="356742"/>
                    <a:pt x="561914" y="377501"/>
                  </a:cubicBezTo>
                  <a:cubicBezTo>
                    <a:pt x="575781" y="391334"/>
                    <a:pt x="617369" y="384428"/>
                    <a:pt x="617412" y="384421"/>
                  </a:cubicBezTo>
                  <a:cubicBezTo>
                    <a:pt x="617412" y="384421"/>
                    <a:pt x="665972" y="405181"/>
                    <a:pt x="672909" y="412101"/>
                  </a:cubicBezTo>
                  <a:cubicBezTo>
                    <a:pt x="679847" y="419021"/>
                    <a:pt x="672909" y="474380"/>
                    <a:pt x="679847" y="515899"/>
                  </a:cubicBezTo>
                  <a:cubicBezTo>
                    <a:pt x="679847" y="515899"/>
                    <a:pt x="679847" y="654296"/>
                    <a:pt x="679847" y="744254"/>
                  </a:cubicBezTo>
                  <a:cubicBezTo>
                    <a:pt x="679847" y="778235"/>
                    <a:pt x="679847" y="793455"/>
                    <a:pt x="679847" y="799613"/>
                  </a:cubicBezTo>
                  <a:cubicBezTo>
                    <a:pt x="679847" y="813453"/>
                    <a:pt x="700658" y="931091"/>
                    <a:pt x="693721" y="944931"/>
                  </a:cubicBezTo>
                  <a:cubicBezTo>
                    <a:pt x="686784" y="965690"/>
                    <a:pt x="624349" y="1145607"/>
                    <a:pt x="624349" y="1159447"/>
                  </a:cubicBezTo>
                  <a:cubicBezTo>
                    <a:pt x="617412" y="1166366"/>
                    <a:pt x="624349" y="1214806"/>
                    <a:pt x="617412" y="1214806"/>
                  </a:cubicBezTo>
                  <a:cubicBezTo>
                    <a:pt x="596624" y="1235541"/>
                    <a:pt x="589679" y="1249373"/>
                    <a:pt x="589663" y="1249405"/>
                  </a:cubicBezTo>
                  <a:cubicBezTo>
                    <a:pt x="596600" y="1311684"/>
                    <a:pt x="582726" y="1408562"/>
                    <a:pt x="589663" y="1450081"/>
                  </a:cubicBezTo>
                  <a:cubicBezTo>
                    <a:pt x="589663" y="1505440"/>
                    <a:pt x="575788" y="1623078"/>
                    <a:pt x="589663" y="1685357"/>
                  </a:cubicBezTo>
                  <a:cubicBezTo>
                    <a:pt x="596600" y="1740716"/>
                    <a:pt x="589663" y="1982911"/>
                    <a:pt x="589663" y="2059030"/>
                  </a:cubicBezTo>
                  <a:cubicBezTo>
                    <a:pt x="584460" y="2121309"/>
                    <a:pt x="587061" y="2117416"/>
                    <a:pt x="582726" y="2121308"/>
                  </a:cubicBezTo>
                  <a:cubicBezTo>
                    <a:pt x="582726" y="2142040"/>
                    <a:pt x="582726" y="2148969"/>
                    <a:pt x="582726" y="2148988"/>
                  </a:cubicBezTo>
                  <a:cubicBezTo>
                    <a:pt x="582726" y="2148988"/>
                    <a:pt x="589663" y="2162828"/>
                    <a:pt x="589663" y="2183587"/>
                  </a:cubicBezTo>
                  <a:cubicBezTo>
                    <a:pt x="582739" y="2204307"/>
                    <a:pt x="575815" y="2204347"/>
                    <a:pt x="575788" y="2204347"/>
                  </a:cubicBezTo>
                  <a:cubicBezTo>
                    <a:pt x="575788" y="2204347"/>
                    <a:pt x="575788" y="2204347"/>
                    <a:pt x="596600" y="2266626"/>
                  </a:cubicBezTo>
                  <a:cubicBezTo>
                    <a:pt x="596600" y="2266626"/>
                    <a:pt x="596600" y="2266626"/>
                    <a:pt x="596600" y="2287385"/>
                  </a:cubicBezTo>
                  <a:cubicBezTo>
                    <a:pt x="575788" y="2294305"/>
                    <a:pt x="561914" y="2294305"/>
                    <a:pt x="527228" y="2294305"/>
                  </a:cubicBezTo>
                  <a:cubicBezTo>
                    <a:pt x="485627" y="2294305"/>
                    <a:pt x="457885" y="2287393"/>
                    <a:pt x="457856" y="2287385"/>
                  </a:cubicBezTo>
                  <a:cubicBezTo>
                    <a:pt x="457856" y="2287385"/>
                    <a:pt x="457856" y="2287385"/>
                    <a:pt x="457856" y="2266626"/>
                  </a:cubicBezTo>
                  <a:cubicBezTo>
                    <a:pt x="457856" y="2266626"/>
                    <a:pt x="457856" y="2266626"/>
                    <a:pt x="458723" y="2265761"/>
                  </a:cubicBezTo>
                  <a:lnTo>
                    <a:pt x="464793" y="2259706"/>
                  </a:lnTo>
                  <a:cubicBezTo>
                    <a:pt x="464793" y="2259706"/>
                    <a:pt x="464793" y="2259706"/>
                    <a:pt x="464793" y="2232026"/>
                  </a:cubicBezTo>
                  <a:cubicBezTo>
                    <a:pt x="464793" y="2232026"/>
                    <a:pt x="464793" y="2232026"/>
                    <a:pt x="464793" y="2231161"/>
                  </a:cubicBezTo>
                  <a:lnTo>
                    <a:pt x="464793" y="2225106"/>
                  </a:lnTo>
                  <a:cubicBezTo>
                    <a:pt x="464793" y="2225106"/>
                    <a:pt x="464793" y="2225106"/>
                    <a:pt x="463926" y="2224241"/>
                  </a:cubicBezTo>
                  <a:lnTo>
                    <a:pt x="457856" y="2218187"/>
                  </a:lnTo>
                  <a:cubicBezTo>
                    <a:pt x="457856" y="2218187"/>
                    <a:pt x="457856" y="2218187"/>
                    <a:pt x="456989" y="2218187"/>
                  </a:cubicBezTo>
                  <a:lnTo>
                    <a:pt x="450919" y="2218187"/>
                  </a:lnTo>
                  <a:cubicBezTo>
                    <a:pt x="450919" y="2211267"/>
                    <a:pt x="471730" y="2197427"/>
                    <a:pt x="457856" y="2190507"/>
                  </a:cubicBezTo>
                  <a:cubicBezTo>
                    <a:pt x="443982" y="2190507"/>
                    <a:pt x="437044" y="2155908"/>
                    <a:pt x="437044" y="2135148"/>
                  </a:cubicBezTo>
                  <a:cubicBezTo>
                    <a:pt x="437044" y="2107469"/>
                    <a:pt x="416233" y="1941392"/>
                    <a:pt x="402358" y="1872193"/>
                  </a:cubicBezTo>
                  <a:cubicBezTo>
                    <a:pt x="388484" y="1796075"/>
                    <a:pt x="402358" y="1650757"/>
                    <a:pt x="395421" y="1588479"/>
                  </a:cubicBezTo>
                  <a:cubicBezTo>
                    <a:pt x="388485" y="1533131"/>
                    <a:pt x="367681" y="1429364"/>
                    <a:pt x="367672" y="1429322"/>
                  </a:cubicBezTo>
                  <a:cubicBezTo>
                    <a:pt x="367672" y="1429322"/>
                    <a:pt x="339923" y="1574639"/>
                    <a:pt x="339923" y="1602318"/>
                  </a:cubicBezTo>
                  <a:cubicBezTo>
                    <a:pt x="339923" y="1629998"/>
                    <a:pt x="291363" y="1886033"/>
                    <a:pt x="291363" y="1920632"/>
                  </a:cubicBezTo>
                  <a:cubicBezTo>
                    <a:pt x="291363" y="1955232"/>
                    <a:pt x="326049" y="2135148"/>
                    <a:pt x="326049" y="2162828"/>
                  </a:cubicBezTo>
                  <a:cubicBezTo>
                    <a:pt x="326049" y="2183587"/>
                    <a:pt x="326049" y="2225106"/>
                    <a:pt x="326049" y="2232026"/>
                  </a:cubicBezTo>
                  <a:cubicBezTo>
                    <a:pt x="326049" y="2238937"/>
                    <a:pt x="332968" y="2245848"/>
                    <a:pt x="332986" y="2245866"/>
                  </a:cubicBezTo>
                  <a:cubicBezTo>
                    <a:pt x="332986" y="2245866"/>
                    <a:pt x="332986" y="2245866"/>
                    <a:pt x="332986" y="2266626"/>
                  </a:cubicBezTo>
                  <a:cubicBezTo>
                    <a:pt x="332986" y="2266626"/>
                    <a:pt x="332986" y="2266626"/>
                    <a:pt x="249740" y="2280465"/>
                  </a:cubicBezTo>
                  <a:cubicBezTo>
                    <a:pt x="249740" y="2280465"/>
                    <a:pt x="249740" y="2280465"/>
                    <a:pt x="249740" y="2259706"/>
                  </a:cubicBezTo>
                  <a:cubicBezTo>
                    <a:pt x="249740" y="2259706"/>
                    <a:pt x="180367" y="2280465"/>
                    <a:pt x="110995" y="2287385"/>
                  </a:cubicBezTo>
                  <a:cubicBezTo>
                    <a:pt x="48594" y="2287385"/>
                    <a:pt x="53" y="2273561"/>
                    <a:pt x="0" y="2273546"/>
                  </a:cubicBezTo>
                  <a:cubicBezTo>
                    <a:pt x="0" y="2273546"/>
                    <a:pt x="0" y="2273546"/>
                    <a:pt x="0" y="2272681"/>
                  </a:cubicBezTo>
                  <a:lnTo>
                    <a:pt x="0" y="2266626"/>
                  </a:lnTo>
                  <a:cubicBezTo>
                    <a:pt x="0" y="2266626"/>
                    <a:pt x="0" y="2266626"/>
                    <a:pt x="867" y="2266626"/>
                  </a:cubicBezTo>
                  <a:lnTo>
                    <a:pt x="6937" y="2266626"/>
                  </a:lnTo>
                  <a:cubicBezTo>
                    <a:pt x="6937" y="2266626"/>
                    <a:pt x="6937" y="2245866"/>
                    <a:pt x="13874" y="2245866"/>
                  </a:cubicBezTo>
                  <a:cubicBezTo>
                    <a:pt x="27749" y="2238946"/>
                    <a:pt x="76309" y="2245866"/>
                    <a:pt x="97121" y="2238946"/>
                  </a:cubicBezTo>
                  <a:cubicBezTo>
                    <a:pt x="117922" y="2232030"/>
                    <a:pt x="145654" y="2211287"/>
                    <a:pt x="145681" y="2211267"/>
                  </a:cubicBezTo>
                  <a:cubicBezTo>
                    <a:pt x="145681" y="2211267"/>
                    <a:pt x="145681" y="2211267"/>
                    <a:pt x="144814" y="2210402"/>
                  </a:cubicBezTo>
                  <a:lnTo>
                    <a:pt x="138744" y="2204347"/>
                  </a:lnTo>
                  <a:cubicBezTo>
                    <a:pt x="138744" y="2204347"/>
                    <a:pt x="145681" y="2197427"/>
                    <a:pt x="152618" y="2197427"/>
                  </a:cubicBezTo>
                  <a:cubicBezTo>
                    <a:pt x="159556" y="2190507"/>
                    <a:pt x="152618" y="2169748"/>
                    <a:pt x="145681" y="2162828"/>
                  </a:cubicBezTo>
                  <a:cubicBezTo>
                    <a:pt x="138744" y="2148988"/>
                    <a:pt x="166493" y="2128228"/>
                    <a:pt x="159556" y="2114389"/>
                  </a:cubicBezTo>
                  <a:cubicBezTo>
                    <a:pt x="145681" y="2107469"/>
                    <a:pt x="138744" y="2079789"/>
                    <a:pt x="138744" y="2045190"/>
                  </a:cubicBezTo>
                  <a:cubicBezTo>
                    <a:pt x="145681" y="2003671"/>
                    <a:pt x="145681" y="1713036"/>
                    <a:pt x="138744" y="1664597"/>
                  </a:cubicBezTo>
                  <a:cubicBezTo>
                    <a:pt x="131807" y="1616158"/>
                    <a:pt x="138744" y="1498520"/>
                    <a:pt x="124869" y="1429322"/>
                  </a:cubicBezTo>
                  <a:cubicBezTo>
                    <a:pt x="117934" y="1360139"/>
                    <a:pt x="110999" y="1201042"/>
                    <a:pt x="110995" y="1200966"/>
                  </a:cubicBezTo>
                  <a:cubicBezTo>
                    <a:pt x="110995" y="1200966"/>
                    <a:pt x="110995" y="1200966"/>
                    <a:pt x="90183" y="1194046"/>
                  </a:cubicBezTo>
                  <a:cubicBezTo>
                    <a:pt x="90183" y="1194046"/>
                    <a:pt x="83246" y="1194046"/>
                    <a:pt x="76309" y="1180206"/>
                  </a:cubicBezTo>
                  <a:cubicBezTo>
                    <a:pt x="69372" y="1166366"/>
                    <a:pt x="69372" y="1069488"/>
                    <a:pt x="69372" y="1034889"/>
                  </a:cubicBezTo>
                  <a:cubicBezTo>
                    <a:pt x="76309" y="1000290"/>
                    <a:pt x="62435" y="854972"/>
                    <a:pt x="69372" y="778854"/>
                  </a:cubicBezTo>
                  <a:cubicBezTo>
                    <a:pt x="76309" y="695815"/>
                    <a:pt x="41623" y="522819"/>
                    <a:pt x="48560" y="502059"/>
                  </a:cubicBezTo>
                  <a:cubicBezTo>
                    <a:pt x="48560" y="481299"/>
                    <a:pt x="62435" y="474380"/>
                    <a:pt x="62435" y="453620"/>
                  </a:cubicBezTo>
                  <a:cubicBezTo>
                    <a:pt x="62435" y="432860"/>
                    <a:pt x="62435" y="405181"/>
                    <a:pt x="76309" y="391341"/>
                  </a:cubicBezTo>
                  <a:cubicBezTo>
                    <a:pt x="83241" y="391341"/>
                    <a:pt x="104027" y="391341"/>
                    <a:pt x="104058" y="391341"/>
                  </a:cubicBezTo>
                  <a:cubicBezTo>
                    <a:pt x="104058" y="391341"/>
                    <a:pt x="104058" y="391341"/>
                    <a:pt x="166493" y="370581"/>
                  </a:cubicBezTo>
                  <a:cubicBezTo>
                    <a:pt x="166493" y="370581"/>
                    <a:pt x="173430" y="363662"/>
                    <a:pt x="187304" y="363662"/>
                  </a:cubicBezTo>
                  <a:cubicBezTo>
                    <a:pt x="201179" y="356742"/>
                    <a:pt x="228928" y="342902"/>
                    <a:pt x="242803" y="342902"/>
                  </a:cubicBezTo>
                  <a:cubicBezTo>
                    <a:pt x="249735" y="335987"/>
                    <a:pt x="256667" y="356713"/>
                    <a:pt x="256677" y="356742"/>
                  </a:cubicBezTo>
                  <a:cubicBezTo>
                    <a:pt x="256677" y="356742"/>
                    <a:pt x="242827" y="356742"/>
                    <a:pt x="242803" y="356742"/>
                  </a:cubicBezTo>
                  <a:cubicBezTo>
                    <a:pt x="235865" y="363662"/>
                    <a:pt x="263614" y="412101"/>
                    <a:pt x="277489" y="460540"/>
                  </a:cubicBezTo>
                  <a:cubicBezTo>
                    <a:pt x="291356" y="508955"/>
                    <a:pt x="319084" y="557370"/>
                    <a:pt x="319112" y="557418"/>
                  </a:cubicBezTo>
                  <a:cubicBezTo>
                    <a:pt x="319112" y="557418"/>
                    <a:pt x="332986" y="502059"/>
                    <a:pt x="339923" y="495139"/>
                  </a:cubicBezTo>
                  <a:cubicBezTo>
                    <a:pt x="346852" y="495139"/>
                    <a:pt x="353781" y="488236"/>
                    <a:pt x="353798" y="488219"/>
                  </a:cubicBezTo>
                  <a:cubicBezTo>
                    <a:pt x="353798" y="488219"/>
                    <a:pt x="353798" y="488219"/>
                    <a:pt x="352063" y="488219"/>
                  </a:cubicBezTo>
                  <a:lnTo>
                    <a:pt x="339923" y="488219"/>
                  </a:lnTo>
                  <a:cubicBezTo>
                    <a:pt x="339923" y="488219"/>
                    <a:pt x="326049" y="474380"/>
                    <a:pt x="326049" y="467460"/>
                  </a:cubicBezTo>
                  <a:cubicBezTo>
                    <a:pt x="326049" y="460540"/>
                    <a:pt x="353798" y="425940"/>
                    <a:pt x="360735" y="425940"/>
                  </a:cubicBezTo>
                  <a:cubicBezTo>
                    <a:pt x="367669" y="419024"/>
                    <a:pt x="381533" y="460498"/>
                    <a:pt x="381547" y="460540"/>
                  </a:cubicBezTo>
                  <a:cubicBezTo>
                    <a:pt x="381547" y="467455"/>
                    <a:pt x="367691" y="481280"/>
                    <a:pt x="367672" y="481299"/>
                  </a:cubicBezTo>
                  <a:cubicBezTo>
                    <a:pt x="367672" y="481299"/>
                    <a:pt x="374609" y="508979"/>
                    <a:pt x="374609" y="529738"/>
                  </a:cubicBezTo>
                  <a:cubicBezTo>
                    <a:pt x="374609" y="550480"/>
                    <a:pt x="381535" y="564314"/>
                    <a:pt x="381547" y="564338"/>
                  </a:cubicBezTo>
                  <a:cubicBezTo>
                    <a:pt x="381547" y="564338"/>
                    <a:pt x="409296" y="522819"/>
                    <a:pt x="416233" y="508979"/>
                  </a:cubicBezTo>
                  <a:cubicBezTo>
                    <a:pt x="423170" y="495139"/>
                    <a:pt x="464793" y="419021"/>
                    <a:pt x="464793" y="384421"/>
                  </a:cubicBezTo>
                  <a:cubicBezTo>
                    <a:pt x="464793" y="342937"/>
                    <a:pt x="444017" y="335994"/>
                    <a:pt x="443982" y="335982"/>
                  </a:cubicBezTo>
                  <a:close/>
                  <a:moveTo>
                    <a:pt x="344370" y="198"/>
                  </a:moveTo>
                  <a:cubicBezTo>
                    <a:pt x="379412" y="2142"/>
                    <a:pt x="402773" y="17690"/>
                    <a:pt x="402773" y="17690"/>
                  </a:cubicBezTo>
                  <a:cubicBezTo>
                    <a:pt x="402787" y="17663"/>
                    <a:pt x="409716" y="3876"/>
                    <a:pt x="430461" y="10780"/>
                  </a:cubicBezTo>
                  <a:cubicBezTo>
                    <a:pt x="451226" y="24600"/>
                    <a:pt x="471992" y="52241"/>
                    <a:pt x="465070" y="79882"/>
                  </a:cubicBezTo>
                  <a:cubicBezTo>
                    <a:pt x="458148" y="107523"/>
                    <a:pt x="471992" y="121344"/>
                    <a:pt x="471992" y="121344"/>
                  </a:cubicBezTo>
                  <a:lnTo>
                    <a:pt x="459879" y="115297"/>
                  </a:lnTo>
                  <a:cubicBezTo>
                    <a:pt x="458138" y="114474"/>
                    <a:pt x="455059" y="126771"/>
                    <a:pt x="453062" y="137011"/>
                  </a:cubicBezTo>
                  <a:cubicBezTo>
                    <a:pt x="453875" y="135028"/>
                    <a:pt x="455514" y="132330"/>
                    <a:pt x="458196" y="129631"/>
                  </a:cubicBezTo>
                  <a:cubicBezTo>
                    <a:pt x="465094" y="122691"/>
                    <a:pt x="465094" y="136571"/>
                    <a:pt x="465094" y="150452"/>
                  </a:cubicBezTo>
                  <a:cubicBezTo>
                    <a:pt x="465094" y="164332"/>
                    <a:pt x="465094" y="185152"/>
                    <a:pt x="465094" y="192093"/>
                  </a:cubicBezTo>
                  <a:cubicBezTo>
                    <a:pt x="465094" y="199033"/>
                    <a:pt x="451298" y="205973"/>
                    <a:pt x="451298" y="205973"/>
                  </a:cubicBezTo>
                  <a:lnTo>
                    <a:pt x="447849" y="198165"/>
                  </a:lnTo>
                  <a:cubicBezTo>
                    <a:pt x="446125" y="197298"/>
                    <a:pt x="444400" y="199033"/>
                    <a:pt x="444400" y="205973"/>
                  </a:cubicBezTo>
                  <a:cubicBezTo>
                    <a:pt x="444400" y="212913"/>
                    <a:pt x="437503" y="233734"/>
                    <a:pt x="437503" y="247614"/>
                  </a:cubicBezTo>
                  <a:cubicBezTo>
                    <a:pt x="430605" y="261494"/>
                    <a:pt x="423707" y="275375"/>
                    <a:pt x="423707" y="275375"/>
                  </a:cubicBezTo>
                  <a:cubicBezTo>
                    <a:pt x="423707" y="275399"/>
                    <a:pt x="423707" y="282351"/>
                    <a:pt x="423707" y="303135"/>
                  </a:cubicBezTo>
                  <a:cubicBezTo>
                    <a:pt x="423707" y="323956"/>
                    <a:pt x="361625" y="344776"/>
                    <a:pt x="361625" y="344776"/>
                  </a:cubicBezTo>
                  <a:cubicBezTo>
                    <a:pt x="361554" y="344762"/>
                    <a:pt x="292646" y="330885"/>
                    <a:pt x="292646" y="310075"/>
                  </a:cubicBezTo>
                  <a:cubicBezTo>
                    <a:pt x="292646" y="296195"/>
                    <a:pt x="292646" y="290990"/>
                    <a:pt x="292646" y="289255"/>
                  </a:cubicBezTo>
                  <a:cubicBezTo>
                    <a:pt x="292616" y="289224"/>
                    <a:pt x="278842" y="275352"/>
                    <a:pt x="271952" y="254554"/>
                  </a:cubicBezTo>
                  <a:cubicBezTo>
                    <a:pt x="265054" y="233734"/>
                    <a:pt x="265054" y="212913"/>
                    <a:pt x="265054" y="212913"/>
                  </a:cubicBezTo>
                  <a:cubicBezTo>
                    <a:pt x="265041" y="212940"/>
                    <a:pt x="258149" y="226787"/>
                    <a:pt x="251258" y="219853"/>
                  </a:cubicBezTo>
                  <a:cubicBezTo>
                    <a:pt x="244360" y="205973"/>
                    <a:pt x="244360" y="185152"/>
                    <a:pt x="237462" y="171272"/>
                  </a:cubicBezTo>
                  <a:cubicBezTo>
                    <a:pt x="237462" y="157392"/>
                    <a:pt x="237462" y="143511"/>
                    <a:pt x="244360" y="143511"/>
                  </a:cubicBezTo>
                  <a:lnTo>
                    <a:pt x="245117" y="143328"/>
                  </a:lnTo>
                  <a:cubicBezTo>
                    <a:pt x="244823" y="142164"/>
                    <a:pt x="244211" y="142075"/>
                    <a:pt x="243569" y="142075"/>
                  </a:cubicBezTo>
                  <a:lnTo>
                    <a:pt x="237512" y="139483"/>
                  </a:lnTo>
                  <a:cubicBezTo>
                    <a:pt x="236624" y="142029"/>
                    <a:pt x="229736" y="128254"/>
                    <a:pt x="236647" y="128254"/>
                  </a:cubicBezTo>
                  <a:cubicBezTo>
                    <a:pt x="243569" y="128254"/>
                    <a:pt x="243569" y="114434"/>
                    <a:pt x="243569" y="114434"/>
                  </a:cubicBezTo>
                  <a:cubicBezTo>
                    <a:pt x="243542" y="114460"/>
                    <a:pt x="236647" y="121344"/>
                    <a:pt x="236647" y="121344"/>
                  </a:cubicBezTo>
                  <a:cubicBezTo>
                    <a:pt x="229725" y="121344"/>
                    <a:pt x="222803" y="121344"/>
                    <a:pt x="222803" y="121344"/>
                  </a:cubicBezTo>
                  <a:cubicBezTo>
                    <a:pt x="222834" y="121328"/>
                    <a:pt x="236647" y="114410"/>
                    <a:pt x="236647" y="93703"/>
                  </a:cubicBezTo>
                  <a:cubicBezTo>
                    <a:pt x="236647" y="72972"/>
                    <a:pt x="250491" y="24600"/>
                    <a:pt x="305866" y="3869"/>
                  </a:cubicBezTo>
                  <a:cubicBezTo>
                    <a:pt x="319710" y="414"/>
                    <a:pt x="332689" y="-450"/>
                    <a:pt x="344370"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43" name="Freeform 30"/>
            <p:cNvSpPr/>
            <p:nvPr/>
          </p:nvSpPr>
          <p:spPr bwMode="auto">
            <a:xfrm>
              <a:off x="8406533" y="2273334"/>
              <a:ext cx="695663" cy="2294305"/>
            </a:xfrm>
            <a:custGeom>
              <a:avLst/>
              <a:gdLst/>
              <a:ahLst/>
              <a:cxnLst/>
              <a:rect l="l" t="t" r="r" b="b"/>
              <a:pathLst>
                <a:path w="695663" h="2294305">
                  <a:moveTo>
                    <a:pt x="443981" y="335982"/>
                  </a:moveTo>
                  <a:cubicBezTo>
                    <a:pt x="443981" y="335982"/>
                    <a:pt x="478667" y="342902"/>
                    <a:pt x="492542" y="349822"/>
                  </a:cubicBezTo>
                  <a:cubicBezTo>
                    <a:pt x="506416" y="349822"/>
                    <a:pt x="541102" y="356742"/>
                    <a:pt x="561914" y="377501"/>
                  </a:cubicBezTo>
                  <a:cubicBezTo>
                    <a:pt x="582717" y="391336"/>
                    <a:pt x="617384" y="384426"/>
                    <a:pt x="617411" y="384421"/>
                  </a:cubicBezTo>
                  <a:cubicBezTo>
                    <a:pt x="617411" y="384421"/>
                    <a:pt x="672909" y="405181"/>
                    <a:pt x="672909" y="412101"/>
                  </a:cubicBezTo>
                  <a:cubicBezTo>
                    <a:pt x="679846" y="419021"/>
                    <a:pt x="672909" y="474380"/>
                    <a:pt x="679846" y="515899"/>
                  </a:cubicBezTo>
                  <a:cubicBezTo>
                    <a:pt x="679846" y="515899"/>
                    <a:pt x="679846" y="654296"/>
                    <a:pt x="679846" y="744254"/>
                  </a:cubicBezTo>
                  <a:cubicBezTo>
                    <a:pt x="679846" y="819083"/>
                    <a:pt x="684646" y="802940"/>
                    <a:pt x="686784" y="799613"/>
                  </a:cubicBezTo>
                  <a:cubicBezTo>
                    <a:pt x="686784" y="813453"/>
                    <a:pt x="700658" y="931091"/>
                    <a:pt x="693721" y="944931"/>
                  </a:cubicBezTo>
                  <a:cubicBezTo>
                    <a:pt x="686784" y="965690"/>
                    <a:pt x="631286" y="1145607"/>
                    <a:pt x="624349" y="1159447"/>
                  </a:cubicBezTo>
                  <a:cubicBezTo>
                    <a:pt x="617411" y="1166366"/>
                    <a:pt x="624349" y="1214806"/>
                    <a:pt x="617411" y="1214806"/>
                  </a:cubicBezTo>
                  <a:cubicBezTo>
                    <a:pt x="596624" y="1235541"/>
                    <a:pt x="596600" y="1249373"/>
                    <a:pt x="596600" y="1249405"/>
                  </a:cubicBezTo>
                  <a:cubicBezTo>
                    <a:pt x="596600" y="1249405"/>
                    <a:pt x="596600" y="1249405"/>
                    <a:pt x="595733" y="1249405"/>
                  </a:cubicBezTo>
                  <a:lnTo>
                    <a:pt x="589663" y="1249405"/>
                  </a:lnTo>
                  <a:cubicBezTo>
                    <a:pt x="596600" y="1311684"/>
                    <a:pt x="582725" y="1408562"/>
                    <a:pt x="589663" y="1450081"/>
                  </a:cubicBezTo>
                  <a:cubicBezTo>
                    <a:pt x="589663" y="1505440"/>
                    <a:pt x="575788" y="1623078"/>
                    <a:pt x="589663" y="1685357"/>
                  </a:cubicBezTo>
                  <a:cubicBezTo>
                    <a:pt x="596600" y="1740716"/>
                    <a:pt x="589663" y="1982911"/>
                    <a:pt x="589663" y="2059030"/>
                  </a:cubicBezTo>
                  <a:cubicBezTo>
                    <a:pt x="584459" y="2121309"/>
                    <a:pt x="587061" y="2117416"/>
                    <a:pt x="582725" y="2121308"/>
                  </a:cubicBezTo>
                  <a:cubicBezTo>
                    <a:pt x="582725" y="2142044"/>
                    <a:pt x="589647" y="2148972"/>
                    <a:pt x="589663" y="2148988"/>
                  </a:cubicBezTo>
                  <a:cubicBezTo>
                    <a:pt x="589663" y="2148988"/>
                    <a:pt x="589663" y="2162828"/>
                    <a:pt x="589663" y="2183587"/>
                  </a:cubicBezTo>
                  <a:cubicBezTo>
                    <a:pt x="582739" y="2204306"/>
                    <a:pt x="575815" y="2204347"/>
                    <a:pt x="575788" y="2204347"/>
                  </a:cubicBezTo>
                  <a:cubicBezTo>
                    <a:pt x="575788" y="2204347"/>
                    <a:pt x="575788" y="2204347"/>
                    <a:pt x="596600" y="2266626"/>
                  </a:cubicBezTo>
                  <a:cubicBezTo>
                    <a:pt x="596600" y="2266626"/>
                    <a:pt x="596600" y="2266626"/>
                    <a:pt x="597467" y="2266626"/>
                  </a:cubicBezTo>
                  <a:lnTo>
                    <a:pt x="603537" y="2266626"/>
                  </a:lnTo>
                  <a:cubicBezTo>
                    <a:pt x="603537" y="2266626"/>
                    <a:pt x="603537" y="2266626"/>
                    <a:pt x="603537" y="2287385"/>
                  </a:cubicBezTo>
                  <a:cubicBezTo>
                    <a:pt x="575788" y="2294305"/>
                    <a:pt x="561914" y="2294305"/>
                    <a:pt x="527228" y="2294305"/>
                  </a:cubicBezTo>
                  <a:cubicBezTo>
                    <a:pt x="492563" y="2294305"/>
                    <a:pt x="457897" y="2287393"/>
                    <a:pt x="457856" y="2287385"/>
                  </a:cubicBezTo>
                  <a:cubicBezTo>
                    <a:pt x="457856" y="2287385"/>
                    <a:pt x="457856" y="2287385"/>
                    <a:pt x="457856" y="2266626"/>
                  </a:cubicBezTo>
                  <a:cubicBezTo>
                    <a:pt x="457856" y="2266626"/>
                    <a:pt x="457856" y="2266626"/>
                    <a:pt x="458723" y="2265761"/>
                  </a:cubicBezTo>
                  <a:lnTo>
                    <a:pt x="464793" y="2259706"/>
                  </a:lnTo>
                  <a:cubicBezTo>
                    <a:pt x="464793" y="2259706"/>
                    <a:pt x="464793" y="2259706"/>
                    <a:pt x="464793" y="2232026"/>
                  </a:cubicBezTo>
                  <a:cubicBezTo>
                    <a:pt x="464793" y="2232026"/>
                    <a:pt x="464793" y="2232026"/>
                    <a:pt x="464793" y="2231161"/>
                  </a:cubicBezTo>
                  <a:lnTo>
                    <a:pt x="464793" y="2225106"/>
                  </a:lnTo>
                  <a:cubicBezTo>
                    <a:pt x="464793" y="2225106"/>
                    <a:pt x="464793" y="2225106"/>
                    <a:pt x="464793" y="2224241"/>
                  </a:cubicBezTo>
                  <a:lnTo>
                    <a:pt x="464793" y="2218187"/>
                  </a:lnTo>
                  <a:cubicBezTo>
                    <a:pt x="464793" y="2218187"/>
                    <a:pt x="457878" y="2218187"/>
                    <a:pt x="457856" y="2218187"/>
                  </a:cubicBezTo>
                  <a:cubicBezTo>
                    <a:pt x="450919" y="2211267"/>
                    <a:pt x="471730" y="2197427"/>
                    <a:pt x="457856" y="2190507"/>
                  </a:cubicBezTo>
                  <a:cubicBezTo>
                    <a:pt x="443981" y="2190507"/>
                    <a:pt x="437044" y="2155908"/>
                    <a:pt x="437044" y="2135148"/>
                  </a:cubicBezTo>
                  <a:cubicBezTo>
                    <a:pt x="437044" y="2107469"/>
                    <a:pt x="416232" y="1941392"/>
                    <a:pt x="402358" y="1872193"/>
                  </a:cubicBezTo>
                  <a:cubicBezTo>
                    <a:pt x="395421" y="1796075"/>
                    <a:pt x="402358" y="1650757"/>
                    <a:pt x="395421" y="1588479"/>
                  </a:cubicBezTo>
                  <a:cubicBezTo>
                    <a:pt x="388485" y="1533130"/>
                    <a:pt x="367680" y="1429360"/>
                    <a:pt x="367672" y="1429322"/>
                  </a:cubicBezTo>
                  <a:cubicBezTo>
                    <a:pt x="367672" y="1429322"/>
                    <a:pt x="346860" y="1574639"/>
                    <a:pt x="339923" y="1602318"/>
                  </a:cubicBezTo>
                  <a:cubicBezTo>
                    <a:pt x="339923" y="1629998"/>
                    <a:pt x="291363" y="1886033"/>
                    <a:pt x="291363" y="1920632"/>
                  </a:cubicBezTo>
                  <a:cubicBezTo>
                    <a:pt x="291363" y="1955232"/>
                    <a:pt x="326049" y="2135148"/>
                    <a:pt x="326049" y="2162828"/>
                  </a:cubicBezTo>
                  <a:cubicBezTo>
                    <a:pt x="326049" y="2183587"/>
                    <a:pt x="332986" y="2225106"/>
                    <a:pt x="332986" y="2232026"/>
                  </a:cubicBezTo>
                  <a:cubicBezTo>
                    <a:pt x="332986" y="2238936"/>
                    <a:pt x="332986" y="2245846"/>
                    <a:pt x="332986" y="2245866"/>
                  </a:cubicBezTo>
                  <a:cubicBezTo>
                    <a:pt x="332986" y="2245866"/>
                    <a:pt x="332986" y="2245866"/>
                    <a:pt x="339923" y="2266626"/>
                  </a:cubicBezTo>
                  <a:cubicBezTo>
                    <a:pt x="339923" y="2266626"/>
                    <a:pt x="339923" y="2266626"/>
                    <a:pt x="249739" y="2280465"/>
                  </a:cubicBezTo>
                  <a:cubicBezTo>
                    <a:pt x="249739" y="2280465"/>
                    <a:pt x="249739" y="2280465"/>
                    <a:pt x="249739" y="2259706"/>
                  </a:cubicBezTo>
                  <a:cubicBezTo>
                    <a:pt x="249739" y="2259706"/>
                    <a:pt x="180367" y="2280465"/>
                    <a:pt x="117933" y="2287385"/>
                  </a:cubicBezTo>
                  <a:cubicBezTo>
                    <a:pt x="48599" y="2287385"/>
                    <a:pt x="55" y="2273561"/>
                    <a:pt x="0" y="2273546"/>
                  </a:cubicBezTo>
                  <a:cubicBezTo>
                    <a:pt x="0" y="2273546"/>
                    <a:pt x="0" y="2273546"/>
                    <a:pt x="0" y="2272681"/>
                  </a:cubicBezTo>
                  <a:lnTo>
                    <a:pt x="0" y="2266626"/>
                  </a:lnTo>
                  <a:cubicBezTo>
                    <a:pt x="0" y="2266626"/>
                    <a:pt x="0" y="2266626"/>
                    <a:pt x="867" y="2266626"/>
                  </a:cubicBezTo>
                  <a:lnTo>
                    <a:pt x="6937" y="2266626"/>
                  </a:lnTo>
                  <a:cubicBezTo>
                    <a:pt x="6937" y="2266626"/>
                    <a:pt x="6937" y="2245866"/>
                    <a:pt x="20812" y="2245866"/>
                  </a:cubicBezTo>
                  <a:cubicBezTo>
                    <a:pt x="27749" y="2238946"/>
                    <a:pt x="76309" y="2245866"/>
                    <a:pt x="97121" y="2238946"/>
                  </a:cubicBezTo>
                  <a:cubicBezTo>
                    <a:pt x="117925" y="2232029"/>
                    <a:pt x="145661" y="2211282"/>
                    <a:pt x="145681" y="2211267"/>
                  </a:cubicBezTo>
                  <a:cubicBezTo>
                    <a:pt x="145681" y="2211267"/>
                    <a:pt x="145681" y="2211267"/>
                    <a:pt x="145681" y="2210402"/>
                  </a:cubicBezTo>
                  <a:lnTo>
                    <a:pt x="145681" y="2204347"/>
                  </a:lnTo>
                  <a:cubicBezTo>
                    <a:pt x="145681" y="2204347"/>
                    <a:pt x="145681" y="2197427"/>
                    <a:pt x="152619" y="2197427"/>
                  </a:cubicBezTo>
                  <a:cubicBezTo>
                    <a:pt x="159556" y="2190507"/>
                    <a:pt x="152619" y="2169748"/>
                    <a:pt x="145681" y="2162828"/>
                  </a:cubicBezTo>
                  <a:cubicBezTo>
                    <a:pt x="138744" y="2148988"/>
                    <a:pt x="166493" y="2128228"/>
                    <a:pt x="159556" y="2114389"/>
                  </a:cubicBezTo>
                  <a:cubicBezTo>
                    <a:pt x="145681" y="2107469"/>
                    <a:pt x="138744" y="2079789"/>
                    <a:pt x="145681" y="2045190"/>
                  </a:cubicBezTo>
                  <a:cubicBezTo>
                    <a:pt x="145681" y="2003671"/>
                    <a:pt x="152619" y="1713036"/>
                    <a:pt x="138744" y="1664597"/>
                  </a:cubicBezTo>
                  <a:cubicBezTo>
                    <a:pt x="131807" y="1616158"/>
                    <a:pt x="138744" y="1498520"/>
                    <a:pt x="131807" y="1429322"/>
                  </a:cubicBezTo>
                  <a:cubicBezTo>
                    <a:pt x="117936" y="1360139"/>
                    <a:pt x="110998" y="1201042"/>
                    <a:pt x="110995" y="1200966"/>
                  </a:cubicBezTo>
                  <a:cubicBezTo>
                    <a:pt x="110995" y="1200966"/>
                    <a:pt x="110995" y="1200966"/>
                    <a:pt x="109261" y="1200101"/>
                  </a:cubicBezTo>
                  <a:lnTo>
                    <a:pt x="97121" y="1194046"/>
                  </a:lnTo>
                  <a:cubicBezTo>
                    <a:pt x="97121" y="1194046"/>
                    <a:pt x="83247" y="1194046"/>
                    <a:pt x="76309" y="1180206"/>
                  </a:cubicBezTo>
                  <a:cubicBezTo>
                    <a:pt x="76309" y="1166366"/>
                    <a:pt x="69372" y="1069488"/>
                    <a:pt x="76309" y="1034889"/>
                  </a:cubicBezTo>
                  <a:cubicBezTo>
                    <a:pt x="76309" y="1000290"/>
                    <a:pt x="62435" y="854972"/>
                    <a:pt x="69372" y="778854"/>
                  </a:cubicBezTo>
                  <a:cubicBezTo>
                    <a:pt x="76309" y="695815"/>
                    <a:pt x="48560" y="522819"/>
                    <a:pt x="48560" y="502059"/>
                  </a:cubicBezTo>
                  <a:cubicBezTo>
                    <a:pt x="48560" y="481299"/>
                    <a:pt x="62435" y="474380"/>
                    <a:pt x="62435" y="453620"/>
                  </a:cubicBezTo>
                  <a:cubicBezTo>
                    <a:pt x="62435" y="432860"/>
                    <a:pt x="62435" y="405181"/>
                    <a:pt x="76309" y="391341"/>
                  </a:cubicBezTo>
                  <a:cubicBezTo>
                    <a:pt x="83242" y="391341"/>
                    <a:pt x="104028" y="391341"/>
                    <a:pt x="104058" y="391341"/>
                  </a:cubicBezTo>
                  <a:cubicBezTo>
                    <a:pt x="104058" y="391341"/>
                    <a:pt x="104058" y="391341"/>
                    <a:pt x="166493" y="370581"/>
                  </a:cubicBezTo>
                  <a:cubicBezTo>
                    <a:pt x="166493" y="370581"/>
                    <a:pt x="173430" y="363662"/>
                    <a:pt x="187305" y="363662"/>
                  </a:cubicBezTo>
                  <a:cubicBezTo>
                    <a:pt x="201179" y="356742"/>
                    <a:pt x="228928" y="342902"/>
                    <a:pt x="242802" y="342902"/>
                  </a:cubicBezTo>
                  <a:cubicBezTo>
                    <a:pt x="256668" y="335987"/>
                    <a:pt x="256677" y="356714"/>
                    <a:pt x="256677" y="356742"/>
                  </a:cubicBezTo>
                  <a:cubicBezTo>
                    <a:pt x="256677" y="356742"/>
                    <a:pt x="249739" y="356742"/>
                    <a:pt x="242802" y="356742"/>
                  </a:cubicBezTo>
                  <a:cubicBezTo>
                    <a:pt x="235865" y="363662"/>
                    <a:pt x="263614" y="412101"/>
                    <a:pt x="277488" y="460540"/>
                  </a:cubicBezTo>
                  <a:cubicBezTo>
                    <a:pt x="291356" y="508953"/>
                    <a:pt x="319083" y="557367"/>
                    <a:pt x="319112" y="557418"/>
                  </a:cubicBezTo>
                  <a:cubicBezTo>
                    <a:pt x="319112" y="557418"/>
                    <a:pt x="332986" y="502059"/>
                    <a:pt x="339923" y="495139"/>
                  </a:cubicBezTo>
                  <a:cubicBezTo>
                    <a:pt x="346851" y="495139"/>
                    <a:pt x="353779" y="488238"/>
                    <a:pt x="353798" y="488219"/>
                  </a:cubicBezTo>
                  <a:cubicBezTo>
                    <a:pt x="353798" y="488219"/>
                    <a:pt x="353798" y="488219"/>
                    <a:pt x="352064" y="488219"/>
                  </a:cubicBezTo>
                  <a:lnTo>
                    <a:pt x="339923" y="488219"/>
                  </a:lnTo>
                  <a:cubicBezTo>
                    <a:pt x="339923" y="488219"/>
                    <a:pt x="326049" y="474380"/>
                    <a:pt x="326049" y="467460"/>
                  </a:cubicBezTo>
                  <a:cubicBezTo>
                    <a:pt x="332986" y="460540"/>
                    <a:pt x="353798" y="425940"/>
                    <a:pt x="360735" y="425940"/>
                  </a:cubicBezTo>
                  <a:cubicBezTo>
                    <a:pt x="367669" y="419024"/>
                    <a:pt x="381533" y="460501"/>
                    <a:pt x="381546" y="460540"/>
                  </a:cubicBezTo>
                  <a:cubicBezTo>
                    <a:pt x="381546" y="467453"/>
                    <a:pt x="367700" y="481272"/>
                    <a:pt x="367672" y="481299"/>
                  </a:cubicBezTo>
                  <a:cubicBezTo>
                    <a:pt x="367672" y="481299"/>
                    <a:pt x="374609" y="508979"/>
                    <a:pt x="374609" y="529738"/>
                  </a:cubicBezTo>
                  <a:cubicBezTo>
                    <a:pt x="374609" y="550482"/>
                    <a:pt x="381535" y="564316"/>
                    <a:pt x="381546" y="564338"/>
                  </a:cubicBezTo>
                  <a:cubicBezTo>
                    <a:pt x="381546" y="564338"/>
                    <a:pt x="416232" y="522819"/>
                    <a:pt x="416232" y="508979"/>
                  </a:cubicBezTo>
                  <a:cubicBezTo>
                    <a:pt x="423170" y="495139"/>
                    <a:pt x="464793" y="419021"/>
                    <a:pt x="464793" y="384421"/>
                  </a:cubicBezTo>
                  <a:cubicBezTo>
                    <a:pt x="464793" y="342935"/>
                    <a:pt x="444015" y="335993"/>
                    <a:pt x="443981" y="335982"/>
                  </a:cubicBezTo>
                  <a:close/>
                  <a:moveTo>
                    <a:pt x="343811" y="198"/>
                  </a:moveTo>
                  <a:cubicBezTo>
                    <a:pt x="379006" y="2142"/>
                    <a:pt x="402470" y="17690"/>
                    <a:pt x="402470" y="17690"/>
                  </a:cubicBezTo>
                  <a:cubicBezTo>
                    <a:pt x="402484" y="17663"/>
                    <a:pt x="409442" y="3876"/>
                    <a:pt x="430278" y="10780"/>
                  </a:cubicBezTo>
                  <a:cubicBezTo>
                    <a:pt x="451135" y="24600"/>
                    <a:pt x="471991" y="52241"/>
                    <a:pt x="465039" y="79882"/>
                  </a:cubicBezTo>
                  <a:cubicBezTo>
                    <a:pt x="465039" y="107523"/>
                    <a:pt x="471991" y="121344"/>
                    <a:pt x="471991" y="121344"/>
                  </a:cubicBezTo>
                  <a:lnTo>
                    <a:pt x="465908" y="115297"/>
                  </a:lnTo>
                  <a:cubicBezTo>
                    <a:pt x="465025" y="114461"/>
                    <a:pt x="461248" y="121971"/>
                    <a:pt x="457662" y="130145"/>
                  </a:cubicBezTo>
                  <a:cubicBezTo>
                    <a:pt x="457730" y="129926"/>
                    <a:pt x="457876" y="129779"/>
                    <a:pt x="458024" y="129631"/>
                  </a:cubicBezTo>
                  <a:cubicBezTo>
                    <a:pt x="465008" y="122691"/>
                    <a:pt x="465008" y="136571"/>
                    <a:pt x="465008" y="150452"/>
                  </a:cubicBezTo>
                  <a:cubicBezTo>
                    <a:pt x="471992" y="164332"/>
                    <a:pt x="465008" y="185152"/>
                    <a:pt x="465008" y="192093"/>
                  </a:cubicBezTo>
                  <a:cubicBezTo>
                    <a:pt x="465008" y="199033"/>
                    <a:pt x="458024" y="205973"/>
                    <a:pt x="451039" y="205973"/>
                  </a:cubicBezTo>
                  <a:lnTo>
                    <a:pt x="447547" y="198165"/>
                  </a:lnTo>
                  <a:cubicBezTo>
                    <a:pt x="445801" y="197298"/>
                    <a:pt x="444055" y="199033"/>
                    <a:pt x="444055" y="205973"/>
                  </a:cubicBezTo>
                  <a:cubicBezTo>
                    <a:pt x="444055" y="212913"/>
                    <a:pt x="444055" y="233734"/>
                    <a:pt x="437071" y="247614"/>
                  </a:cubicBezTo>
                  <a:cubicBezTo>
                    <a:pt x="437071" y="261494"/>
                    <a:pt x="423103" y="275375"/>
                    <a:pt x="423103" y="275375"/>
                  </a:cubicBezTo>
                  <a:cubicBezTo>
                    <a:pt x="423103" y="275414"/>
                    <a:pt x="423103" y="282374"/>
                    <a:pt x="423103" y="303135"/>
                  </a:cubicBezTo>
                  <a:cubicBezTo>
                    <a:pt x="423103" y="323956"/>
                    <a:pt x="367229" y="344776"/>
                    <a:pt x="367229" y="344776"/>
                  </a:cubicBezTo>
                  <a:cubicBezTo>
                    <a:pt x="367187" y="344769"/>
                    <a:pt x="290403" y="330890"/>
                    <a:pt x="290403" y="310075"/>
                  </a:cubicBezTo>
                  <a:cubicBezTo>
                    <a:pt x="290403" y="296195"/>
                    <a:pt x="290403" y="290990"/>
                    <a:pt x="290403" y="289255"/>
                  </a:cubicBezTo>
                  <a:cubicBezTo>
                    <a:pt x="290371" y="289223"/>
                    <a:pt x="276427" y="275351"/>
                    <a:pt x="269451" y="254554"/>
                  </a:cubicBezTo>
                  <a:cubicBezTo>
                    <a:pt x="262467" y="233734"/>
                    <a:pt x="262467" y="212913"/>
                    <a:pt x="262467" y="212913"/>
                  </a:cubicBezTo>
                  <a:cubicBezTo>
                    <a:pt x="262452" y="212943"/>
                    <a:pt x="255475" y="226786"/>
                    <a:pt x="248498" y="219853"/>
                  </a:cubicBezTo>
                  <a:cubicBezTo>
                    <a:pt x="241514" y="205973"/>
                    <a:pt x="241514" y="185152"/>
                    <a:pt x="241514" y="171272"/>
                  </a:cubicBezTo>
                  <a:cubicBezTo>
                    <a:pt x="234530" y="157392"/>
                    <a:pt x="241514" y="143511"/>
                    <a:pt x="248498" y="143511"/>
                  </a:cubicBezTo>
                  <a:lnTo>
                    <a:pt x="250115" y="142828"/>
                  </a:lnTo>
                  <a:cubicBezTo>
                    <a:pt x="250090" y="142144"/>
                    <a:pt x="249806" y="142075"/>
                    <a:pt x="249522" y="142075"/>
                  </a:cubicBezTo>
                  <a:lnTo>
                    <a:pt x="237356" y="139483"/>
                  </a:lnTo>
                  <a:cubicBezTo>
                    <a:pt x="235596" y="142031"/>
                    <a:pt x="228677" y="128254"/>
                    <a:pt x="235618" y="128254"/>
                  </a:cubicBezTo>
                  <a:cubicBezTo>
                    <a:pt x="242570" y="128254"/>
                    <a:pt x="242570" y="114434"/>
                    <a:pt x="242570" y="114434"/>
                  </a:cubicBezTo>
                  <a:cubicBezTo>
                    <a:pt x="242544" y="114460"/>
                    <a:pt x="235618" y="121344"/>
                    <a:pt x="235618" y="121344"/>
                  </a:cubicBezTo>
                  <a:lnTo>
                    <a:pt x="229535" y="121344"/>
                  </a:lnTo>
                  <a:cubicBezTo>
                    <a:pt x="228699" y="121327"/>
                    <a:pt x="242570" y="114409"/>
                    <a:pt x="242570" y="93703"/>
                  </a:cubicBezTo>
                  <a:cubicBezTo>
                    <a:pt x="242570" y="72972"/>
                    <a:pt x="249522" y="24600"/>
                    <a:pt x="305140" y="3869"/>
                  </a:cubicBezTo>
                  <a:cubicBezTo>
                    <a:pt x="319044" y="414"/>
                    <a:pt x="332079" y="-450"/>
                    <a:pt x="343811"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44" name="Freeform 33"/>
            <p:cNvSpPr/>
            <p:nvPr/>
          </p:nvSpPr>
          <p:spPr bwMode="auto">
            <a:xfrm>
              <a:off x="9230317" y="2273334"/>
              <a:ext cx="686881" cy="2294305"/>
            </a:xfrm>
            <a:custGeom>
              <a:avLst/>
              <a:gdLst/>
              <a:ahLst/>
              <a:cxnLst/>
              <a:rect l="l" t="t" r="r" b="b"/>
              <a:pathLst>
                <a:path w="686881" h="2294305">
                  <a:moveTo>
                    <a:pt x="435874" y="335982"/>
                  </a:moveTo>
                  <a:cubicBezTo>
                    <a:pt x="435874" y="335982"/>
                    <a:pt x="477385" y="342902"/>
                    <a:pt x="484304" y="349822"/>
                  </a:cubicBezTo>
                  <a:cubicBezTo>
                    <a:pt x="498141" y="349822"/>
                    <a:pt x="532735" y="356742"/>
                    <a:pt x="553490" y="377501"/>
                  </a:cubicBezTo>
                  <a:cubicBezTo>
                    <a:pt x="574234" y="391333"/>
                    <a:pt x="608799" y="384429"/>
                    <a:pt x="608839" y="384421"/>
                  </a:cubicBezTo>
                  <a:cubicBezTo>
                    <a:pt x="608839" y="384421"/>
                    <a:pt x="664189" y="405181"/>
                    <a:pt x="664189" y="412101"/>
                  </a:cubicBezTo>
                  <a:cubicBezTo>
                    <a:pt x="671107" y="419021"/>
                    <a:pt x="671107" y="474380"/>
                    <a:pt x="671107" y="515899"/>
                  </a:cubicBezTo>
                  <a:cubicBezTo>
                    <a:pt x="671107" y="515899"/>
                    <a:pt x="671107" y="654296"/>
                    <a:pt x="671107" y="744254"/>
                  </a:cubicBezTo>
                  <a:cubicBezTo>
                    <a:pt x="671107" y="819075"/>
                    <a:pt x="675893" y="802944"/>
                    <a:pt x="678026" y="799613"/>
                  </a:cubicBezTo>
                  <a:cubicBezTo>
                    <a:pt x="678026" y="813453"/>
                    <a:pt x="691863" y="931091"/>
                    <a:pt x="684944" y="944931"/>
                  </a:cubicBezTo>
                  <a:cubicBezTo>
                    <a:pt x="678026" y="965690"/>
                    <a:pt x="622677" y="1145607"/>
                    <a:pt x="615758" y="1159447"/>
                  </a:cubicBezTo>
                  <a:cubicBezTo>
                    <a:pt x="615758" y="1166366"/>
                    <a:pt x="615758" y="1214806"/>
                    <a:pt x="608839" y="1214806"/>
                  </a:cubicBezTo>
                  <a:cubicBezTo>
                    <a:pt x="595017" y="1235542"/>
                    <a:pt x="588099" y="1249375"/>
                    <a:pt x="588084" y="1249405"/>
                  </a:cubicBezTo>
                  <a:cubicBezTo>
                    <a:pt x="588084" y="1311684"/>
                    <a:pt x="581165" y="1408562"/>
                    <a:pt x="581165" y="1450081"/>
                  </a:cubicBezTo>
                  <a:cubicBezTo>
                    <a:pt x="581165" y="1505440"/>
                    <a:pt x="574246" y="1623078"/>
                    <a:pt x="581165" y="1685357"/>
                  </a:cubicBezTo>
                  <a:cubicBezTo>
                    <a:pt x="588084" y="1740716"/>
                    <a:pt x="588084" y="1982911"/>
                    <a:pt x="581165" y="2059030"/>
                  </a:cubicBezTo>
                  <a:cubicBezTo>
                    <a:pt x="575976" y="2121309"/>
                    <a:pt x="578570" y="2117416"/>
                    <a:pt x="581165" y="2121308"/>
                  </a:cubicBezTo>
                  <a:cubicBezTo>
                    <a:pt x="574258" y="2142033"/>
                    <a:pt x="581142" y="2148965"/>
                    <a:pt x="581165" y="2148988"/>
                  </a:cubicBezTo>
                  <a:cubicBezTo>
                    <a:pt x="581165" y="2148988"/>
                    <a:pt x="581165" y="2162828"/>
                    <a:pt x="581165" y="2183587"/>
                  </a:cubicBezTo>
                  <a:cubicBezTo>
                    <a:pt x="581165" y="2204320"/>
                    <a:pt x="567363" y="2204347"/>
                    <a:pt x="567328" y="2204347"/>
                  </a:cubicBezTo>
                  <a:cubicBezTo>
                    <a:pt x="567328" y="2204347"/>
                    <a:pt x="567328" y="2204347"/>
                    <a:pt x="588084" y="2266626"/>
                  </a:cubicBezTo>
                  <a:cubicBezTo>
                    <a:pt x="588084" y="2266626"/>
                    <a:pt x="588084" y="2266626"/>
                    <a:pt x="588949" y="2266626"/>
                  </a:cubicBezTo>
                  <a:lnTo>
                    <a:pt x="595002" y="2266626"/>
                  </a:lnTo>
                  <a:cubicBezTo>
                    <a:pt x="595002" y="2266626"/>
                    <a:pt x="595002" y="2266626"/>
                    <a:pt x="595002" y="2287385"/>
                  </a:cubicBezTo>
                  <a:cubicBezTo>
                    <a:pt x="567328" y="2294305"/>
                    <a:pt x="560409" y="2294305"/>
                    <a:pt x="518897" y="2294305"/>
                  </a:cubicBezTo>
                  <a:cubicBezTo>
                    <a:pt x="484331" y="2294305"/>
                    <a:pt x="456674" y="2287396"/>
                    <a:pt x="456630" y="2287385"/>
                  </a:cubicBezTo>
                  <a:cubicBezTo>
                    <a:pt x="456630" y="2287385"/>
                    <a:pt x="456630" y="2287385"/>
                    <a:pt x="456630" y="2266626"/>
                  </a:cubicBezTo>
                  <a:cubicBezTo>
                    <a:pt x="456630" y="2266626"/>
                    <a:pt x="456630" y="2266626"/>
                    <a:pt x="456630" y="2265761"/>
                  </a:cubicBezTo>
                  <a:lnTo>
                    <a:pt x="456630" y="2259706"/>
                  </a:lnTo>
                  <a:cubicBezTo>
                    <a:pt x="456630" y="2259706"/>
                    <a:pt x="456630" y="2259706"/>
                    <a:pt x="463548" y="2232026"/>
                  </a:cubicBezTo>
                  <a:cubicBezTo>
                    <a:pt x="463548" y="2232026"/>
                    <a:pt x="463548" y="2232026"/>
                    <a:pt x="463548" y="2231161"/>
                  </a:cubicBezTo>
                  <a:lnTo>
                    <a:pt x="463548" y="2225106"/>
                  </a:lnTo>
                  <a:cubicBezTo>
                    <a:pt x="463548" y="2225106"/>
                    <a:pt x="463548" y="2225106"/>
                    <a:pt x="462683" y="2224241"/>
                  </a:cubicBezTo>
                  <a:lnTo>
                    <a:pt x="456630" y="2218187"/>
                  </a:lnTo>
                  <a:cubicBezTo>
                    <a:pt x="456630" y="2218187"/>
                    <a:pt x="456630" y="2218187"/>
                    <a:pt x="455765" y="2218187"/>
                  </a:cubicBezTo>
                  <a:lnTo>
                    <a:pt x="449711" y="2218187"/>
                  </a:lnTo>
                  <a:cubicBezTo>
                    <a:pt x="442792" y="2211267"/>
                    <a:pt x="463548" y="2197427"/>
                    <a:pt x="449711" y="2190507"/>
                  </a:cubicBezTo>
                  <a:cubicBezTo>
                    <a:pt x="435874" y="2190507"/>
                    <a:pt x="428955" y="2155908"/>
                    <a:pt x="428955" y="2135148"/>
                  </a:cubicBezTo>
                  <a:cubicBezTo>
                    <a:pt x="428955" y="2107469"/>
                    <a:pt x="408199" y="1941392"/>
                    <a:pt x="394362" y="1872193"/>
                  </a:cubicBezTo>
                  <a:cubicBezTo>
                    <a:pt x="387443" y="1796075"/>
                    <a:pt x="394362" y="1650757"/>
                    <a:pt x="387443" y="1588479"/>
                  </a:cubicBezTo>
                  <a:cubicBezTo>
                    <a:pt x="380526" y="1533131"/>
                    <a:pt x="359777" y="1429363"/>
                    <a:pt x="359769" y="1429322"/>
                  </a:cubicBezTo>
                  <a:cubicBezTo>
                    <a:pt x="359769" y="1429322"/>
                    <a:pt x="339013" y="1574639"/>
                    <a:pt x="339013" y="1602318"/>
                  </a:cubicBezTo>
                  <a:cubicBezTo>
                    <a:pt x="332094" y="1629998"/>
                    <a:pt x="290582" y="1886033"/>
                    <a:pt x="290582" y="1920632"/>
                  </a:cubicBezTo>
                  <a:cubicBezTo>
                    <a:pt x="290582" y="1955232"/>
                    <a:pt x="318257" y="2135148"/>
                    <a:pt x="318257" y="2162828"/>
                  </a:cubicBezTo>
                  <a:cubicBezTo>
                    <a:pt x="318257" y="2183587"/>
                    <a:pt x="325176" y="2225106"/>
                    <a:pt x="325176" y="2232026"/>
                  </a:cubicBezTo>
                  <a:cubicBezTo>
                    <a:pt x="325176" y="2238938"/>
                    <a:pt x="332078" y="2245850"/>
                    <a:pt x="332094" y="2245866"/>
                  </a:cubicBezTo>
                  <a:cubicBezTo>
                    <a:pt x="332094" y="2245866"/>
                    <a:pt x="332094" y="2245866"/>
                    <a:pt x="332094" y="2266626"/>
                  </a:cubicBezTo>
                  <a:cubicBezTo>
                    <a:pt x="332094" y="2266626"/>
                    <a:pt x="332094" y="2266626"/>
                    <a:pt x="242152" y="2280465"/>
                  </a:cubicBezTo>
                  <a:cubicBezTo>
                    <a:pt x="242152" y="2280465"/>
                    <a:pt x="242152" y="2280465"/>
                    <a:pt x="242152" y="2259706"/>
                  </a:cubicBezTo>
                  <a:cubicBezTo>
                    <a:pt x="242152" y="2259706"/>
                    <a:pt x="179884" y="2280465"/>
                    <a:pt x="110698" y="2287385"/>
                  </a:cubicBezTo>
                  <a:cubicBezTo>
                    <a:pt x="41547" y="2287385"/>
                    <a:pt x="42" y="2273560"/>
                    <a:pt x="0" y="2273546"/>
                  </a:cubicBezTo>
                  <a:cubicBezTo>
                    <a:pt x="0" y="2273546"/>
                    <a:pt x="0" y="2273546"/>
                    <a:pt x="0" y="2272681"/>
                  </a:cubicBezTo>
                  <a:lnTo>
                    <a:pt x="0" y="2266626"/>
                  </a:lnTo>
                  <a:cubicBezTo>
                    <a:pt x="0" y="2266626"/>
                    <a:pt x="0" y="2266626"/>
                    <a:pt x="865" y="2266626"/>
                  </a:cubicBezTo>
                  <a:lnTo>
                    <a:pt x="6919" y="2266626"/>
                  </a:lnTo>
                  <a:cubicBezTo>
                    <a:pt x="6919" y="2266626"/>
                    <a:pt x="0" y="2245866"/>
                    <a:pt x="13837" y="2245866"/>
                  </a:cubicBezTo>
                  <a:cubicBezTo>
                    <a:pt x="20756" y="2238946"/>
                    <a:pt x="69186" y="2245866"/>
                    <a:pt x="89942" y="2238946"/>
                  </a:cubicBezTo>
                  <a:cubicBezTo>
                    <a:pt x="110690" y="2232029"/>
                    <a:pt x="145265" y="2211282"/>
                    <a:pt x="145291" y="2211267"/>
                  </a:cubicBezTo>
                  <a:cubicBezTo>
                    <a:pt x="145291" y="2211267"/>
                    <a:pt x="145291" y="2211267"/>
                    <a:pt x="144426" y="2210402"/>
                  </a:cubicBezTo>
                  <a:lnTo>
                    <a:pt x="138373" y="2204347"/>
                  </a:lnTo>
                  <a:cubicBezTo>
                    <a:pt x="138373" y="2204347"/>
                    <a:pt x="145272" y="2197446"/>
                    <a:pt x="145291" y="2197427"/>
                  </a:cubicBezTo>
                  <a:cubicBezTo>
                    <a:pt x="152210" y="2190507"/>
                    <a:pt x="145291" y="2169748"/>
                    <a:pt x="138373" y="2162828"/>
                  </a:cubicBezTo>
                  <a:cubicBezTo>
                    <a:pt x="131454" y="2148988"/>
                    <a:pt x="159128" y="2128228"/>
                    <a:pt x="152210" y="2114389"/>
                  </a:cubicBezTo>
                  <a:cubicBezTo>
                    <a:pt x="138373" y="2107469"/>
                    <a:pt x="138373" y="2079789"/>
                    <a:pt x="138373" y="2045190"/>
                  </a:cubicBezTo>
                  <a:cubicBezTo>
                    <a:pt x="138373" y="2003671"/>
                    <a:pt x="145291" y="1713036"/>
                    <a:pt x="138373" y="1664597"/>
                  </a:cubicBezTo>
                  <a:cubicBezTo>
                    <a:pt x="124535" y="1616158"/>
                    <a:pt x="131454" y="1498520"/>
                    <a:pt x="124535" y="1429322"/>
                  </a:cubicBezTo>
                  <a:cubicBezTo>
                    <a:pt x="117619" y="1360139"/>
                    <a:pt x="110701" y="1201043"/>
                    <a:pt x="110698" y="1200966"/>
                  </a:cubicBezTo>
                  <a:cubicBezTo>
                    <a:pt x="110698" y="1200966"/>
                    <a:pt x="110698" y="1200966"/>
                    <a:pt x="89942" y="1194046"/>
                  </a:cubicBezTo>
                  <a:cubicBezTo>
                    <a:pt x="89942" y="1194046"/>
                    <a:pt x="76105" y="1194046"/>
                    <a:pt x="69186" y="1180206"/>
                  </a:cubicBezTo>
                  <a:cubicBezTo>
                    <a:pt x="69186" y="1166366"/>
                    <a:pt x="62268" y="1069488"/>
                    <a:pt x="69186" y="1034889"/>
                  </a:cubicBezTo>
                  <a:cubicBezTo>
                    <a:pt x="76105" y="1000290"/>
                    <a:pt x="55349" y="854972"/>
                    <a:pt x="62268" y="778854"/>
                  </a:cubicBezTo>
                  <a:cubicBezTo>
                    <a:pt x="69186" y="695815"/>
                    <a:pt x="41512" y="522819"/>
                    <a:pt x="41512" y="502059"/>
                  </a:cubicBezTo>
                  <a:cubicBezTo>
                    <a:pt x="48430" y="481299"/>
                    <a:pt x="55349" y="474380"/>
                    <a:pt x="55349" y="453620"/>
                  </a:cubicBezTo>
                  <a:cubicBezTo>
                    <a:pt x="55349" y="432860"/>
                    <a:pt x="55349" y="405181"/>
                    <a:pt x="76105" y="391341"/>
                  </a:cubicBezTo>
                  <a:cubicBezTo>
                    <a:pt x="83016" y="391341"/>
                    <a:pt x="96829" y="391341"/>
                    <a:pt x="96861" y="391341"/>
                  </a:cubicBezTo>
                  <a:cubicBezTo>
                    <a:pt x="96861" y="391341"/>
                    <a:pt x="96861" y="391341"/>
                    <a:pt x="159128" y="370581"/>
                  </a:cubicBezTo>
                  <a:cubicBezTo>
                    <a:pt x="159128" y="370581"/>
                    <a:pt x="166047" y="363662"/>
                    <a:pt x="179884" y="363662"/>
                  </a:cubicBezTo>
                  <a:cubicBezTo>
                    <a:pt x="193722" y="356742"/>
                    <a:pt x="228315" y="342902"/>
                    <a:pt x="235233" y="342902"/>
                  </a:cubicBezTo>
                  <a:cubicBezTo>
                    <a:pt x="249062" y="335987"/>
                    <a:pt x="249071" y="356714"/>
                    <a:pt x="249071" y="356742"/>
                  </a:cubicBezTo>
                  <a:cubicBezTo>
                    <a:pt x="249071" y="356742"/>
                    <a:pt x="242152" y="356742"/>
                    <a:pt x="235233" y="356742"/>
                  </a:cubicBezTo>
                  <a:cubicBezTo>
                    <a:pt x="235233" y="363662"/>
                    <a:pt x="255989" y="412101"/>
                    <a:pt x="269827" y="460540"/>
                  </a:cubicBezTo>
                  <a:cubicBezTo>
                    <a:pt x="283657" y="508955"/>
                    <a:pt x="311310" y="557369"/>
                    <a:pt x="311338" y="557418"/>
                  </a:cubicBezTo>
                  <a:cubicBezTo>
                    <a:pt x="311338" y="557418"/>
                    <a:pt x="325176" y="502059"/>
                    <a:pt x="332094" y="495139"/>
                  </a:cubicBezTo>
                  <a:cubicBezTo>
                    <a:pt x="339005" y="495139"/>
                    <a:pt x="345914" y="488236"/>
                    <a:pt x="345931" y="488219"/>
                  </a:cubicBezTo>
                  <a:cubicBezTo>
                    <a:pt x="345931" y="488219"/>
                    <a:pt x="345931" y="488219"/>
                    <a:pt x="344201" y="488219"/>
                  </a:cubicBezTo>
                  <a:lnTo>
                    <a:pt x="332094" y="488219"/>
                  </a:lnTo>
                  <a:cubicBezTo>
                    <a:pt x="332094" y="488219"/>
                    <a:pt x="318257" y="474380"/>
                    <a:pt x="325176" y="467460"/>
                  </a:cubicBezTo>
                  <a:cubicBezTo>
                    <a:pt x="325176" y="460540"/>
                    <a:pt x="345931" y="425940"/>
                    <a:pt x="352850" y="425940"/>
                  </a:cubicBezTo>
                  <a:cubicBezTo>
                    <a:pt x="359766" y="419024"/>
                    <a:pt x="373593" y="460501"/>
                    <a:pt x="373606" y="460540"/>
                  </a:cubicBezTo>
                  <a:cubicBezTo>
                    <a:pt x="373606" y="467452"/>
                    <a:pt x="366703" y="481268"/>
                    <a:pt x="366687" y="481299"/>
                  </a:cubicBezTo>
                  <a:cubicBezTo>
                    <a:pt x="366687" y="481299"/>
                    <a:pt x="366687" y="508979"/>
                    <a:pt x="366687" y="529738"/>
                  </a:cubicBezTo>
                  <a:cubicBezTo>
                    <a:pt x="373600" y="550480"/>
                    <a:pt x="373606" y="564313"/>
                    <a:pt x="373606" y="564338"/>
                  </a:cubicBezTo>
                  <a:cubicBezTo>
                    <a:pt x="373606" y="564338"/>
                    <a:pt x="408199" y="522819"/>
                    <a:pt x="415118" y="508979"/>
                  </a:cubicBezTo>
                  <a:cubicBezTo>
                    <a:pt x="415118" y="495139"/>
                    <a:pt x="456630" y="419021"/>
                    <a:pt x="456630" y="384421"/>
                  </a:cubicBezTo>
                  <a:cubicBezTo>
                    <a:pt x="463543" y="342931"/>
                    <a:pt x="435913" y="335992"/>
                    <a:pt x="435874" y="335982"/>
                  </a:cubicBezTo>
                  <a:close/>
                  <a:moveTo>
                    <a:pt x="336561" y="198"/>
                  </a:moveTo>
                  <a:cubicBezTo>
                    <a:pt x="361201" y="1576"/>
                    <a:pt x="380020" y="9784"/>
                    <a:pt x="388863" y="14513"/>
                  </a:cubicBezTo>
                  <a:cubicBezTo>
                    <a:pt x="391431" y="14653"/>
                    <a:pt x="393800" y="15304"/>
                    <a:pt x="395838" y="16757"/>
                  </a:cubicBezTo>
                  <a:cubicBezTo>
                    <a:pt x="399328" y="13483"/>
                    <a:pt x="410658" y="5081"/>
                    <a:pt x="421987" y="10780"/>
                  </a:cubicBezTo>
                  <a:cubicBezTo>
                    <a:pt x="442592" y="24600"/>
                    <a:pt x="463197" y="52241"/>
                    <a:pt x="456329" y="79882"/>
                  </a:cubicBezTo>
                  <a:cubicBezTo>
                    <a:pt x="456329" y="107523"/>
                    <a:pt x="463197" y="121344"/>
                    <a:pt x="463197" y="121344"/>
                  </a:cubicBezTo>
                  <a:lnTo>
                    <a:pt x="457188" y="115297"/>
                  </a:lnTo>
                  <a:cubicBezTo>
                    <a:pt x="456308" y="114475"/>
                    <a:pt x="450013" y="127146"/>
                    <a:pt x="446036" y="137496"/>
                  </a:cubicBezTo>
                  <a:cubicBezTo>
                    <a:pt x="448973" y="137373"/>
                    <a:pt x="451136" y="133502"/>
                    <a:pt x="451136" y="129631"/>
                  </a:cubicBezTo>
                  <a:cubicBezTo>
                    <a:pt x="458088" y="122691"/>
                    <a:pt x="465040" y="136571"/>
                    <a:pt x="465040" y="150452"/>
                  </a:cubicBezTo>
                  <a:cubicBezTo>
                    <a:pt x="465040" y="164332"/>
                    <a:pt x="465040" y="185152"/>
                    <a:pt x="458088" y="192093"/>
                  </a:cubicBezTo>
                  <a:cubicBezTo>
                    <a:pt x="458088" y="199033"/>
                    <a:pt x="451136" y="205973"/>
                    <a:pt x="451136" y="205973"/>
                  </a:cubicBezTo>
                  <a:lnTo>
                    <a:pt x="447660" y="198165"/>
                  </a:lnTo>
                  <a:cubicBezTo>
                    <a:pt x="445921" y="197298"/>
                    <a:pt x="444183" y="199033"/>
                    <a:pt x="444183" y="205973"/>
                  </a:cubicBezTo>
                  <a:cubicBezTo>
                    <a:pt x="444183" y="212913"/>
                    <a:pt x="437231" y="233734"/>
                    <a:pt x="430279" y="247614"/>
                  </a:cubicBezTo>
                  <a:cubicBezTo>
                    <a:pt x="430279" y="261494"/>
                    <a:pt x="416375" y="275375"/>
                    <a:pt x="416375" y="275375"/>
                  </a:cubicBezTo>
                  <a:cubicBezTo>
                    <a:pt x="416375" y="275414"/>
                    <a:pt x="416375" y="282374"/>
                    <a:pt x="416375" y="303135"/>
                  </a:cubicBezTo>
                  <a:cubicBezTo>
                    <a:pt x="416375" y="323956"/>
                    <a:pt x="360758" y="344776"/>
                    <a:pt x="360758" y="344776"/>
                  </a:cubicBezTo>
                  <a:cubicBezTo>
                    <a:pt x="360671" y="344760"/>
                    <a:pt x="284284" y="330884"/>
                    <a:pt x="284284" y="310075"/>
                  </a:cubicBezTo>
                  <a:cubicBezTo>
                    <a:pt x="284284" y="296195"/>
                    <a:pt x="284284" y="290990"/>
                    <a:pt x="284284" y="289255"/>
                  </a:cubicBezTo>
                  <a:cubicBezTo>
                    <a:pt x="284255" y="289226"/>
                    <a:pt x="270380" y="275353"/>
                    <a:pt x="270380" y="254554"/>
                  </a:cubicBezTo>
                  <a:cubicBezTo>
                    <a:pt x="263428" y="233734"/>
                    <a:pt x="256476" y="212913"/>
                    <a:pt x="256476" y="212913"/>
                  </a:cubicBezTo>
                  <a:cubicBezTo>
                    <a:pt x="256462" y="212942"/>
                    <a:pt x="249515" y="226786"/>
                    <a:pt x="242571" y="219853"/>
                  </a:cubicBezTo>
                  <a:cubicBezTo>
                    <a:pt x="242571" y="205973"/>
                    <a:pt x="235619" y="185152"/>
                    <a:pt x="235619" y="171272"/>
                  </a:cubicBezTo>
                  <a:cubicBezTo>
                    <a:pt x="228667" y="157392"/>
                    <a:pt x="235619" y="143511"/>
                    <a:pt x="242571" y="143511"/>
                  </a:cubicBezTo>
                  <a:lnTo>
                    <a:pt x="244041" y="142887"/>
                  </a:lnTo>
                  <a:cubicBezTo>
                    <a:pt x="244028" y="142159"/>
                    <a:pt x="243718" y="142075"/>
                    <a:pt x="243409" y="142075"/>
                  </a:cubicBezTo>
                  <a:lnTo>
                    <a:pt x="231389" y="139483"/>
                  </a:lnTo>
                  <a:cubicBezTo>
                    <a:pt x="229672" y="142039"/>
                    <a:pt x="229681" y="128254"/>
                    <a:pt x="236541" y="128254"/>
                  </a:cubicBezTo>
                  <a:cubicBezTo>
                    <a:pt x="236556" y="128223"/>
                    <a:pt x="243409" y="114434"/>
                    <a:pt x="243409" y="114434"/>
                  </a:cubicBezTo>
                  <a:cubicBezTo>
                    <a:pt x="243388" y="114455"/>
                    <a:pt x="236531" y="121344"/>
                    <a:pt x="229672" y="121344"/>
                  </a:cubicBezTo>
                  <a:cubicBezTo>
                    <a:pt x="229647" y="121344"/>
                    <a:pt x="222804" y="121344"/>
                    <a:pt x="222804" y="121344"/>
                  </a:cubicBezTo>
                  <a:cubicBezTo>
                    <a:pt x="222831" y="121330"/>
                    <a:pt x="236541" y="114413"/>
                    <a:pt x="236541" y="93703"/>
                  </a:cubicBezTo>
                  <a:cubicBezTo>
                    <a:pt x="236541" y="72972"/>
                    <a:pt x="243409" y="24600"/>
                    <a:pt x="298356" y="3869"/>
                  </a:cubicBezTo>
                  <a:cubicBezTo>
                    <a:pt x="312093" y="414"/>
                    <a:pt x="324971" y="-450"/>
                    <a:pt x="336561" y="198"/>
                  </a:cubicBezTo>
                  <a:close/>
                </a:path>
              </a:pathLst>
            </a:custGeom>
            <a:grp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grpSp>
    </p:spTree>
  </p:cSld>
  <p:clrMapOvr>
    <a:masterClrMapping/>
  </p:clrMapOvr>
  <mc:AlternateContent xmlns:mc="http://schemas.openxmlformats.org/markup-compatibility/2006">
    <mc:Choice xmlns:p14="http://schemas.microsoft.com/office/powerpoint/2010/main" Requires="p14">
      <p:transition spd="slow" p14:dur="1300" advTm="3650">
        <p14:pan/>
      </p:transition>
    </mc:Choice>
    <mc:Fallback>
      <p:transition spd="slow" advTm="365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1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descr="D:\360data\重要数据\桌面\未标题-1.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238082" y="2876550"/>
            <a:ext cx="2962275" cy="39814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D:\360data\重要数据\桌面\未标题2-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21972" y="2860304"/>
            <a:ext cx="3057525" cy="4019550"/>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7" name="文本框 17"/>
          <p:cNvSpPr txBox="1"/>
          <p:nvPr/>
        </p:nvSpPr>
        <p:spPr>
          <a:xfrm>
            <a:off x="3695853" y="836712"/>
            <a:ext cx="4798707" cy="2123658"/>
          </a:xfrm>
          <a:prstGeom prst="rect">
            <a:avLst/>
          </a:prstGeom>
          <a:noFill/>
        </p:spPr>
        <p:txBody>
          <a:bodyPr wrap="square" rtlCol="0">
            <a:spAutoFit/>
          </a:bodyPr>
          <a:lstStyle/>
          <a:p>
            <a:pPr algn="ctr">
              <a:lnSpc>
                <a:spcPct val="150000"/>
              </a:lnSpc>
            </a:pPr>
            <a:r>
              <a:rPr lang="zh-CN" altLang="en-US" sz="4400"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rPr>
              <a:t>感谢您的聆听</a:t>
            </a:r>
            <a:endParaRPr lang="en-US" altLang="zh-CN" sz="4400"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endParaRPr>
          </a:p>
          <a:p>
            <a:pPr algn="ctr">
              <a:lnSpc>
                <a:spcPct val="150000"/>
              </a:lnSpc>
            </a:pPr>
            <a:r>
              <a:rPr lang="en-US" altLang="zh-CN" sz="4400" dirty="0" smtClean="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rPr>
              <a:t>Thanks</a:t>
            </a:r>
            <a:endParaRPr lang="zh-CN" altLang="en-US" sz="4400" dirty="0">
              <a:effectLst>
                <a:outerShdw blurRad="266700" algn="tl" rotWithShape="0">
                  <a:schemeClr val="tx2">
                    <a:lumMod val="40000"/>
                    <a:lumOff val="60000"/>
                    <a:alpha val="55000"/>
                  </a:schemeClr>
                </a:outerShdw>
              </a:effectLst>
              <a:latin typeface="微软雅黑" panose="020B0503020204020204" pitchFamily="34" charset="-122"/>
              <a:ea typeface="微软雅黑" panose="020B0503020204020204" pitchFamily="34" charset="-122"/>
            </a:endParaRPr>
          </a:p>
        </p:txBody>
      </p:sp>
      <p:sp>
        <p:nvSpPr>
          <p:cNvPr id="10" name="TextBox 9"/>
          <p:cNvSpPr txBox="1"/>
          <p:nvPr/>
        </p:nvSpPr>
        <p:spPr>
          <a:xfrm>
            <a:off x="2380430" y="5572140"/>
            <a:ext cx="7715304" cy="461665"/>
          </a:xfrm>
          <a:prstGeom prst="rect">
            <a:avLst/>
          </a:prstGeom>
          <a:noFill/>
          <a:effectLst/>
        </p:spPr>
        <p:txBody>
          <a:bodyPr wrap="square" rtlCol="0">
            <a:spAutoFit/>
          </a:bodyPr>
          <a:lstStyle/>
          <a:p>
            <a:pPr algn="ctr"/>
            <a:r>
              <a:rPr lang="zh-CN" altLang="en-US" sz="2400" b="1" dirty="0" smtClean="0">
                <a:latin typeface="微软雅黑" panose="020B0503020204020204" pitchFamily="34" charset="-122"/>
                <a:ea typeface="微软雅黑" panose="020B0503020204020204" pitchFamily="34" charset="-122"/>
              </a:rPr>
              <a:t>网申地址</a:t>
            </a:r>
            <a:r>
              <a:rPr lang="en-US" altLang="zh-CN" sz="2400" b="1" dirty="0" smtClean="0">
                <a:latin typeface="微软雅黑" panose="020B0503020204020204" pitchFamily="34" charset="-122"/>
                <a:ea typeface="微软雅黑" panose="020B0503020204020204" pitchFamily="34" charset="-122"/>
              </a:rPr>
              <a:t> </a:t>
            </a:r>
            <a:r>
              <a:rPr lang="en-US" altLang="zh-CN" sz="2400" dirty="0" smtClean="0">
                <a:latin typeface="微软雅黑" panose="020B0503020204020204" pitchFamily="34" charset="-122"/>
                <a:ea typeface="微软雅黑" panose="020B0503020204020204" pitchFamily="34" charset="-122"/>
              </a:rPr>
              <a:t>:</a:t>
            </a:r>
            <a:r>
              <a:rPr lang="en-US" sz="2400" u="sng" dirty="0" smtClean="0">
                <a:latin typeface="微软雅黑" panose="020B0503020204020204" pitchFamily="34" charset="-122"/>
                <a:ea typeface="微软雅黑" panose="020B0503020204020204" pitchFamily="34" charset="-122"/>
                <a:hlinkClick r:id="rId3"/>
              </a:rPr>
              <a:t> http://campus.51job.com/hitachi-sdzp</a:t>
            </a:r>
            <a:endParaRPr lang="zh-CN" altLang="en-US" sz="2400" dirty="0">
              <a:latin typeface="微软雅黑" panose="020B0503020204020204" pitchFamily="34" charset="-122"/>
              <a:ea typeface="微软雅黑" panose="020B0503020204020204" pitchFamily="34" charset="-122"/>
            </a:endParaRPr>
          </a:p>
        </p:txBody>
      </p:sp>
      <p:pic>
        <p:nvPicPr>
          <p:cNvPr id="14" name="图片 13" descr="二维码.jpg"/>
          <p:cNvPicPr>
            <a:picLocks noChangeAspect="1"/>
          </p:cNvPicPr>
          <p:nvPr/>
        </p:nvPicPr>
        <p:blipFill>
          <a:blip r:embed="rId4"/>
          <a:stretch>
            <a:fillRect/>
          </a:stretch>
        </p:blipFill>
        <p:spPr>
          <a:xfrm>
            <a:off x="4737884" y="2928934"/>
            <a:ext cx="2752725" cy="273367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800" advTm="2980">
        <p14:flythrough/>
      </p:transition>
    </mc:Choice>
    <mc:Fallback>
      <p:transition spd="slow" advTm="298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63" presetClass="path" presetSubtype="0" fill="hold" nodeType="afterEffect">
                                  <p:stCondLst>
                                    <p:cond delay="0"/>
                                  </p:stCondLst>
                                  <p:childTnLst>
                                    <p:animMotion origin="layout" path="M 0 0 L 0.25 0 E" pathEditMode="relative" ptsTypes="">
                                      <p:cBhvr>
                                        <p:cTn id="15" dur="500" fill="hold"/>
                                        <p:tgtEl>
                                          <p:spTgt spid="5"/>
                                        </p:tgtEl>
                                        <p:attrNameLst>
                                          <p:attrName>ppt_x</p:attrName>
                                          <p:attrName>ppt_y</p:attrName>
                                        </p:attrNameLst>
                                      </p:cBhvr>
                                    </p:animMotion>
                                  </p:childTnLst>
                                </p:cTn>
                              </p:par>
                              <p:par>
                                <p:cTn id="16" presetID="35" presetClass="path" presetSubtype="0" fill="hold" nodeType="withEffect">
                                  <p:stCondLst>
                                    <p:cond delay="0"/>
                                  </p:stCondLst>
                                  <p:childTnLst>
                                    <p:animMotion origin="layout" path="M 0 0 L -0.25 0 E" pathEditMode="relative" ptsTypes="">
                                      <p:cBhvr>
                                        <p:cTn id="17" dur="500" fill="hold"/>
                                        <p:tgtEl>
                                          <p:spTgt spid="6"/>
                                        </p:tgtEl>
                                        <p:attrNameLst>
                                          <p:attrName>ppt_x</p:attrName>
                                          <p:attrName>ppt_y</p:attrName>
                                        </p:attrNameLst>
                                      </p:cBhvr>
                                    </p:animMotion>
                                  </p:childTnLst>
                                </p:cTn>
                              </p:par>
                              <p:par>
                                <p:cTn id="18" presetID="10" presetClass="exit" presetSubtype="0" fill="hold" nodeType="withEffect">
                                  <p:stCondLst>
                                    <p:cond delay="200"/>
                                  </p:stCondLst>
                                  <p:childTnLst>
                                    <p:animEffect transition="out" filter="fade">
                                      <p:cBhvr>
                                        <p:cTn id="19" dur="300"/>
                                        <p:tgtEl>
                                          <p:spTgt spid="6"/>
                                        </p:tgtEl>
                                      </p:cBhvr>
                                    </p:animEffect>
                                    <p:set>
                                      <p:cBhvr>
                                        <p:cTn id="20" dur="1" fill="hold">
                                          <p:stCondLst>
                                            <p:cond delay="299"/>
                                          </p:stCondLst>
                                        </p:cTn>
                                        <p:tgtEl>
                                          <p:spTgt spid="6"/>
                                        </p:tgtEl>
                                        <p:attrNameLst>
                                          <p:attrName>style.visibility</p:attrName>
                                        </p:attrNameLst>
                                      </p:cBhvr>
                                      <p:to>
                                        <p:strVal val="hidden"/>
                                      </p:to>
                                    </p:set>
                                  </p:childTnLst>
                                </p:cTn>
                              </p:par>
                              <p:par>
                                <p:cTn id="21" presetID="10" presetClass="exit" presetSubtype="0" fill="hold" nodeType="withEffect">
                                  <p:stCondLst>
                                    <p:cond delay="200"/>
                                  </p:stCondLst>
                                  <p:childTnLst>
                                    <p:animEffect transition="out" filter="fade">
                                      <p:cBhvr>
                                        <p:cTn id="22" dur="300"/>
                                        <p:tgtEl>
                                          <p:spTgt spid="5"/>
                                        </p:tgtEl>
                                      </p:cBhvr>
                                    </p:animEffect>
                                    <p:set>
                                      <p:cBhvr>
                                        <p:cTn id="23" dur="1" fill="hold">
                                          <p:stCondLst>
                                            <p:cond delay="299"/>
                                          </p:stCondLst>
                                        </p:cTn>
                                        <p:tgtEl>
                                          <p:spTgt spid="5"/>
                                        </p:tgtEl>
                                        <p:attrNameLst>
                                          <p:attrName>style.visibility</p:attrName>
                                        </p:attrNameLst>
                                      </p:cBhvr>
                                      <p:to>
                                        <p:strVal val="hidden"/>
                                      </p:to>
                                    </p:set>
                                  </p:childTnLst>
                                </p:cTn>
                              </p:par>
                              <p:par>
                                <p:cTn id="24" presetID="16" presetClass="entr" presetSubtype="37" fill="hold" grpId="0"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barn(outVertical)">
                                      <p:cBhvr>
                                        <p:cTn id="26" dur="500"/>
                                        <p:tgtEl>
                                          <p:spTgt spid="7"/>
                                        </p:tgtEl>
                                      </p:cBhvr>
                                    </p:animEffect>
                                  </p:childTnLst>
                                </p:cTn>
                              </p:par>
                              <p:par>
                                <p:cTn id="27" presetID="16" presetClass="entr" presetSubtype="37"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barn(outVertical)">
                                      <p:cBhvr>
                                        <p:cTn id="29" dur="500"/>
                                        <p:tgtEl>
                                          <p:spTgt spid="10"/>
                                        </p:tgtEl>
                                      </p:cBhvr>
                                    </p:animEffect>
                                  </p:childTnLst>
                                </p:cTn>
                              </p:par>
                              <p:par>
                                <p:cTn id="30" presetID="16" presetClass="entr" presetSubtype="37" fill="hold"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barn(outVertical)">
                                      <p:cBhvr>
                                        <p:cTn id="3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LOGO SOUND.MP3">
            <a:hlinkClick r:id="" action="ppaction://media"/>
          </p:cNvPr>
          <p:cNvPicPr>
            <a:picLocks noChangeAspect="1"/>
          </p:cNvPicPr>
          <p:nvPr>
            <a:videoFile r:link="rId1"/>
            <p:extLst>
              <p:ext uri="{DAA4B4D4-6D71-4841-9C94-3DE7FCFB9230}">
                <p14:media xmlns:p14="http://schemas.microsoft.com/office/powerpoint/2010/main" r:embed="rId2"/>
              </p:ext>
            </p:extLst>
          </p:nvPr>
        </p:nvPicPr>
        <p:blipFill>
          <a:blip r:embed="rId3" cstate="print"/>
          <a:stretch>
            <a:fillRect/>
          </a:stretch>
        </p:blipFill>
        <p:spPr>
          <a:xfrm>
            <a:off x="5789613" y="-675456"/>
            <a:ext cx="609600" cy="609600"/>
          </a:xfrm>
          <a:prstGeom prst="rect">
            <a:avLst/>
          </a:prstGeom>
        </p:spPr>
      </p:pic>
      <p:pic>
        <p:nvPicPr>
          <p:cNvPr id="7" name="Picture 5" descr="E:\L梁志伟\集团简介ai\Hitachi Inspire the Nex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67106" y="285728"/>
            <a:ext cx="2246349" cy="64294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666314" y="2428868"/>
            <a:ext cx="5929354" cy="1323439"/>
          </a:xfrm>
          <a:prstGeom prst="rect">
            <a:avLst/>
          </a:prstGeom>
          <a:noFill/>
        </p:spPr>
        <p:txBody>
          <a:bodyPr wrap="square" rtlCol="0" anchor="ctr">
            <a:spAutoFit/>
          </a:bodyPr>
          <a:lstStyle/>
          <a:p>
            <a:r>
              <a:rPr lang="en-US" altLang="zh-CN" sz="8000" b="1" dirty="0" smtClean="0">
                <a:solidFill>
                  <a:srgbClr val="C00000"/>
                </a:solidFill>
                <a:latin typeface="微软雅黑" panose="020B0503020204020204" pitchFamily="34" charset="-122"/>
                <a:ea typeface="微软雅黑" panose="020B0503020204020204" pitchFamily="34" charset="-122"/>
              </a:rPr>
              <a:t>Q  &amp;  A</a:t>
            </a:r>
            <a:endParaRPr lang="zh-CN" altLang="en-US" sz="8000" b="1" dirty="0" smtClean="0">
              <a:solidFill>
                <a:srgbClr val="C0000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p14:dur="10" advClick="0" advTm="11351"/>
    </mc:Choice>
    <mc:Fallback>
      <p:transition advClick="0" advTm="11351"/>
    </mc:Fallback>
  </mc:AlternateContent>
  <p:timing>
    <p:tnLst>
      <p:par>
        <p:cTn id="1" dur="indefinite" restart="never" nodeType="tmRoot">
          <p:childTnLst>
            <p:video>
              <p:cMediaNode vol="80000">
                <p:cTn id="2" fill="hold" display="0">
                  <p:stCondLst>
                    <p:cond delay="indefinite"/>
                  </p:stCondLst>
                  <p:endCondLst>
                    <p:cond evt="onStopAudio" delay="0">
                      <p:tgtEl>
                        <p:sldTgt/>
                      </p:tgtEl>
                    </p:cond>
                  </p:endCondLst>
                </p:cTn>
                <p:tgtEl>
                  <p:spTgt spid="3"/>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grpSp>
        <p:nvGrpSpPr>
          <p:cNvPr id="2" name="组合 23"/>
          <p:cNvGrpSpPr/>
          <p:nvPr/>
        </p:nvGrpSpPr>
        <p:grpSpPr>
          <a:xfrm>
            <a:off x="1237422" y="2643182"/>
            <a:ext cx="2020615" cy="2025531"/>
            <a:chOff x="1312099" y="2614471"/>
            <a:chExt cx="2020615" cy="2025531"/>
          </a:xfrm>
          <a:solidFill>
            <a:schemeClr val="tx2">
              <a:lumMod val="60000"/>
              <a:lumOff val="40000"/>
            </a:schemeClr>
          </a:solidFill>
        </p:grpSpPr>
        <p:sp>
          <p:nvSpPr>
            <p:cNvPr id="5" name="Freeform 7"/>
            <p:cNvSpPr>
              <a:spLocks noEditPoints="1"/>
            </p:cNvSpPr>
            <p:nvPr/>
          </p:nvSpPr>
          <p:spPr bwMode="auto">
            <a:xfrm>
              <a:off x="1312099" y="2614471"/>
              <a:ext cx="2020615" cy="2025531"/>
            </a:xfrm>
            <a:custGeom>
              <a:avLst/>
              <a:gdLst>
                <a:gd name="T0" fmla="*/ 174 w 348"/>
                <a:gd name="T1" fmla="*/ 349 h 349"/>
                <a:gd name="T2" fmla="*/ 0 w 348"/>
                <a:gd name="T3" fmla="*/ 175 h 349"/>
                <a:gd name="T4" fmla="*/ 174 w 348"/>
                <a:gd name="T5" fmla="*/ 0 h 349"/>
                <a:gd name="T6" fmla="*/ 348 w 348"/>
                <a:gd name="T7" fmla="*/ 175 h 349"/>
                <a:gd name="T8" fmla="*/ 174 w 348"/>
                <a:gd name="T9" fmla="*/ 349 h 349"/>
                <a:gd name="T10" fmla="*/ 174 w 348"/>
                <a:gd name="T11" fmla="*/ 10 h 349"/>
                <a:gd name="T12" fmla="*/ 9 w 348"/>
                <a:gd name="T13" fmla="*/ 175 h 349"/>
                <a:gd name="T14" fmla="*/ 174 w 348"/>
                <a:gd name="T15" fmla="*/ 339 h 349"/>
                <a:gd name="T16" fmla="*/ 339 w 348"/>
                <a:gd name="T17" fmla="*/ 175 h 349"/>
                <a:gd name="T18" fmla="*/ 174 w 348"/>
                <a:gd name="T19" fmla="*/ 1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349">
                  <a:moveTo>
                    <a:pt x="174" y="349"/>
                  </a:moveTo>
                  <a:cubicBezTo>
                    <a:pt x="78" y="349"/>
                    <a:pt x="0" y="270"/>
                    <a:pt x="0" y="175"/>
                  </a:cubicBezTo>
                  <a:cubicBezTo>
                    <a:pt x="0" y="79"/>
                    <a:pt x="78" y="0"/>
                    <a:pt x="174" y="0"/>
                  </a:cubicBezTo>
                  <a:cubicBezTo>
                    <a:pt x="270" y="0"/>
                    <a:pt x="348" y="79"/>
                    <a:pt x="348" y="175"/>
                  </a:cubicBezTo>
                  <a:cubicBezTo>
                    <a:pt x="348" y="270"/>
                    <a:pt x="270" y="349"/>
                    <a:pt x="174" y="349"/>
                  </a:cubicBezTo>
                  <a:close/>
                  <a:moveTo>
                    <a:pt x="174" y="10"/>
                  </a:moveTo>
                  <a:cubicBezTo>
                    <a:pt x="83" y="10"/>
                    <a:pt x="9" y="84"/>
                    <a:pt x="9" y="175"/>
                  </a:cubicBezTo>
                  <a:cubicBezTo>
                    <a:pt x="9" y="265"/>
                    <a:pt x="83" y="339"/>
                    <a:pt x="174" y="339"/>
                  </a:cubicBezTo>
                  <a:cubicBezTo>
                    <a:pt x="265" y="339"/>
                    <a:pt x="339" y="265"/>
                    <a:pt x="339" y="175"/>
                  </a:cubicBezTo>
                  <a:cubicBezTo>
                    <a:pt x="339" y="84"/>
                    <a:pt x="265" y="10"/>
                    <a:pt x="174" y="1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 name="Rectangle 8"/>
            <p:cNvSpPr>
              <a:spLocks noChangeArrowheads="1"/>
            </p:cNvSpPr>
            <p:nvPr/>
          </p:nvSpPr>
          <p:spPr bwMode="auto">
            <a:xfrm>
              <a:off x="2322407" y="2816041"/>
              <a:ext cx="12292" cy="2335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7" name="Rectangle 9"/>
            <p:cNvSpPr>
              <a:spLocks noChangeArrowheads="1"/>
            </p:cNvSpPr>
            <p:nvPr/>
          </p:nvSpPr>
          <p:spPr bwMode="auto">
            <a:xfrm>
              <a:off x="2322407" y="4187699"/>
              <a:ext cx="12292" cy="2384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8" name="Rectangle 10"/>
            <p:cNvSpPr>
              <a:spLocks noChangeArrowheads="1"/>
            </p:cNvSpPr>
            <p:nvPr/>
          </p:nvSpPr>
          <p:spPr bwMode="auto">
            <a:xfrm>
              <a:off x="1525960" y="3612487"/>
              <a:ext cx="238443" cy="122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0" name="Freeform 12"/>
            <p:cNvSpPr/>
            <p:nvPr/>
          </p:nvSpPr>
          <p:spPr bwMode="auto">
            <a:xfrm>
              <a:off x="2637053" y="2914368"/>
              <a:ext cx="98327" cy="157323"/>
            </a:xfrm>
            <a:custGeom>
              <a:avLst/>
              <a:gdLst>
                <a:gd name="T0" fmla="*/ 4 w 40"/>
                <a:gd name="T1" fmla="*/ 64 h 64"/>
                <a:gd name="T2" fmla="*/ 0 w 40"/>
                <a:gd name="T3" fmla="*/ 60 h 64"/>
                <a:gd name="T4" fmla="*/ 35 w 40"/>
                <a:gd name="T5" fmla="*/ 0 h 64"/>
                <a:gd name="T6" fmla="*/ 40 w 40"/>
                <a:gd name="T7" fmla="*/ 3 h 64"/>
                <a:gd name="T8" fmla="*/ 4 w 40"/>
                <a:gd name="T9" fmla="*/ 64 h 64"/>
              </a:gdLst>
              <a:ahLst/>
              <a:cxnLst>
                <a:cxn ang="0">
                  <a:pos x="T0" y="T1"/>
                </a:cxn>
                <a:cxn ang="0">
                  <a:pos x="T2" y="T3"/>
                </a:cxn>
                <a:cxn ang="0">
                  <a:pos x="T4" y="T5"/>
                </a:cxn>
                <a:cxn ang="0">
                  <a:pos x="T6" y="T7"/>
                </a:cxn>
                <a:cxn ang="0">
                  <a:pos x="T8" y="T9"/>
                </a:cxn>
              </a:cxnLst>
              <a:rect l="0" t="0" r="r" b="b"/>
              <a:pathLst>
                <a:path w="40" h="64">
                  <a:moveTo>
                    <a:pt x="4" y="64"/>
                  </a:moveTo>
                  <a:lnTo>
                    <a:pt x="0" y="60"/>
                  </a:lnTo>
                  <a:lnTo>
                    <a:pt x="35" y="0"/>
                  </a:lnTo>
                  <a:lnTo>
                    <a:pt x="40" y="3"/>
                  </a:lnTo>
                  <a:lnTo>
                    <a:pt x="4" y="6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Freeform 13"/>
            <p:cNvSpPr/>
            <p:nvPr/>
          </p:nvSpPr>
          <p:spPr bwMode="auto">
            <a:xfrm>
              <a:off x="2880411" y="3211807"/>
              <a:ext cx="149949" cy="93410"/>
            </a:xfrm>
            <a:custGeom>
              <a:avLst/>
              <a:gdLst>
                <a:gd name="T0" fmla="*/ 2 w 61"/>
                <a:gd name="T1" fmla="*/ 38 h 38"/>
                <a:gd name="T2" fmla="*/ 0 w 61"/>
                <a:gd name="T3" fmla="*/ 33 h 38"/>
                <a:gd name="T4" fmla="*/ 56 w 61"/>
                <a:gd name="T5" fmla="*/ 0 h 38"/>
                <a:gd name="T6" fmla="*/ 61 w 61"/>
                <a:gd name="T7" fmla="*/ 5 h 38"/>
                <a:gd name="T8" fmla="*/ 2 w 61"/>
                <a:gd name="T9" fmla="*/ 38 h 38"/>
              </a:gdLst>
              <a:ahLst/>
              <a:cxnLst>
                <a:cxn ang="0">
                  <a:pos x="T0" y="T1"/>
                </a:cxn>
                <a:cxn ang="0">
                  <a:pos x="T2" y="T3"/>
                </a:cxn>
                <a:cxn ang="0">
                  <a:pos x="T4" y="T5"/>
                </a:cxn>
                <a:cxn ang="0">
                  <a:pos x="T6" y="T7"/>
                </a:cxn>
                <a:cxn ang="0">
                  <a:pos x="T8" y="T9"/>
                </a:cxn>
              </a:cxnLst>
              <a:rect l="0" t="0" r="r" b="b"/>
              <a:pathLst>
                <a:path w="61" h="38">
                  <a:moveTo>
                    <a:pt x="2" y="38"/>
                  </a:moveTo>
                  <a:lnTo>
                    <a:pt x="0" y="33"/>
                  </a:lnTo>
                  <a:lnTo>
                    <a:pt x="56" y="0"/>
                  </a:lnTo>
                  <a:lnTo>
                    <a:pt x="61" y="5"/>
                  </a:lnTo>
                  <a:lnTo>
                    <a:pt x="2"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 name="Freeform 14"/>
            <p:cNvSpPr/>
            <p:nvPr/>
          </p:nvSpPr>
          <p:spPr bwMode="auto">
            <a:xfrm>
              <a:off x="1916809" y="4170493"/>
              <a:ext cx="98327" cy="149949"/>
            </a:xfrm>
            <a:custGeom>
              <a:avLst/>
              <a:gdLst>
                <a:gd name="T0" fmla="*/ 4 w 40"/>
                <a:gd name="T1" fmla="*/ 61 h 61"/>
                <a:gd name="T2" fmla="*/ 0 w 40"/>
                <a:gd name="T3" fmla="*/ 56 h 61"/>
                <a:gd name="T4" fmla="*/ 35 w 40"/>
                <a:gd name="T5" fmla="*/ 0 h 61"/>
                <a:gd name="T6" fmla="*/ 40 w 40"/>
                <a:gd name="T7" fmla="*/ 2 h 61"/>
                <a:gd name="T8" fmla="*/ 4 w 40"/>
                <a:gd name="T9" fmla="*/ 61 h 61"/>
              </a:gdLst>
              <a:ahLst/>
              <a:cxnLst>
                <a:cxn ang="0">
                  <a:pos x="T0" y="T1"/>
                </a:cxn>
                <a:cxn ang="0">
                  <a:pos x="T2" y="T3"/>
                </a:cxn>
                <a:cxn ang="0">
                  <a:pos x="T4" y="T5"/>
                </a:cxn>
                <a:cxn ang="0">
                  <a:pos x="T6" y="T7"/>
                </a:cxn>
                <a:cxn ang="0">
                  <a:pos x="T8" y="T9"/>
                </a:cxn>
              </a:cxnLst>
              <a:rect l="0" t="0" r="r" b="b"/>
              <a:pathLst>
                <a:path w="40" h="61">
                  <a:moveTo>
                    <a:pt x="4" y="61"/>
                  </a:moveTo>
                  <a:lnTo>
                    <a:pt x="0" y="56"/>
                  </a:lnTo>
                  <a:lnTo>
                    <a:pt x="35" y="0"/>
                  </a:lnTo>
                  <a:lnTo>
                    <a:pt x="40" y="2"/>
                  </a:lnTo>
                  <a:lnTo>
                    <a:pt x="4"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 name="Freeform 15"/>
            <p:cNvSpPr/>
            <p:nvPr/>
          </p:nvSpPr>
          <p:spPr bwMode="auto">
            <a:xfrm>
              <a:off x="1631661" y="3932049"/>
              <a:ext cx="149949" cy="93410"/>
            </a:xfrm>
            <a:custGeom>
              <a:avLst/>
              <a:gdLst>
                <a:gd name="T0" fmla="*/ 2 w 61"/>
                <a:gd name="T1" fmla="*/ 38 h 38"/>
                <a:gd name="T2" fmla="*/ 0 w 61"/>
                <a:gd name="T3" fmla="*/ 35 h 38"/>
                <a:gd name="T4" fmla="*/ 59 w 61"/>
                <a:gd name="T5" fmla="*/ 0 h 38"/>
                <a:gd name="T6" fmla="*/ 61 w 61"/>
                <a:gd name="T7" fmla="*/ 5 h 38"/>
                <a:gd name="T8" fmla="*/ 2 w 61"/>
                <a:gd name="T9" fmla="*/ 38 h 38"/>
              </a:gdLst>
              <a:ahLst/>
              <a:cxnLst>
                <a:cxn ang="0">
                  <a:pos x="T0" y="T1"/>
                </a:cxn>
                <a:cxn ang="0">
                  <a:pos x="T2" y="T3"/>
                </a:cxn>
                <a:cxn ang="0">
                  <a:pos x="T4" y="T5"/>
                </a:cxn>
                <a:cxn ang="0">
                  <a:pos x="T6" y="T7"/>
                </a:cxn>
                <a:cxn ang="0">
                  <a:pos x="T8" y="T9"/>
                </a:cxn>
              </a:cxnLst>
              <a:rect l="0" t="0" r="r" b="b"/>
              <a:pathLst>
                <a:path w="61" h="38">
                  <a:moveTo>
                    <a:pt x="2" y="38"/>
                  </a:moveTo>
                  <a:lnTo>
                    <a:pt x="0" y="35"/>
                  </a:lnTo>
                  <a:lnTo>
                    <a:pt x="59" y="0"/>
                  </a:lnTo>
                  <a:lnTo>
                    <a:pt x="61" y="5"/>
                  </a:lnTo>
                  <a:lnTo>
                    <a:pt x="2"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Freeform 16"/>
            <p:cNvSpPr/>
            <p:nvPr/>
          </p:nvSpPr>
          <p:spPr bwMode="auto">
            <a:xfrm>
              <a:off x="1631661" y="3211807"/>
              <a:ext cx="149949" cy="98327"/>
            </a:xfrm>
            <a:custGeom>
              <a:avLst/>
              <a:gdLst>
                <a:gd name="T0" fmla="*/ 59 w 61"/>
                <a:gd name="T1" fmla="*/ 40 h 40"/>
                <a:gd name="T2" fmla="*/ 0 w 61"/>
                <a:gd name="T3" fmla="*/ 5 h 40"/>
                <a:gd name="T4" fmla="*/ 2 w 61"/>
                <a:gd name="T5" fmla="*/ 0 h 40"/>
                <a:gd name="T6" fmla="*/ 61 w 61"/>
                <a:gd name="T7" fmla="*/ 35 h 40"/>
                <a:gd name="T8" fmla="*/ 59 w 61"/>
                <a:gd name="T9" fmla="*/ 40 h 40"/>
              </a:gdLst>
              <a:ahLst/>
              <a:cxnLst>
                <a:cxn ang="0">
                  <a:pos x="T0" y="T1"/>
                </a:cxn>
                <a:cxn ang="0">
                  <a:pos x="T2" y="T3"/>
                </a:cxn>
                <a:cxn ang="0">
                  <a:pos x="T4" y="T5"/>
                </a:cxn>
                <a:cxn ang="0">
                  <a:pos x="T6" y="T7"/>
                </a:cxn>
                <a:cxn ang="0">
                  <a:pos x="T8" y="T9"/>
                </a:cxn>
              </a:cxnLst>
              <a:rect l="0" t="0" r="r" b="b"/>
              <a:pathLst>
                <a:path w="61" h="40">
                  <a:moveTo>
                    <a:pt x="59" y="40"/>
                  </a:moveTo>
                  <a:lnTo>
                    <a:pt x="0" y="5"/>
                  </a:lnTo>
                  <a:lnTo>
                    <a:pt x="2" y="0"/>
                  </a:lnTo>
                  <a:lnTo>
                    <a:pt x="61" y="35"/>
                  </a:lnTo>
                  <a:lnTo>
                    <a:pt x="59" y="4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 name="Freeform 17"/>
            <p:cNvSpPr/>
            <p:nvPr/>
          </p:nvSpPr>
          <p:spPr bwMode="auto">
            <a:xfrm>
              <a:off x="2880411" y="3932049"/>
              <a:ext cx="145033" cy="93410"/>
            </a:xfrm>
            <a:custGeom>
              <a:avLst/>
              <a:gdLst>
                <a:gd name="T0" fmla="*/ 56 w 59"/>
                <a:gd name="T1" fmla="*/ 38 h 38"/>
                <a:gd name="T2" fmla="*/ 0 w 59"/>
                <a:gd name="T3" fmla="*/ 5 h 38"/>
                <a:gd name="T4" fmla="*/ 2 w 59"/>
                <a:gd name="T5" fmla="*/ 0 h 38"/>
                <a:gd name="T6" fmla="*/ 59 w 59"/>
                <a:gd name="T7" fmla="*/ 35 h 38"/>
                <a:gd name="T8" fmla="*/ 56 w 59"/>
                <a:gd name="T9" fmla="*/ 38 h 38"/>
              </a:gdLst>
              <a:ahLst/>
              <a:cxnLst>
                <a:cxn ang="0">
                  <a:pos x="T0" y="T1"/>
                </a:cxn>
                <a:cxn ang="0">
                  <a:pos x="T2" y="T3"/>
                </a:cxn>
                <a:cxn ang="0">
                  <a:pos x="T4" y="T5"/>
                </a:cxn>
                <a:cxn ang="0">
                  <a:pos x="T6" y="T7"/>
                </a:cxn>
                <a:cxn ang="0">
                  <a:pos x="T8" y="T9"/>
                </a:cxn>
              </a:cxnLst>
              <a:rect l="0" t="0" r="r" b="b"/>
              <a:pathLst>
                <a:path w="59" h="38">
                  <a:moveTo>
                    <a:pt x="56" y="38"/>
                  </a:moveTo>
                  <a:lnTo>
                    <a:pt x="0" y="5"/>
                  </a:lnTo>
                  <a:lnTo>
                    <a:pt x="2" y="0"/>
                  </a:lnTo>
                  <a:lnTo>
                    <a:pt x="59" y="35"/>
                  </a:lnTo>
                  <a:lnTo>
                    <a:pt x="56"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18"/>
            <p:cNvSpPr/>
            <p:nvPr/>
          </p:nvSpPr>
          <p:spPr bwMode="auto">
            <a:xfrm>
              <a:off x="2624761" y="4180325"/>
              <a:ext cx="93410" cy="152406"/>
            </a:xfrm>
            <a:custGeom>
              <a:avLst/>
              <a:gdLst>
                <a:gd name="T0" fmla="*/ 33 w 38"/>
                <a:gd name="T1" fmla="*/ 62 h 62"/>
                <a:gd name="T2" fmla="*/ 0 w 38"/>
                <a:gd name="T3" fmla="*/ 3 h 62"/>
                <a:gd name="T4" fmla="*/ 5 w 38"/>
                <a:gd name="T5" fmla="*/ 0 h 62"/>
                <a:gd name="T6" fmla="*/ 38 w 38"/>
                <a:gd name="T7" fmla="*/ 59 h 62"/>
                <a:gd name="T8" fmla="*/ 33 w 38"/>
                <a:gd name="T9" fmla="*/ 62 h 62"/>
              </a:gdLst>
              <a:ahLst/>
              <a:cxnLst>
                <a:cxn ang="0">
                  <a:pos x="T0" y="T1"/>
                </a:cxn>
                <a:cxn ang="0">
                  <a:pos x="T2" y="T3"/>
                </a:cxn>
                <a:cxn ang="0">
                  <a:pos x="T4" y="T5"/>
                </a:cxn>
                <a:cxn ang="0">
                  <a:pos x="T6" y="T7"/>
                </a:cxn>
                <a:cxn ang="0">
                  <a:pos x="T8" y="T9"/>
                </a:cxn>
              </a:cxnLst>
              <a:rect l="0" t="0" r="r" b="b"/>
              <a:pathLst>
                <a:path w="38" h="62">
                  <a:moveTo>
                    <a:pt x="33" y="62"/>
                  </a:moveTo>
                  <a:lnTo>
                    <a:pt x="0" y="3"/>
                  </a:lnTo>
                  <a:lnTo>
                    <a:pt x="5" y="0"/>
                  </a:lnTo>
                  <a:lnTo>
                    <a:pt x="38" y="59"/>
                  </a:lnTo>
                  <a:lnTo>
                    <a:pt x="33" y="6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 name="Freeform 19"/>
            <p:cNvSpPr/>
            <p:nvPr/>
          </p:nvSpPr>
          <p:spPr bwMode="auto">
            <a:xfrm>
              <a:off x="1899602" y="2934033"/>
              <a:ext cx="98327" cy="149949"/>
            </a:xfrm>
            <a:custGeom>
              <a:avLst/>
              <a:gdLst>
                <a:gd name="T0" fmla="*/ 35 w 40"/>
                <a:gd name="T1" fmla="*/ 61 h 61"/>
                <a:gd name="T2" fmla="*/ 0 w 40"/>
                <a:gd name="T3" fmla="*/ 2 h 61"/>
                <a:gd name="T4" fmla="*/ 4 w 40"/>
                <a:gd name="T5" fmla="*/ 0 h 61"/>
                <a:gd name="T6" fmla="*/ 40 w 40"/>
                <a:gd name="T7" fmla="*/ 59 h 61"/>
                <a:gd name="T8" fmla="*/ 35 w 40"/>
                <a:gd name="T9" fmla="*/ 61 h 61"/>
              </a:gdLst>
              <a:ahLst/>
              <a:cxnLst>
                <a:cxn ang="0">
                  <a:pos x="T0" y="T1"/>
                </a:cxn>
                <a:cxn ang="0">
                  <a:pos x="T2" y="T3"/>
                </a:cxn>
                <a:cxn ang="0">
                  <a:pos x="T4" y="T5"/>
                </a:cxn>
                <a:cxn ang="0">
                  <a:pos x="T6" y="T7"/>
                </a:cxn>
                <a:cxn ang="0">
                  <a:pos x="T8" y="T9"/>
                </a:cxn>
              </a:cxnLst>
              <a:rect l="0" t="0" r="r" b="b"/>
              <a:pathLst>
                <a:path w="40" h="61">
                  <a:moveTo>
                    <a:pt x="35" y="61"/>
                  </a:moveTo>
                  <a:lnTo>
                    <a:pt x="0" y="2"/>
                  </a:lnTo>
                  <a:lnTo>
                    <a:pt x="4" y="0"/>
                  </a:lnTo>
                  <a:lnTo>
                    <a:pt x="40" y="59"/>
                  </a:lnTo>
                  <a:lnTo>
                    <a:pt x="35" y="6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Rectangle 10"/>
            <p:cNvSpPr>
              <a:spLocks noChangeArrowheads="1"/>
            </p:cNvSpPr>
            <p:nvPr/>
          </p:nvSpPr>
          <p:spPr bwMode="auto">
            <a:xfrm>
              <a:off x="2935710" y="3612487"/>
              <a:ext cx="238443" cy="122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grpSp>
      <p:grpSp>
        <p:nvGrpSpPr>
          <p:cNvPr id="3" name="组合 22"/>
          <p:cNvGrpSpPr/>
          <p:nvPr/>
        </p:nvGrpSpPr>
        <p:grpSpPr>
          <a:xfrm rot="16200000">
            <a:off x="1855308" y="3239742"/>
            <a:ext cx="870194" cy="105702"/>
            <a:chOff x="2275701" y="3565783"/>
            <a:chExt cx="870194" cy="105702"/>
          </a:xfrm>
          <a:solidFill>
            <a:schemeClr val="tx2">
              <a:lumMod val="60000"/>
              <a:lumOff val="40000"/>
            </a:schemeClr>
          </a:solidFill>
        </p:grpSpPr>
        <p:sp>
          <p:nvSpPr>
            <p:cNvPr id="9" name="Rectangle 11"/>
            <p:cNvSpPr>
              <a:spLocks noChangeArrowheads="1"/>
            </p:cNvSpPr>
            <p:nvPr/>
          </p:nvSpPr>
          <p:spPr bwMode="auto">
            <a:xfrm>
              <a:off x="2897619" y="3612487"/>
              <a:ext cx="238443" cy="122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8" name="Rectangle 20"/>
            <p:cNvSpPr>
              <a:spLocks noChangeArrowheads="1"/>
            </p:cNvSpPr>
            <p:nvPr/>
          </p:nvSpPr>
          <p:spPr bwMode="auto">
            <a:xfrm>
              <a:off x="2327324" y="3612487"/>
              <a:ext cx="818571" cy="221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19" name="Oval 21"/>
            <p:cNvSpPr>
              <a:spLocks noChangeArrowheads="1"/>
            </p:cNvSpPr>
            <p:nvPr/>
          </p:nvSpPr>
          <p:spPr bwMode="auto">
            <a:xfrm>
              <a:off x="2275701" y="3565783"/>
              <a:ext cx="105702" cy="10570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0" name="组合 26"/>
          <p:cNvGrpSpPr/>
          <p:nvPr/>
        </p:nvGrpSpPr>
        <p:grpSpPr>
          <a:xfrm rot="3124174">
            <a:off x="2111600" y="3894698"/>
            <a:ext cx="870194" cy="105702"/>
            <a:chOff x="2275701" y="3565783"/>
            <a:chExt cx="870194" cy="105702"/>
          </a:xfrm>
          <a:solidFill>
            <a:schemeClr val="tx2">
              <a:lumMod val="60000"/>
              <a:lumOff val="40000"/>
            </a:schemeClr>
          </a:solidFill>
        </p:grpSpPr>
        <p:sp>
          <p:nvSpPr>
            <p:cNvPr id="28" name="Rectangle 11"/>
            <p:cNvSpPr>
              <a:spLocks noChangeArrowheads="1"/>
            </p:cNvSpPr>
            <p:nvPr/>
          </p:nvSpPr>
          <p:spPr bwMode="auto">
            <a:xfrm>
              <a:off x="2897619" y="3612487"/>
              <a:ext cx="238443" cy="122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29" name="Rectangle 20"/>
            <p:cNvSpPr>
              <a:spLocks noChangeArrowheads="1"/>
            </p:cNvSpPr>
            <p:nvPr/>
          </p:nvSpPr>
          <p:spPr bwMode="auto">
            <a:xfrm>
              <a:off x="2327324" y="3612487"/>
              <a:ext cx="818571" cy="221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0" name="Oval 21"/>
            <p:cNvSpPr>
              <a:spLocks noChangeArrowheads="1"/>
            </p:cNvSpPr>
            <p:nvPr/>
          </p:nvSpPr>
          <p:spPr bwMode="auto">
            <a:xfrm>
              <a:off x="2275701" y="3565783"/>
              <a:ext cx="105702" cy="10570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1" name="组合 31"/>
          <p:cNvGrpSpPr/>
          <p:nvPr/>
        </p:nvGrpSpPr>
        <p:grpSpPr>
          <a:xfrm rot="19435266">
            <a:off x="2185230" y="3389340"/>
            <a:ext cx="870194" cy="105702"/>
            <a:chOff x="2275701" y="3565783"/>
            <a:chExt cx="870194" cy="105702"/>
          </a:xfrm>
          <a:solidFill>
            <a:schemeClr val="tx2">
              <a:lumMod val="60000"/>
              <a:lumOff val="40000"/>
            </a:schemeClr>
          </a:solidFill>
        </p:grpSpPr>
        <p:sp>
          <p:nvSpPr>
            <p:cNvPr id="33" name="Rectangle 11"/>
            <p:cNvSpPr>
              <a:spLocks noChangeArrowheads="1"/>
            </p:cNvSpPr>
            <p:nvPr/>
          </p:nvSpPr>
          <p:spPr bwMode="auto">
            <a:xfrm>
              <a:off x="2897619" y="3612487"/>
              <a:ext cx="238443" cy="122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4" name="Rectangle 20"/>
            <p:cNvSpPr>
              <a:spLocks noChangeArrowheads="1"/>
            </p:cNvSpPr>
            <p:nvPr/>
          </p:nvSpPr>
          <p:spPr bwMode="auto">
            <a:xfrm>
              <a:off x="2327324" y="3612487"/>
              <a:ext cx="818571" cy="221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5" name="Oval 21"/>
            <p:cNvSpPr>
              <a:spLocks noChangeArrowheads="1"/>
            </p:cNvSpPr>
            <p:nvPr/>
          </p:nvSpPr>
          <p:spPr bwMode="auto">
            <a:xfrm>
              <a:off x="2275701" y="3565783"/>
              <a:ext cx="105702" cy="10570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22" name="组合 35"/>
          <p:cNvGrpSpPr/>
          <p:nvPr/>
        </p:nvGrpSpPr>
        <p:grpSpPr>
          <a:xfrm rot="955622">
            <a:off x="2240618" y="3705850"/>
            <a:ext cx="870194" cy="105702"/>
            <a:chOff x="2275701" y="3565783"/>
            <a:chExt cx="870194" cy="105702"/>
          </a:xfrm>
          <a:solidFill>
            <a:schemeClr val="tx2">
              <a:lumMod val="60000"/>
              <a:lumOff val="40000"/>
            </a:schemeClr>
          </a:solidFill>
        </p:grpSpPr>
        <p:sp>
          <p:nvSpPr>
            <p:cNvPr id="37" name="Rectangle 11"/>
            <p:cNvSpPr>
              <a:spLocks noChangeArrowheads="1"/>
            </p:cNvSpPr>
            <p:nvPr/>
          </p:nvSpPr>
          <p:spPr bwMode="auto">
            <a:xfrm>
              <a:off x="2897619" y="3612487"/>
              <a:ext cx="238443" cy="122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8" name="Rectangle 20"/>
            <p:cNvSpPr>
              <a:spLocks noChangeArrowheads="1"/>
            </p:cNvSpPr>
            <p:nvPr/>
          </p:nvSpPr>
          <p:spPr bwMode="auto">
            <a:xfrm>
              <a:off x="2327324" y="3612487"/>
              <a:ext cx="818571" cy="221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zh-CN" altLang="en-US"/>
            </a:p>
          </p:txBody>
        </p:sp>
        <p:sp>
          <p:nvSpPr>
            <p:cNvPr id="39" name="Oval 21"/>
            <p:cNvSpPr>
              <a:spLocks noChangeArrowheads="1"/>
            </p:cNvSpPr>
            <p:nvPr/>
          </p:nvSpPr>
          <p:spPr bwMode="auto">
            <a:xfrm>
              <a:off x="2275701" y="3565783"/>
              <a:ext cx="105702" cy="105702"/>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cxnSp>
        <p:nvCxnSpPr>
          <p:cNvPr id="41" name="直接连接符 40"/>
          <p:cNvCxnSpPr/>
          <p:nvPr/>
        </p:nvCxnSpPr>
        <p:spPr>
          <a:xfrm flipV="1">
            <a:off x="2523306" y="1928802"/>
            <a:ext cx="851746" cy="791694"/>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3380562" y="1928802"/>
            <a:ext cx="1336877"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4666446" y="1785926"/>
            <a:ext cx="1107996" cy="369332"/>
          </a:xfrm>
          <a:prstGeom prst="rect">
            <a:avLst/>
          </a:prstGeom>
          <a:noFill/>
        </p:spPr>
        <p:txBody>
          <a:bodyPr wrap="none" rtlCol="0">
            <a:spAutoFit/>
          </a:bodyPr>
          <a:lstStyle/>
          <a:p>
            <a:pPr algn="ctr"/>
            <a:r>
              <a:rPr lang="zh-CN" altLang="en-US" b="1" dirty="0" smtClean="0">
                <a:latin typeface="微软雅黑" panose="020B0503020204020204" pitchFamily="34" charset="-122"/>
                <a:ea typeface="微软雅黑" panose="020B0503020204020204" pitchFamily="34" charset="-122"/>
              </a:rPr>
              <a:t>行业优势</a:t>
            </a:r>
            <a:endParaRPr lang="zh-CN" altLang="en-US" b="1" dirty="0">
              <a:latin typeface="微软雅黑" panose="020B0503020204020204" pitchFamily="34" charset="-122"/>
              <a:ea typeface="微软雅黑" panose="020B0503020204020204" pitchFamily="34" charset="-122"/>
            </a:endParaRPr>
          </a:p>
        </p:txBody>
      </p:sp>
      <p:cxnSp>
        <p:nvCxnSpPr>
          <p:cNvPr id="47" name="直接连接符 46"/>
          <p:cNvCxnSpPr/>
          <p:nvPr/>
        </p:nvCxnSpPr>
        <p:spPr>
          <a:xfrm flipV="1">
            <a:off x="3023372" y="3000372"/>
            <a:ext cx="214314" cy="132188"/>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3237686" y="3000372"/>
            <a:ext cx="1428760" cy="1868"/>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6238082" y="1571612"/>
            <a:ext cx="5072098" cy="1023742"/>
          </a:xfrm>
          <a:prstGeom prst="rect">
            <a:avLst/>
          </a:prstGeom>
          <a:noFill/>
        </p:spPr>
        <p:txBody>
          <a:bodyPr wrap="square" rtlCol="0">
            <a:spAutoFit/>
          </a:bodyPr>
          <a:lstStyle/>
          <a:p>
            <a:pPr>
              <a:lnSpc>
                <a:spcPct val="150000"/>
              </a:lnSpc>
            </a:pPr>
            <a:r>
              <a:rPr lang="zh-CN" altLang="en-US" sz="1400" dirty="0" smtClean="0">
                <a:latin typeface="微软雅黑" panose="020B0503020204020204" pitchFamily="34" charset="-122"/>
                <a:ea typeface="微软雅黑" panose="020B0503020204020204" pitchFamily="34" charset="-122"/>
              </a:rPr>
              <a:t>中国目前是全球最大的电梯生产国和消费国，已形成一个千亿市场。随着房地产市场逐渐回暖，作为配套产业的电梯行业，未来仍有望保持正增长态势。</a:t>
            </a:r>
            <a:endParaRPr lang="zh-CN" altLang="en-US" sz="1400" dirty="0">
              <a:latin typeface="微软雅黑" panose="020B0503020204020204" pitchFamily="34" charset="-122"/>
              <a:ea typeface="微软雅黑" panose="020B0503020204020204" pitchFamily="34" charset="-122"/>
            </a:endParaRPr>
          </a:p>
        </p:txBody>
      </p:sp>
      <p:sp>
        <p:nvSpPr>
          <p:cNvPr id="53" name="TextBox 52"/>
          <p:cNvSpPr txBox="1"/>
          <p:nvPr/>
        </p:nvSpPr>
        <p:spPr>
          <a:xfrm>
            <a:off x="4595008" y="2857496"/>
            <a:ext cx="1467068" cy="400110"/>
          </a:xfrm>
          <a:prstGeom prst="rect">
            <a:avLst/>
          </a:prstGeom>
          <a:noFill/>
        </p:spPr>
        <p:txBody>
          <a:bodyPr wrap="none" rtlCol="0">
            <a:spAutoFit/>
          </a:bodyPr>
          <a:lstStyle/>
          <a:p>
            <a:pPr algn="ctr"/>
            <a:r>
              <a:rPr lang="zh-CN" altLang="en-US" sz="2000" b="1" dirty="0" smtClean="0">
                <a:latin typeface="微软雅黑" panose="020B0503020204020204" pitchFamily="34" charset="-122"/>
                <a:ea typeface="微软雅黑" panose="020B0503020204020204" pitchFamily="34" charset="-122"/>
              </a:rPr>
              <a:t>市场新需求</a:t>
            </a:r>
            <a:endParaRPr lang="zh-CN" altLang="en-US" sz="2000" b="1" dirty="0">
              <a:latin typeface="微软雅黑" panose="020B0503020204020204" pitchFamily="34" charset="-122"/>
              <a:ea typeface="微软雅黑" panose="020B0503020204020204" pitchFamily="34" charset="-122"/>
            </a:endParaRPr>
          </a:p>
        </p:txBody>
      </p:sp>
      <p:cxnSp>
        <p:nvCxnSpPr>
          <p:cNvPr id="57" name="直接连接符 56"/>
          <p:cNvCxnSpPr/>
          <p:nvPr/>
        </p:nvCxnSpPr>
        <p:spPr>
          <a:xfrm>
            <a:off x="3237686" y="3857628"/>
            <a:ext cx="1360648"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6238082" y="2786058"/>
            <a:ext cx="5000660" cy="700576"/>
          </a:xfrm>
          <a:prstGeom prst="rect">
            <a:avLst/>
          </a:prstGeom>
          <a:noFill/>
        </p:spPr>
        <p:txBody>
          <a:bodyPr wrap="square" rtlCol="0">
            <a:spAutoFit/>
          </a:bodyPr>
          <a:lstStyle/>
          <a:p>
            <a:pPr>
              <a:lnSpc>
                <a:spcPct val="150000"/>
              </a:lnSpc>
            </a:pPr>
            <a:r>
              <a:rPr lang="zh-CN" altLang="en-US" sz="1400" dirty="0" smtClean="0">
                <a:latin typeface="微软雅黑" panose="020B0503020204020204" pitchFamily="34" charset="-122"/>
                <a:ea typeface="微软雅黑" panose="020B0503020204020204" pitchFamily="34" charset="-122"/>
              </a:rPr>
              <a:t>电梯销售在轨道交通、保障房和旧梯改造更新几个应用领域呈现需求向好的态势。</a:t>
            </a:r>
            <a:endParaRPr lang="zh-CN" altLang="en-US" sz="1400" dirty="0">
              <a:latin typeface="微软雅黑" panose="020B0503020204020204" pitchFamily="34" charset="-122"/>
              <a:ea typeface="微软雅黑" panose="020B0503020204020204" pitchFamily="34" charset="-122"/>
            </a:endParaRPr>
          </a:p>
        </p:txBody>
      </p:sp>
      <p:sp>
        <p:nvSpPr>
          <p:cNvPr id="59" name="TextBox 58"/>
          <p:cNvSpPr txBox="1"/>
          <p:nvPr/>
        </p:nvSpPr>
        <p:spPr>
          <a:xfrm>
            <a:off x="4595008" y="3643314"/>
            <a:ext cx="1723549" cy="400110"/>
          </a:xfrm>
          <a:prstGeom prst="rect">
            <a:avLst/>
          </a:prstGeom>
          <a:noFill/>
        </p:spPr>
        <p:txBody>
          <a:bodyPr wrap="square" rtlCol="0">
            <a:spAutoFit/>
          </a:bodyPr>
          <a:lstStyle/>
          <a:p>
            <a:pPr algn="ctr"/>
            <a:r>
              <a:rPr lang="zh-CN" altLang="en-US" sz="2000" b="1" dirty="0" smtClean="0">
                <a:latin typeface="微软雅黑" panose="020B0503020204020204" pitchFamily="34" charset="-122"/>
                <a:ea typeface="微软雅黑" panose="020B0503020204020204" pitchFamily="34" charset="-122"/>
              </a:rPr>
              <a:t>售后市场崛起</a:t>
            </a:r>
            <a:endParaRPr lang="zh-CN" altLang="en-US" sz="2000" b="1" dirty="0">
              <a:latin typeface="微软雅黑" panose="020B0503020204020204" pitchFamily="34" charset="-122"/>
              <a:ea typeface="微软雅黑" panose="020B0503020204020204" pitchFamily="34" charset="-122"/>
            </a:endParaRPr>
          </a:p>
        </p:txBody>
      </p:sp>
      <p:cxnSp>
        <p:nvCxnSpPr>
          <p:cNvPr id="66" name="直接连接符 65"/>
          <p:cNvCxnSpPr/>
          <p:nvPr/>
        </p:nvCxnSpPr>
        <p:spPr>
          <a:xfrm>
            <a:off x="2951934" y="4429132"/>
            <a:ext cx="631638" cy="428628"/>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a:off x="3594876" y="4857760"/>
            <a:ext cx="1071570" cy="1985"/>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6238082" y="3643314"/>
            <a:ext cx="4929222" cy="1023742"/>
          </a:xfrm>
          <a:prstGeom prst="rect">
            <a:avLst/>
          </a:prstGeom>
          <a:noFill/>
        </p:spPr>
        <p:txBody>
          <a:bodyPr wrap="square" rtlCol="0">
            <a:spAutoFit/>
          </a:bodyPr>
          <a:lstStyle/>
          <a:p>
            <a:pPr>
              <a:lnSpc>
                <a:spcPct val="150000"/>
              </a:lnSpc>
            </a:pPr>
            <a:r>
              <a:rPr lang="zh-CN" altLang="en-US" sz="1400" dirty="0" smtClean="0">
                <a:latin typeface="微软雅黑" panose="020B0503020204020204" pitchFamily="34" charset="-122"/>
                <a:ea typeface="微软雅黑" panose="020B0503020204020204" pitchFamily="34" charset="-122"/>
              </a:rPr>
              <a:t>目前国内电梯保有量超过</a:t>
            </a:r>
            <a:r>
              <a:rPr lang="en-US" altLang="zh-CN" sz="1400" dirty="0" smtClean="0">
                <a:latin typeface="微软雅黑" panose="020B0503020204020204" pitchFamily="34" charset="-122"/>
                <a:ea typeface="微软雅黑" panose="020B0503020204020204" pitchFamily="34" charset="-122"/>
              </a:rPr>
              <a:t>450</a:t>
            </a:r>
            <a:r>
              <a:rPr lang="zh-CN" altLang="en-US" sz="1400" dirty="0" smtClean="0">
                <a:latin typeface="微软雅黑" panose="020B0503020204020204" pitchFamily="34" charset="-122"/>
                <a:ea typeface="微软雅黑" panose="020B0503020204020204" pitchFamily="34" charset="-122"/>
              </a:rPr>
              <a:t>万台</a:t>
            </a:r>
            <a:r>
              <a:rPr lang="en-US" altLang="zh-CN" sz="1400"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按每台</a:t>
            </a:r>
            <a:r>
              <a:rPr lang="en-US" altLang="zh-CN" sz="1400" dirty="0" smtClean="0">
                <a:latin typeface="微软雅黑" panose="020B0503020204020204" pitchFamily="34" charset="-122"/>
                <a:ea typeface="微软雅黑" panose="020B0503020204020204" pitchFamily="34" charset="-122"/>
              </a:rPr>
              <a:t>5000</a:t>
            </a:r>
            <a:r>
              <a:rPr lang="zh-CN" altLang="en-US" sz="1400" dirty="0" smtClean="0">
                <a:latin typeface="微软雅黑" panose="020B0503020204020204" pitchFamily="34" charset="-122"/>
                <a:ea typeface="微软雅黑" panose="020B0503020204020204" pitchFamily="34" charset="-122"/>
              </a:rPr>
              <a:t>元</a:t>
            </a:r>
            <a:r>
              <a:rPr lang="en-US" altLang="zh-CN" sz="1400" dirty="0" smtClean="0">
                <a:latin typeface="微软雅黑" panose="020B0503020204020204" pitchFamily="34" charset="-122"/>
                <a:ea typeface="微软雅黑" panose="020B0503020204020204" pitchFamily="34" charset="-122"/>
              </a:rPr>
              <a:t>/</a:t>
            </a:r>
            <a:r>
              <a:rPr lang="zh-CN" altLang="en-US" sz="1400" dirty="0" smtClean="0">
                <a:latin typeface="微软雅黑" panose="020B0503020204020204" pitchFamily="34" charset="-122"/>
                <a:ea typeface="微软雅黑" panose="020B0503020204020204" pitchFamily="34" charset="-122"/>
              </a:rPr>
              <a:t>年计算维保市场也有近</a:t>
            </a:r>
            <a:r>
              <a:rPr lang="en-US" altLang="zh-CN" sz="1400" dirty="0" smtClean="0">
                <a:latin typeface="微软雅黑" panose="020B0503020204020204" pitchFamily="34" charset="-122"/>
                <a:ea typeface="微软雅黑" panose="020B0503020204020204" pitchFamily="34" charset="-122"/>
              </a:rPr>
              <a:t>200</a:t>
            </a:r>
            <a:r>
              <a:rPr lang="zh-CN" altLang="en-US" sz="1400" dirty="0" smtClean="0">
                <a:latin typeface="微软雅黑" panose="020B0503020204020204" pitchFamily="34" charset="-122"/>
                <a:ea typeface="微软雅黑" panose="020B0503020204020204" pitchFamily="34" charset="-122"/>
              </a:rPr>
              <a:t>亿空间，维保市场正在成为电梯企业的第二增长点。</a:t>
            </a:r>
            <a:endParaRPr lang="zh-CN" altLang="en-US" sz="1400" dirty="0">
              <a:latin typeface="微软雅黑" panose="020B0503020204020204" pitchFamily="34" charset="-122"/>
              <a:ea typeface="微软雅黑" panose="020B0503020204020204" pitchFamily="34" charset="-122"/>
            </a:endParaRPr>
          </a:p>
        </p:txBody>
      </p:sp>
      <p:sp>
        <p:nvSpPr>
          <p:cNvPr id="69" name="TextBox 68"/>
          <p:cNvSpPr txBox="1"/>
          <p:nvPr/>
        </p:nvSpPr>
        <p:spPr>
          <a:xfrm>
            <a:off x="4595008" y="4714884"/>
            <a:ext cx="1467068" cy="400110"/>
          </a:xfrm>
          <a:prstGeom prst="rect">
            <a:avLst/>
          </a:prstGeom>
          <a:noFill/>
        </p:spPr>
        <p:txBody>
          <a:bodyPr wrap="none" rtlCol="0">
            <a:spAutoFit/>
          </a:bodyPr>
          <a:lstStyle/>
          <a:p>
            <a:pPr algn="ctr"/>
            <a:r>
              <a:rPr lang="zh-CN" altLang="en-US" sz="2000" b="1" dirty="0" smtClean="0">
                <a:latin typeface="微软雅黑" panose="020B0503020204020204" pitchFamily="34" charset="-122"/>
                <a:ea typeface="微软雅黑" panose="020B0503020204020204" pitchFamily="34" charset="-122"/>
              </a:rPr>
              <a:t>创新赢未来</a:t>
            </a:r>
            <a:endParaRPr lang="zh-CN" altLang="en-US" sz="2000" b="1" dirty="0">
              <a:latin typeface="微软雅黑" panose="020B0503020204020204" pitchFamily="34" charset="-122"/>
              <a:ea typeface="微软雅黑" panose="020B0503020204020204" pitchFamily="34" charset="-122"/>
            </a:endParaRPr>
          </a:p>
        </p:txBody>
      </p:sp>
      <p:sp>
        <p:nvSpPr>
          <p:cNvPr id="51" name="TextBox 50"/>
          <p:cNvSpPr txBox="1"/>
          <p:nvPr/>
        </p:nvSpPr>
        <p:spPr>
          <a:xfrm>
            <a:off x="1380298" y="142852"/>
            <a:ext cx="507209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dirty="0" smtClean="0">
              <a:latin typeface="微软雅黑" panose="020B0503020204020204" pitchFamily="34" charset="-122"/>
              <a:ea typeface="微软雅黑" panose="020B0503020204020204" pitchFamily="34" charset="-122"/>
            </a:endParaRPr>
          </a:p>
        </p:txBody>
      </p:sp>
      <p:sp>
        <p:nvSpPr>
          <p:cNvPr id="54" name="TextBox 53"/>
          <p:cNvSpPr txBox="1"/>
          <p:nvPr/>
        </p:nvSpPr>
        <p:spPr>
          <a:xfrm flipH="1">
            <a:off x="1165984" y="785794"/>
            <a:ext cx="4865766" cy="3385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marL="0" marR="0" lvl="0" indent="0" defTabSz="914400" eaLnBrk="1" fontAlgn="auto" latinLnBrk="0" hangingPunct="1">
              <a:lnSpc>
                <a:spcPct val="80000"/>
              </a:lnSpc>
              <a:spcBef>
                <a:spcPts val="0"/>
              </a:spcBef>
              <a:spcAft>
                <a:spcPts val="0"/>
              </a:spcAft>
              <a:buClrTx/>
              <a:buSzTx/>
              <a:buFontTx/>
              <a:buNone/>
              <a:defRPr/>
            </a:pPr>
            <a:r>
              <a:rPr lang="en-US" altLang="zh-CN" sz="2000" dirty="0" smtClean="0">
                <a:solidFill>
                  <a:schemeClr val="tx1"/>
                </a:solidFill>
                <a:effectLst>
                  <a:outerShdw blurRad="266700" algn="tl" rotWithShape="0">
                    <a:schemeClr val="tx2">
                      <a:lumMod val="40000"/>
                      <a:lumOff val="60000"/>
                      <a:alpha val="55000"/>
                    </a:schemeClr>
                  </a:outerShdw>
                </a:effectLst>
                <a:latin typeface="微软雅黑" panose="020B0503020204020204" pitchFamily="34" charset="-122"/>
                <a:cs typeface="Times New Roman" panose="02020603050405020304" pitchFamily="18" charset="0"/>
              </a:rPr>
              <a:t>1.1 </a:t>
            </a:r>
            <a:r>
              <a:rPr lang="zh-CN" altLang="en-US" sz="2000" dirty="0" smtClean="0">
                <a:solidFill>
                  <a:schemeClr val="tx1"/>
                </a:solidFill>
                <a:effectLst>
                  <a:outerShdw blurRad="266700" algn="tl" rotWithShape="0">
                    <a:schemeClr val="tx2">
                      <a:lumMod val="40000"/>
                      <a:lumOff val="60000"/>
                      <a:alpha val="55000"/>
                    </a:schemeClr>
                  </a:outerShdw>
                </a:effectLst>
                <a:latin typeface="微软雅黑" panose="020B0503020204020204" pitchFamily="34" charset="-122"/>
                <a:cs typeface="Times New Roman" panose="02020603050405020304" pitchFamily="18" charset="0"/>
              </a:rPr>
              <a:t>电梯行业发展</a:t>
            </a:r>
            <a:endParaRPr kumimoji="0" lang="zh-CN" altLang="en-US" sz="2000" i="0" u="none" strike="noStrike" kern="0" cap="none" spc="0" normalizeH="0" baseline="0" noProof="0" dirty="0">
              <a:ln w="18415" cmpd="sng">
                <a:noFill/>
                <a:prstDash val="solid"/>
              </a:ln>
              <a:solidFill>
                <a:schemeClr val="tx1"/>
              </a:solidFill>
              <a:effectLst>
                <a:outerShdw blurRad="266700" algn="tl" rotWithShape="0">
                  <a:schemeClr val="tx2">
                    <a:lumMod val="40000"/>
                    <a:lumOff val="60000"/>
                    <a:alpha val="55000"/>
                  </a:schemeClr>
                </a:outerShdw>
              </a:effectLst>
              <a:uLnTx/>
              <a:uFillTx/>
              <a:latin typeface="微软雅黑" panose="020B0503020204020204" pitchFamily="34" charset="-122"/>
              <a:cs typeface="Times New Roman" panose="02020603050405020304" pitchFamily="18" charset="0"/>
            </a:endParaRPr>
          </a:p>
        </p:txBody>
      </p:sp>
      <p:sp>
        <p:nvSpPr>
          <p:cNvPr id="55" name="TextBox 54"/>
          <p:cNvSpPr txBox="1"/>
          <p:nvPr/>
        </p:nvSpPr>
        <p:spPr>
          <a:xfrm>
            <a:off x="6238082" y="4714884"/>
            <a:ext cx="4857784" cy="700576"/>
          </a:xfrm>
          <a:prstGeom prst="rect">
            <a:avLst/>
          </a:prstGeom>
          <a:noFill/>
        </p:spPr>
        <p:txBody>
          <a:bodyPr wrap="square" rtlCol="0" anchor="ctr">
            <a:spAutoFit/>
          </a:bodyPr>
          <a:lstStyle/>
          <a:p>
            <a:pPr>
              <a:lnSpc>
                <a:spcPct val="150000"/>
              </a:lnSpc>
            </a:pPr>
            <a:r>
              <a:rPr lang="zh-CN" altLang="en-US" sz="1400" dirty="0" smtClean="0">
                <a:latin typeface="微软雅黑" panose="020B0503020204020204" pitchFamily="34" charset="-122"/>
                <a:ea typeface="微软雅黑" panose="020B0503020204020204" pitchFamily="34" charset="-122"/>
              </a:rPr>
              <a:t>随着互联网信息服务的市场推进，智能化成为电梯企业的转型改革的方向。</a:t>
            </a:r>
            <a:endParaRPr lang="zh-CN" altLang="en-US" sz="1400" dirty="0" smtClean="0">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300" advTm="7857">
        <p14:pan/>
      </p:transition>
    </mc:Choice>
    <mc:Fallback>
      <p:transition spd="slow" advTm="7857">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1"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wipe(left)">
                                      <p:cBhvr>
                                        <p:cTn id="7" dur="1000"/>
                                        <p:tgtEl>
                                          <p:spTgt spid="54"/>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 calcmode="lin" valueType="num">
                                      <p:cBhvr additive="base">
                                        <p:cTn id="10" dur="500" fill="hold"/>
                                        <p:tgtEl>
                                          <p:spTgt spid="2"/>
                                        </p:tgtEl>
                                        <p:attrNameLst>
                                          <p:attrName>ppt_x</p:attrName>
                                        </p:attrNameLst>
                                      </p:cBhvr>
                                      <p:tavLst>
                                        <p:tav tm="0">
                                          <p:val>
                                            <p:strVal val="1+#ppt_w/2"/>
                                          </p:val>
                                        </p:tav>
                                        <p:tav tm="100000">
                                          <p:val>
                                            <p:strVal val="#ppt_x"/>
                                          </p:val>
                                        </p:tav>
                                      </p:tavLst>
                                    </p:anim>
                                    <p:anim calcmode="lin" valueType="num">
                                      <p:cBhvr additive="base">
                                        <p:cTn id="11" dur="500" fill="hold"/>
                                        <p:tgtEl>
                                          <p:spTgt spid="2"/>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41"/>
                                        </p:tgtEl>
                                        <p:attrNameLst>
                                          <p:attrName>style.visibility</p:attrName>
                                        </p:attrNameLst>
                                      </p:cBhvr>
                                      <p:to>
                                        <p:strVal val="visible"/>
                                      </p:to>
                                    </p:set>
                                    <p:animEffect transition="in" filter="wipe(down)">
                                      <p:cBhvr>
                                        <p:cTn id="20" dur="200"/>
                                        <p:tgtEl>
                                          <p:spTgt spid="41"/>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wipe(left)">
                                      <p:cBhvr>
                                        <p:cTn id="24" dur="200"/>
                                        <p:tgtEl>
                                          <p:spTgt spid="43"/>
                                        </p:tgtEl>
                                      </p:cBhvr>
                                    </p:animEffect>
                                  </p:childTnLst>
                                </p:cTn>
                              </p:par>
                            </p:childTnLst>
                          </p:cTn>
                        </p:par>
                        <p:par>
                          <p:cTn id="25" fill="hold">
                            <p:stCondLst>
                              <p:cond delay="1000"/>
                            </p:stCondLst>
                            <p:childTnLst>
                              <p:par>
                                <p:cTn id="26" presetID="10" presetClass="entr" presetSubtype="0" fill="hold" grpId="0" nodeType="afterEffect">
                                  <p:stCondLst>
                                    <p:cond delay="0"/>
                                  </p:stCondLst>
                                  <p:iterate type="lt">
                                    <p:tmPct val="10000"/>
                                  </p:iterate>
                                  <p:childTnLst>
                                    <p:set>
                                      <p:cBhvr>
                                        <p:cTn id="27" dur="1" fill="hold">
                                          <p:stCondLst>
                                            <p:cond delay="0"/>
                                          </p:stCondLst>
                                        </p:cTn>
                                        <p:tgtEl>
                                          <p:spTgt spid="46"/>
                                        </p:tgtEl>
                                        <p:attrNameLst>
                                          <p:attrName>style.visibility</p:attrName>
                                        </p:attrNameLst>
                                      </p:cBhvr>
                                      <p:to>
                                        <p:strVal val="visible"/>
                                      </p:to>
                                    </p:set>
                                    <p:animEffect transition="in" filter="fade">
                                      <p:cBhvr>
                                        <p:cTn id="28" dur="100"/>
                                        <p:tgtEl>
                                          <p:spTgt spid="4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xit" presetSubtype="0" fill="hold" nodeType="withEffect">
                                  <p:stCondLst>
                                    <p:cond delay="0"/>
                                  </p:stCondLst>
                                  <p:childTnLst>
                                    <p:animEffect transition="out" filter="fade">
                                      <p:cBhvr>
                                        <p:cTn id="35" dur="500"/>
                                        <p:tgtEl>
                                          <p:spTgt spid="3"/>
                                        </p:tgtEl>
                                      </p:cBhvr>
                                    </p:animEffect>
                                    <p:set>
                                      <p:cBhvr>
                                        <p:cTn id="36" dur="1" fill="hold">
                                          <p:stCondLst>
                                            <p:cond delay="499"/>
                                          </p:stCondLst>
                                        </p:cTn>
                                        <p:tgtEl>
                                          <p:spTgt spid="3"/>
                                        </p:tgtEl>
                                        <p:attrNameLst>
                                          <p:attrName>style.visibility</p:attrName>
                                        </p:attrNameLst>
                                      </p:cBhvr>
                                      <p:to>
                                        <p:strVal val="hidden"/>
                                      </p:to>
                                    </p:set>
                                  </p:childTnLst>
                                </p:cTn>
                              </p:par>
                              <p:par>
                                <p:cTn id="37" presetID="22" presetClass="entr" presetSubtype="4" fill="hold"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wipe(down)">
                                      <p:cBhvr>
                                        <p:cTn id="39" dur="200"/>
                                        <p:tgtEl>
                                          <p:spTgt spid="47"/>
                                        </p:tgtEl>
                                      </p:cBhvr>
                                    </p:animEffect>
                                  </p:childTnLst>
                                </p:cTn>
                              </p:par>
                            </p:childTnLst>
                          </p:cTn>
                        </p:par>
                        <p:par>
                          <p:cTn id="40" fill="hold">
                            <p:stCondLst>
                              <p:cond delay="500"/>
                            </p:stCondLst>
                            <p:childTnLst>
                              <p:par>
                                <p:cTn id="41" presetID="22" presetClass="entr" presetSubtype="8" fill="hold" nodeType="after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wipe(left)">
                                      <p:cBhvr>
                                        <p:cTn id="43" dur="200"/>
                                        <p:tgtEl>
                                          <p:spTgt spid="48"/>
                                        </p:tgtEl>
                                      </p:cBhvr>
                                    </p:animEffect>
                                  </p:childTnLst>
                                </p:cTn>
                              </p:par>
                            </p:childTnLst>
                          </p:cTn>
                        </p:par>
                        <p:par>
                          <p:cTn id="44" fill="hold">
                            <p:stCondLst>
                              <p:cond delay="1000"/>
                            </p:stCondLst>
                            <p:childTnLst>
                              <p:par>
                                <p:cTn id="45" presetID="10" presetClass="entr" presetSubtype="0" fill="hold" grpId="0" nodeType="afterEffect">
                                  <p:stCondLst>
                                    <p:cond delay="0"/>
                                  </p:stCondLst>
                                  <p:iterate type="lt">
                                    <p:tmPct val="10000"/>
                                  </p:iterate>
                                  <p:childTnLst>
                                    <p:set>
                                      <p:cBhvr>
                                        <p:cTn id="46" dur="1" fill="hold">
                                          <p:stCondLst>
                                            <p:cond delay="0"/>
                                          </p:stCondLst>
                                        </p:cTn>
                                        <p:tgtEl>
                                          <p:spTgt spid="53"/>
                                        </p:tgtEl>
                                        <p:attrNameLst>
                                          <p:attrName>style.visibility</p:attrName>
                                        </p:attrNameLst>
                                      </p:cBhvr>
                                      <p:to>
                                        <p:strVal val="visible"/>
                                      </p:to>
                                    </p:set>
                                    <p:animEffect transition="in" filter="fade">
                                      <p:cBhvr>
                                        <p:cTn id="47" dur="100"/>
                                        <p:tgtEl>
                                          <p:spTgt spid="53"/>
                                        </p:tgtEl>
                                      </p:cBhvr>
                                    </p:animEffect>
                                  </p:childTnLst>
                                </p:cTn>
                              </p:par>
                            </p:childTnLst>
                          </p:cTn>
                        </p:par>
                        <p:par>
                          <p:cTn id="48" fill="hold">
                            <p:stCondLst>
                              <p:cond delay="840"/>
                            </p:stCondLst>
                            <p:childTnLst>
                              <p:par>
                                <p:cTn id="49" presetID="10" presetClass="entr" presetSubtype="0" fill="hold" grpId="0" nodeType="afterEffect">
                                  <p:stCondLst>
                                    <p:cond delay="0"/>
                                  </p:stCondLst>
                                  <p:iterate type="lt">
                                    <p:tmPct val="10000"/>
                                  </p:iterate>
                                  <p:childTnLst>
                                    <p:set>
                                      <p:cBhvr>
                                        <p:cTn id="50" dur="1" fill="hold">
                                          <p:stCondLst>
                                            <p:cond delay="0"/>
                                          </p:stCondLst>
                                        </p:cTn>
                                        <p:tgtEl>
                                          <p:spTgt spid="52"/>
                                        </p:tgtEl>
                                        <p:attrNameLst>
                                          <p:attrName>style.visibility</p:attrName>
                                        </p:attrNameLst>
                                      </p:cBhvr>
                                      <p:to>
                                        <p:strVal val="visible"/>
                                      </p:to>
                                    </p:set>
                                    <p:animEffect transition="in" filter="fade">
                                      <p:cBhvr>
                                        <p:cTn id="51" dur="100"/>
                                        <p:tgtEl>
                                          <p:spTgt spid="5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nodeType="click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par>
                                <p:cTn id="57" presetID="10" presetClass="exit" presetSubtype="0" fill="hold" nodeType="withEffect">
                                  <p:stCondLst>
                                    <p:cond delay="0"/>
                                  </p:stCondLst>
                                  <p:childTnLst>
                                    <p:animEffect transition="out" filter="fade">
                                      <p:cBhvr>
                                        <p:cTn id="58" dur="500"/>
                                        <p:tgtEl>
                                          <p:spTgt spid="21"/>
                                        </p:tgtEl>
                                      </p:cBhvr>
                                    </p:animEffect>
                                    <p:set>
                                      <p:cBhvr>
                                        <p:cTn id="59" dur="1" fill="hold">
                                          <p:stCondLst>
                                            <p:cond delay="499"/>
                                          </p:stCondLst>
                                        </p:cTn>
                                        <p:tgtEl>
                                          <p:spTgt spid="21"/>
                                        </p:tgtEl>
                                        <p:attrNameLst>
                                          <p:attrName>style.visibility</p:attrName>
                                        </p:attrNameLst>
                                      </p:cBhvr>
                                      <p:to>
                                        <p:strVal val="hidden"/>
                                      </p:to>
                                    </p:set>
                                  </p:childTnLst>
                                </p:cTn>
                              </p:par>
                              <p:par>
                                <p:cTn id="60" presetID="22" presetClass="entr" presetSubtype="8"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wipe(left)">
                                      <p:cBhvr>
                                        <p:cTn id="62" dur="200"/>
                                        <p:tgtEl>
                                          <p:spTgt spid="57"/>
                                        </p:tgtEl>
                                      </p:cBhvr>
                                    </p:animEffect>
                                  </p:childTnLst>
                                </p:cTn>
                              </p:par>
                            </p:childTnLst>
                          </p:cTn>
                        </p:par>
                        <p:par>
                          <p:cTn id="63" fill="hold">
                            <p:stCondLst>
                              <p:cond delay="500"/>
                            </p:stCondLst>
                            <p:childTnLst>
                              <p:par>
                                <p:cTn id="64" presetID="10" presetClass="entr" presetSubtype="0" fill="hold" grpId="0" nodeType="afterEffect">
                                  <p:stCondLst>
                                    <p:cond delay="0"/>
                                  </p:stCondLst>
                                  <p:iterate type="lt">
                                    <p:tmPct val="10000"/>
                                  </p:iterate>
                                  <p:childTnLst>
                                    <p:set>
                                      <p:cBhvr>
                                        <p:cTn id="65" dur="1" fill="hold">
                                          <p:stCondLst>
                                            <p:cond delay="0"/>
                                          </p:stCondLst>
                                        </p:cTn>
                                        <p:tgtEl>
                                          <p:spTgt spid="59"/>
                                        </p:tgtEl>
                                        <p:attrNameLst>
                                          <p:attrName>style.visibility</p:attrName>
                                        </p:attrNameLst>
                                      </p:cBhvr>
                                      <p:to>
                                        <p:strVal val="visible"/>
                                      </p:to>
                                    </p:set>
                                    <p:animEffect transition="in" filter="fade">
                                      <p:cBhvr>
                                        <p:cTn id="66" dur="100"/>
                                        <p:tgtEl>
                                          <p:spTgt spid="59"/>
                                        </p:tgtEl>
                                      </p:cBhvr>
                                    </p:animEffect>
                                  </p:childTnLst>
                                </p:cTn>
                              </p:par>
                            </p:childTnLst>
                          </p:cTn>
                        </p:par>
                        <p:par>
                          <p:cTn id="67" fill="hold">
                            <p:stCondLst>
                              <p:cond delay="649"/>
                            </p:stCondLst>
                            <p:childTnLst>
                              <p:par>
                                <p:cTn id="68" presetID="10" presetClass="entr" presetSubtype="0" fill="hold" grpId="0" nodeType="afterEffect">
                                  <p:stCondLst>
                                    <p:cond delay="0"/>
                                  </p:stCondLst>
                                  <p:iterate type="lt">
                                    <p:tmPct val="10000"/>
                                  </p:iterate>
                                  <p:childTnLst>
                                    <p:set>
                                      <p:cBhvr>
                                        <p:cTn id="69" dur="1" fill="hold">
                                          <p:stCondLst>
                                            <p:cond delay="0"/>
                                          </p:stCondLst>
                                        </p:cTn>
                                        <p:tgtEl>
                                          <p:spTgt spid="58"/>
                                        </p:tgtEl>
                                        <p:attrNameLst>
                                          <p:attrName>style.visibility</p:attrName>
                                        </p:attrNameLst>
                                      </p:cBhvr>
                                      <p:to>
                                        <p:strVal val="visible"/>
                                      </p:to>
                                    </p:set>
                                    <p:animEffect transition="in" filter="fade">
                                      <p:cBhvr>
                                        <p:cTn id="70" dur="100"/>
                                        <p:tgtEl>
                                          <p:spTgt spid="58"/>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par>
                                <p:cTn id="76" presetID="10" presetClass="exit" presetSubtype="0" fill="hold" nodeType="withEffect">
                                  <p:stCondLst>
                                    <p:cond delay="0"/>
                                  </p:stCondLst>
                                  <p:childTnLst>
                                    <p:animEffect transition="out" filter="fade">
                                      <p:cBhvr>
                                        <p:cTn id="77" dur="500"/>
                                        <p:tgtEl>
                                          <p:spTgt spid="22"/>
                                        </p:tgtEl>
                                      </p:cBhvr>
                                    </p:animEffect>
                                    <p:set>
                                      <p:cBhvr>
                                        <p:cTn id="78" dur="1" fill="hold">
                                          <p:stCondLst>
                                            <p:cond delay="499"/>
                                          </p:stCondLst>
                                        </p:cTn>
                                        <p:tgtEl>
                                          <p:spTgt spid="22"/>
                                        </p:tgtEl>
                                        <p:attrNameLst>
                                          <p:attrName>style.visibility</p:attrName>
                                        </p:attrNameLst>
                                      </p:cBhvr>
                                      <p:to>
                                        <p:strVal val="hidden"/>
                                      </p:to>
                                    </p:set>
                                  </p:childTnLst>
                                </p:cTn>
                              </p:par>
                              <p:par>
                                <p:cTn id="79" presetID="22" presetClass="entr" presetSubtype="1" fill="hold" nodeType="withEffect">
                                  <p:stCondLst>
                                    <p:cond delay="0"/>
                                  </p:stCondLst>
                                  <p:childTnLst>
                                    <p:set>
                                      <p:cBhvr>
                                        <p:cTn id="80" dur="1" fill="hold">
                                          <p:stCondLst>
                                            <p:cond delay="0"/>
                                          </p:stCondLst>
                                        </p:cTn>
                                        <p:tgtEl>
                                          <p:spTgt spid="66"/>
                                        </p:tgtEl>
                                        <p:attrNameLst>
                                          <p:attrName>style.visibility</p:attrName>
                                        </p:attrNameLst>
                                      </p:cBhvr>
                                      <p:to>
                                        <p:strVal val="visible"/>
                                      </p:to>
                                    </p:set>
                                    <p:animEffect transition="in" filter="wipe(up)">
                                      <p:cBhvr>
                                        <p:cTn id="81" dur="200"/>
                                        <p:tgtEl>
                                          <p:spTgt spid="66"/>
                                        </p:tgtEl>
                                      </p:cBhvr>
                                    </p:animEffect>
                                  </p:childTnLst>
                                </p:cTn>
                              </p:par>
                            </p:childTnLst>
                          </p:cTn>
                        </p:par>
                        <p:par>
                          <p:cTn id="82" fill="hold">
                            <p:stCondLst>
                              <p:cond delay="500"/>
                            </p:stCondLst>
                            <p:childTnLst>
                              <p:par>
                                <p:cTn id="83" presetID="22" presetClass="entr" presetSubtype="8" fill="hold" nodeType="afterEffect">
                                  <p:stCondLst>
                                    <p:cond delay="0"/>
                                  </p:stCondLst>
                                  <p:childTnLst>
                                    <p:set>
                                      <p:cBhvr>
                                        <p:cTn id="84" dur="1" fill="hold">
                                          <p:stCondLst>
                                            <p:cond delay="0"/>
                                          </p:stCondLst>
                                        </p:cTn>
                                        <p:tgtEl>
                                          <p:spTgt spid="67"/>
                                        </p:tgtEl>
                                        <p:attrNameLst>
                                          <p:attrName>style.visibility</p:attrName>
                                        </p:attrNameLst>
                                      </p:cBhvr>
                                      <p:to>
                                        <p:strVal val="visible"/>
                                      </p:to>
                                    </p:set>
                                    <p:animEffect transition="in" filter="wipe(left)">
                                      <p:cBhvr>
                                        <p:cTn id="85" dur="200"/>
                                        <p:tgtEl>
                                          <p:spTgt spid="67"/>
                                        </p:tgtEl>
                                      </p:cBhvr>
                                    </p:animEffect>
                                  </p:childTnLst>
                                </p:cTn>
                              </p:par>
                            </p:childTnLst>
                          </p:cTn>
                        </p:par>
                        <p:par>
                          <p:cTn id="86" fill="hold">
                            <p:stCondLst>
                              <p:cond delay="1000"/>
                            </p:stCondLst>
                            <p:childTnLst>
                              <p:par>
                                <p:cTn id="87" presetID="10" presetClass="entr" presetSubtype="0" fill="hold" grpId="0" nodeType="afterEffect">
                                  <p:stCondLst>
                                    <p:cond delay="0"/>
                                  </p:stCondLst>
                                  <p:iterate type="lt">
                                    <p:tmPct val="10000"/>
                                  </p:iterate>
                                  <p:childTnLst>
                                    <p:set>
                                      <p:cBhvr>
                                        <p:cTn id="88" dur="1" fill="hold">
                                          <p:stCondLst>
                                            <p:cond delay="0"/>
                                          </p:stCondLst>
                                        </p:cTn>
                                        <p:tgtEl>
                                          <p:spTgt spid="69"/>
                                        </p:tgtEl>
                                        <p:attrNameLst>
                                          <p:attrName>style.visibility</p:attrName>
                                        </p:attrNameLst>
                                      </p:cBhvr>
                                      <p:to>
                                        <p:strVal val="visible"/>
                                      </p:to>
                                    </p:set>
                                    <p:animEffect transition="in" filter="fade">
                                      <p:cBhvr>
                                        <p:cTn id="89" dur="100"/>
                                        <p:tgtEl>
                                          <p:spTgt spid="69"/>
                                        </p:tgtEl>
                                      </p:cBhvr>
                                    </p:animEffect>
                                  </p:childTnLst>
                                </p:cTn>
                              </p:par>
                            </p:childTnLst>
                          </p:cTn>
                        </p:par>
                        <p:par>
                          <p:cTn id="90" fill="hold">
                            <p:stCondLst>
                              <p:cond delay="840"/>
                            </p:stCondLst>
                            <p:childTnLst>
                              <p:par>
                                <p:cTn id="91" presetID="10" presetClass="entr" presetSubtype="0" fill="hold" grpId="0" nodeType="afterEffect">
                                  <p:stCondLst>
                                    <p:cond delay="0"/>
                                  </p:stCondLst>
                                  <p:iterate type="lt">
                                    <p:tmPct val="10000"/>
                                  </p:iterate>
                                  <p:childTnLst>
                                    <p:set>
                                      <p:cBhvr>
                                        <p:cTn id="92" dur="1" fill="hold">
                                          <p:stCondLst>
                                            <p:cond delay="0"/>
                                          </p:stCondLst>
                                        </p:cTn>
                                        <p:tgtEl>
                                          <p:spTgt spid="68"/>
                                        </p:tgtEl>
                                        <p:attrNameLst>
                                          <p:attrName>style.visibility</p:attrName>
                                        </p:attrNameLst>
                                      </p:cBhvr>
                                      <p:to>
                                        <p:strVal val="visible"/>
                                      </p:to>
                                    </p:set>
                                    <p:animEffect transition="in" filter="fade">
                                      <p:cBhvr>
                                        <p:cTn id="93" dur="100"/>
                                        <p:tgtEl>
                                          <p:spTgt spid="68"/>
                                        </p:tgtEl>
                                      </p:cBhvr>
                                    </p:animEffect>
                                  </p:childTnLst>
                                </p:cTn>
                              </p:par>
                            </p:childTnLst>
                          </p:cTn>
                        </p:par>
                      </p:childTnLst>
                    </p:cTn>
                  </p:par>
                  <p:par>
                    <p:cTn id="94" fill="hold">
                      <p:stCondLst>
                        <p:cond delay="indefinite"/>
                      </p:stCondLst>
                      <p:childTnLst>
                        <p:par>
                          <p:cTn id="95" fill="hold">
                            <p:stCondLst>
                              <p:cond delay="0"/>
                            </p:stCondLst>
                            <p:childTnLst>
                              <p:par>
                                <p:cTn id="96" presetID="22" presetClass="entr" presetSubtype="8" fill="hold" grpId="0" nodeType="clickEffect">
                                  <p:stCondLst>
                                    <p:cond delay="0"/>
                                  </p:stCondLst>
                                  <p:childTnLst>
                                    <p:set>
                                      <p:cBhvr>
                                        <p:cTn id="97" dur="1" fill="hold">
                                          <p:stCondLst>
                                            <p:cond delay="0"/>
                                          </p:stCondLst>
                                        </p:cTn>
                                        <p:tgtEl>
                                          <p:spTgt spid="55"/>
                                        </p:tgtEl>
                                        <p:attrNameLst>
                                          <p:attrName>style.visibility</p:attrName>
                                        </p:attrNameLst>
                                      </p:cBhvr>
                                      <p:to>
                                        <p:strVal val="visible"/>
                                      </p:to>
                                    </p:set>
                                    <p:animEffect transition="in" filter="wipe(left)">
                                      <p:cBhvr>
                                        <p:cTn id="9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52" grpId="0"/>
      <p:bldP spid="53" grpId="0"/>
      <p:bldP spid="58" grpId="0"/>
      <p:bldP spid="59" grpId="0"/>
      <p:bldP spid="68" grpId="0"/>
      <p:bldP spid="69" grpId="0"/>
      <p:bldP spid="54" grpId="1"/>
      <p:bldP spid="5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0" name="直接连接符 129"/>
          <p:cNvCxnSpPr/>
          <p:nvPr/>
        </p:nvCxnSpPr>
        <p:spPr>
          <a:xfrm>
            <a:off x="0" y="5644490"/>
            <a:ext cx="955159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flipH="1">
            <a:off x="1308860" y="857232"/>
            <a:ext cx="4865766" cy="3385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marL="0" marR="0" lvl="0" indent="0" defTabSz="914400" eaLnBrk="1" fontAlgn="auto" latinLnBrk="0" hangingPunct="1">
              <a:lnSpc>
                <a:spcPct val="80000"/>
              </a:lnSpc>
              <a:spcBef>
                <a:spcPts val="0"/>
              </a:spcBef>
              <a:spcAft>
                <a:spcPts val="0"/>
              </a:spcAft>
              <a:buClrTx/>
              <a:buSzTx/>
              <a:buFontTx/>
              <a:buNone/>
              <a:defRPr/>
            </a:pPr>
            <a:r>
              <a:rPr lang="en-US" altLang="zh-CN" sz="2000" dirty="0" smtClean="0">
                <a:solidFill>
                  <a:schemeClr val="tx1"/>
                </a:solidFill>
                <a:effectLst>
                  <a:outerShdw blurRad="266700" algn="tl" rotWithShape="0">
                    <a:schemeClr val="tx2">
                      <a:lumMod val="40000"/>
                      <a:lumOff val="60000"/>
                      <a:alpha val="55000"/>
                    </a:schemeClr>
                  </a:outerShdw>
                </a:effectLst>
                <a:latin typeface="微软雅黑" panose="020B0503020204020204" pitchFamily="34" charset="-122"/>
                <a:cs typeface="Times New Roman" panose="02020603050405020304" pitchFamily="18" charset="0"/>
              </a:rPr>
              <a:t>1.2 </a:t>
            </a:r>
            <a:r>
              <a:rPr lang="zh-CN" altLang="en-US" sz="2000" dirty="0" smtClean="0">
                <a:solidFill>
                  <a:schemeClr val="tx1"/>
                </a:solidFill>
                <a:effectLst>
                  <a:outerShdw blurRad="266700" algn="tl" rotWithShape="0">
                    <a:schemeClr val="tx2">
                      <a:lumMod val="40000"/>
                      <a:lumOff val="60000"/>
                      <a:alpha val="55000"/>
                    </a:schemeClr>
                  </a:outerShdw>
                </a:effectLst>
                <a:latin typeface="微软雅黑" panose="020B0503020204020204" pitchFamily="34" charset="-122"/>
                <a:cs typeface="Times New Roman" panose="02020603050405020304" pitchFamily="18" charset="0"/>
              </a:rPr>
              <a:t>日立电梯（中国）有限公司</a:t>
            </a:r>
            <a:endParaRPr kumimoji="0" lang="zh-CN" altLang="en-US" sz="2000" i="0" u="none" strike="noStrike" kern="0" cap="none" spc="0" normalizeH="0" baseline="0" noProof="0" dirty="0">
              <a:ln w="18415" cmpd="sng">
                <a:noFill/>
                <a:prstDash val="solid"/>
              </a:ln>
              <a:solidFill>
                <a:schemeClr val="tx1"/>
              </a:solidFill>
              <a:effectLst>
                <a:outerShdw blurRad="266700" algn="tl" rotWithShape="0">
                  <a:schemeClr val="tx2">
                    <a:lumMod val="40000"/>
                    <a:lumOff val="60000"/>
                    <a:alpha val="55000"/>
                  </a:schemeClr>
                </a:outerShdw>
              </a:effectLst>
              <a:uLnTx/>
              <a:uFillTx/>
              <a:latin typeface="微软雅黑" panose="020B0503020204020204" pitchFamily="34" charset="-122"/>
              <a:cs typeface="Times New Roman" panose="02020603050405020304" pitchFamily="18" charset="0"/>
            </a:endParaRPr>
          </a:p>
        </p:txBody>
      </p:sp>
      <p:sp>
        <p:nvSpPr>
          <p:cNvPr id="33" name="TextBox 32"/>
          <p:cNvSpPr txBox="1"/>
          <p:nvPr/>
        </p:nvSpPr>
        <p:spPr>
          <a:xfrm>
            <a:off x="4964430" y="2229485"/>
            <a:ext cx="6005830" cy="3415030"/>
          </a:xfrm>
          <a:prstGeom prst="rect">
            <a:avLst/>
          </a:prstGeom>
          <a:noFill/>
        </p:spPr>
        <p:txBody>
          <a:bodyPr wrap="square" rtlCol="0">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日立电梯（中国）有限公司创建于</a:t>
            </a:r>
            <a:r>
              <a:rPr lang="en-US" altLang="zh-CN" dirty="0" smtClean="0">
                <a:latin typeface="微软雅黑" panose="020B0503020204020204" pitchFamily="34" charset="-122"/>
                <a:ea typeface="微软雅黑" panose="020B0503020204020204" pitchFamily="34" charset="-122"/>
              </a:rPr>
              <a:t>1995</a:t>
            </a:r>
            <a:r>
              <a:rPr lang="zh-CN" altLang="en-US" dirty="0" smtClean="0">
                <a:latin typeface="微软雅黑" panose="020B0503020204020204" pitchFamily="34" charset="-122"/>
                <a:ea typeface="微软雅黑" panose="020B0503020204020204" pitchFamily="34" charset="-122"/>
              </a:rPr>
              <a:t>年，总部位于广州。</a:t>
            </a:r>
            <a:endParaRPr lang="zh-CN" altLang="en-US" dirty="0" smtClean="0">
              <a:latin typeface="微软雅黑" panose="020B0503020204020204" pitchFamily="34" charset="-122"/>
              <a:ea typeface="微软雅黑" panose="020B0503020204020204" pitchFamily="34" charset="-122"/>
            </a:endParaRPr>
          </a:p>
          <a:p>
            <a:pPr>
              <a:lnSpc>
                <a:spcPct val="150000"/>
              </a:lnSpc>
            </a:pPr>
            <a:r>
              <a:rPr lang="zh-CN" altLang="en-US" dirty="0" smtClean="0">
                <a:latin typeface="微软雅黑" panose="020B0503020204020204" pitchFamily="34" charset="-122"/>
                <a:ea typeface="微软雅黑" panose="020B0503020204020204" pitchFamily="34" charset="-122"/>
              </a:rPr>
              <a:t>      作为日立集团海外最大的电梯事业基地，日立电梯多年来一直恪守技术革新以适应中国市场和履行企业社会责任的理念，致力于为都市和楼宇发展带来可靠、高效、舒适以及可持续发展的产品及服务解决方案。迄今为止，公司综合实力多年稳居国内行业三甲之列，跻身中国外商投资企业</a:t>
            </a:r>
            <a:r>
              <a:rPr lang="en-US" altLang="zh-CN" dirty="0" smtClean="0">
                <a:latin typeface="微软雅黑" panose="020B0503020204020204" pitchFamily="34" charset="-122"/>
                <a:ea typeface="微软雅黑" panose="020B0503020204020204" pitchFamily="34" charset="-122"/>
              </a:rPr>
              <a:t>500</a:t>
            </a:r>
            <a:r>
              <a:rPr lang="zh-CN" altLang="en-US" dirty="0" smtClean="0">
                <a:latin typeface="微软雅黑" panose="020B0503020204020204" pitchFamily="34" charset="-122"/>
                <a:ea typeface="微软雅黑" panose="020B0503020204020204" pitchFamily="34" charset="-122"/>
              </a:rPr>
              <a:t>强。</a:t>
            </a:r>
            <a:endParaRPr lang="zh-CN" altLang="en-US" dirty="0" smtClean="0">
              <a:latin typeface="微软雅黑" panose="020B0503020204020204" pitchFamily="34" charset="-122"/>
              <a:ea typeface="微软雅黑" panose="020B0503020204020204" pitchFamily="34" charset="-122"/>
            </a:endParaRPr>
          </a:p>
        </p:txBody>
      </p:sp>
      <p:cxnSp>
        <p:nvCxnSpPr>
          <p:cNvPr id="35" name="直接连接符 34"/>
          <p:cNvCxnSpPr/>
          <p:nvPr/>
        </p:nvCxnSpPr>
        <p:spPr>
          <a:xfrm>
            <a:off x="5087094" y="2168789"/>
            <a:ext cx="576064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0" y="4104958"/>
            <a:ext cx="2716173" cy="1213651"/>
            <a:chOff x="611560" y="1603281"/>
            <a:chExt cx="2716173" cy="1213651"/>
          </a:xfrm>
        </p:grpSpPr>
        <p:sp>
          <p:nvSpPr>
            <p:cNvPr id="11" name="文本框 2"/>
            <p:cNvSpPr txBox="1"/>
            <p:nvPr/>
          </p:nvSpPr>
          <p:spPr>
            <a:xfrm>
              <a:off x="1067441" y="1603281"/>
              <a:ext cx="1804410" cy="583565"/>
            </a:xfrm>
            <a:prstGeom prst="rect">
              <a:avLst/>
            </a:prstGeom>
            <a:noFill/>
          </p:spPr>
          <p:txBody>
            <a:bodyPr wrap="square" rtlCol="0">
              <a:spAutoFit/>
            </a:bodyPr>
            <a:lstStyle/>
            <a:p>
              <a:pPr algn="ctr"/>
              <a:r>
                <a:rPr lang="en-US" altLang="zh-CN" sz="3200" b="1" dirty="0" smtClean="0">
                  <a:solidFill>
                    <a:srgbClr val="FF0000"/>
                  </a:solidFill>
                  <a:latin typeface="微软雅黑" panose="020B0503020204020204" pitchFamily="34" charset="-122"/>
                  <a:ea typeface="微软雅黑" panose="020B0503020204020204" pitchFamily="34" charset="-122"/>
                </a:rPr>
                <a:t>190</a:t>
              </a:r>
              <a:r>
                <a:rPr lang="en-US" altLang="zh-CN" sz="3200" b="1" baseline="30000" dirty="0" smtClean="0">
                  <a:solidFill>
                    <a:srgbClr val="FF0000"/>
                  </a:solidFill>
                  <a:latin typeface="微软雅黑" panose="020B0503020204020204" pitchFamily="34" charset="-122"/>
                  <a:ea typeface="微软雅黑" panose="020B0503020204020204" pitchFamily="34" charset="-122"/>
                </a:rPr>
                <a:t>+</a:t>
              </a:r>
              <a:r>
                <a:rPr lang="zh-CN" altLang="en-US" sz="3200" b="1" dirty="0">
                  <a:solidFill>
                    <a:srgbClr val="FF0000"/>
                  </a:solidFill>
                  <a:latin typeface="微软雅黑" panose="020B0503020204020204" pitchFamily="34" charset="-122"/>
                  <a:ea typeface="微软雅黑" panose="020B0503020204020204" pitchFamily="34" charset="-122"/>
                </a:rPr>
                <a:t>亿</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cxnSp>
          <p:nvCxnSpPr>
            <p:cNvPr id="12" name="直接连接符 11"/>
            <p:cNvCxnSpPr/>
            <p:nvPr/>
          </p:nvCxnSpPr>
          <p:spPr>
            <a:xfrm>
              <a:off x="1028215" y="2442263"/>
              <a:ext cx="18828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11560" y="2509155"/>
              <a:ext cx="2716173" cy="307777"/>
            </a:xfrm>
            <a:prstGeom prst="rect">
              <a:avLst/>
            </a:prstGeom>
            <a:noFill/>
          </p:spPr>
          <p:txBody>
            <a:bodyPr wrap="square" rtlCol="0">
              <a:spAutoFit/>
            </a:bodyPr>
            <a:lstStyle/>
            <a:p>
              <a:pPr algn="ctr"/>
              <a:r>
                <a:rPr lang="en-US" altLang="zh-CN" sz="1400" b="1" dirty="0" smtClean="0">
                  <a:solidFill>
                    <a:schemeClr val="tx1">
                      <a:lumMod val="75000"/>
                      <a:lumOff val="25000"/>
                    </a:schemeClr>
                  </a:solidFill>
                  <a:latin typeface="微软雅黑" panose="020B0503020204020204" pitchFamily="34" charset="-122"/>
                  <a:ea typeface="微软雅黑" panose="020B0503020204020204" pitchFamily="34" charset="-122"/>
                </a:rPr>
                <a:t>2016</a:t>
              </a:r>
              <a:r>
                <a:rPr lang="zh-CN" altLang="en-US" sz="1400" b="1" dirty="0" smtClean="0">
                  <a:solidFill>
                    <a:schemeClr val="tx1">
                      <a:lumMod val="75000"/>
                      <a:lumOff val="25000"/>
                    </a:schemeClr>
                  </a:solidFill>
                  <a:latin typeface="微软雅黑" panose="020B0503020204020204" pitchFamily="34" charset="-122"/>
                  <a:ea typeface="微软雅黑" panose="020B0503020204020204" pitchFamily="34" charset="-122"/>
                </a:rPr>
                <a:t>年</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营业收入（</a:t>
              </a: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rPr>
                <a:t>RMB</a:t>
              </a:r>
              <a:r>
                <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rPr>
                <a:t>）</a:t>
              </a:r>
              <a:endParaRPr lang="zh-CN" altLang="en-US" sz="1400" dirty="0">
                <a:solidFill>
                  <a:schemeClr val="tx1">
                    <a:lumMod val="75000"/>
                    <a:lumOff val="25000"/>
                  </a:schemeClr>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2837951" y="4104958"/>
            <a:ext cx="1882863" cy="1213650"/>
            <a:chOff x="3501088" y="1603281"/>
            <a:chExt cx="1882863" cy="1213650"/>
          </a:xfrm>
        </p:grpSpPr>
        <p:sp>
          <p:nvSpPr>
            <p:cNvPr id="15" name="文本框 2"/>
            <p:cNvSpPr txBox="1"/>
            <p:nvPr/>
          </p:nvSpPr>
          <p:spPr>
            <a:xfrm>
              <a:off x="3546808" y="1603281"/>
              <a:ext cx="1717040" cy="583565"/>
            </a:xfrm>
            <a:prstGeom prst="rect">
              <a:avLst/>
            </a:prstGeom>
            <a:noFill/>
          </p:spPr>
          <p:txBody>
            <a:bodyPr wrap="square" rtlCol="0">
              <a:spAutoFit/>
            </a:bodyPr>
            <a:lstStyle/>
            <a:p>
              <a:pPr algn="ctr"/>
              <a:r>
                <a:rPr lang="en-US" altLang="zh-CN" sz="3200" b="1" dirty="0" smtClean="0">
                  <a:solidFill>
                    <a:srgbClr val="FF0000"/>
                  </a:solidFill>
                  <a:latin typeface="微软雅黑" panose="020B0503020204020204" pitchFamily="34" charset="-122"/>
                  <a:ea typeface="微软雅黑" panose="020B0503020204020204" pitchFamily="34" charset="-122"/>
                  <a:sym typeface="+mn-ea"/>
                </a:rPr>
                <a:t>90</a:t>
              </a:r>
              <a:r>
                <a:rPr lang="en-US" altLang="zh-CN" sz="3200" b="1" baseline="30000" dirty="0" smtClean="0">
                  <a:solidFill>
                    <a:srgbClr val="FF0000"/>
                  </a:solidFill>
                  <a:latin typeface="微软雅黑" panose="020B0503020204020204" pitchFamily="34" charset="-122"/>
                  <a:ea typeface="微软雅黑" panose="020B0503020204020204" pitchFamily="34" charset="-122"/>
                  <a:sym typeface="+mn-ea"/>
                </a:rPr>
                <a:t>+</a:t>
              </a:r>
              <a:r>
                <a:rPr lang="zh-CN" altLang="en-US" sz="3200" b="1" dirty="0">
                  <a:solidFill>
                    <a:srgbClr val="FF0000"/>
                  </a:solidFill>
                  <a:latin typeface="微软雅黑" panose="020B0503020204020204" pitchFamily="34" charset="-122"/>
                  <a:ea typeface="微软雅黑" panose="020B0503020204020204" pitchFamily="34" charset="-122"/>
                  <a:sym typeface="+mn-ea"/>
                </a:rPr>
                <a:t>家</a:t>
              </a:r>
              <a:r>
                <a:rPr lang="en-US" altLang="zh-CN" sz="3200" b="1" baseline="30000" dirty="0" smtClean="0">
                  <a:solidFill>
                    <a:srgbClr val="FF0000"/>
                  </a:solidFill>
                  <a:latin typeface="微软雅黑" panose="020B0503020204020204" pitchFamily="34" charset="-122"/>
                  <a:ea typeface="微软雅黑" panose="020B0503020204020204" pitchFamily="34" charset="-122"/>
                </a:rPr>
                <a:t> </a:t>
              </a:r>
              <a:endParaRPr lang="zh-CN" altLang="en-US" sz="3600" b="1" baseline="30000" dirty="0" smtClean="0">
                <a:solidFill>
                  <a:srgbClr val="FF0000"/>
                </a:solidFill>
                <a:latin typeface="微软雅黑" panose="020B0503020204020204" pitchFamily="34" charset="-122"/>
                <a:ea typeface="微软雅黑" panose="020B0503020204020204" pitchFamily="34" charset="-122"/>
              </a:endParaRPr>
            </a:p>
          </p:txBody>
        </p:sp>
        <p:cxnSp>
          <p:nvCxnSpPr>
            <p:cNvPr id="16" name="直接连接符 15"/>
            <p:cNvCxnSpPr/>
            <p:nvPr/>
          </p:nvCxnSpPr>
          <p:spPr>
            <a:xfrm>
              <a:off x="3501088" y="2442262"/>
              <a:ext cx="18828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501088" y="2509154"/>
              <a:ext cx="1882863" cy="307777"/>
            </a:xfrm>
            <a:prstGeom prst="rect">
              <a:avLst/>
            </a:prstGeom>
            <a:noFill/>
          </p:spPr>
          <p:txBody>
            <a:bodyPr wrap="square" rtlCol="0">
              <a:spAutoFit/>
            </a:bodyPr>
            <a:lstStyle>
              <a:defPPr>
                <a:defRPr lang="zh-CN"/>
              </a:defPPr>
              <a:lvl1pPr algn="ctr">
                <a:defRPr sz="1400">
                  <a:solidFill>
                    <a:schemeClr val="tx1">
                      <a:lumMod val="75000"/>
                      <a:lumOff val="25000"/>
                    </a:schemeClr>
                  </a:solidFill>
                  <a:latin typeface="微软雅黑" panose="020B0503020204020204" pitchFamily="34" charset="-122"/>
                  <a:ea typeface="微软雅黑" panose="020B0503020204020204" pitchFamily="34" charset="-122"/>
                </a:defRPr>
              </a:lvl1pPr>
            </a:lstStyle>
            <a:p>
              <a:r>
                <a:rPr lang="zh-CN" altLang="en-US" b="1" dirty="0" smtClean="0"/>
                <a:t>营分公司</a:t>
              </a:r>
              <a:endParaRPr lang="zh-CN" altLang="en-US" b="1" dirty="0"/>
            </a:p>
          </p:txBody>
        </p:sp>
      </p:grpSp>
      <p:grpSp>
        <p:nvGrpSpPr>
          <p:cNvPr id="22" name="组合 21"/>
          <p:cNvGrpSpPr/>
          <p:nvPr/>
        </p:nvGrpSpPr>
        <p:grpSpPr>
          <a:xfrm>
            <a:off x="1317433" y="2229473"/>
            <a:ext cx="2714644" cy="1213651"/>
            <a:chOff x="5793606" y="1603281"/>
            <a:chExt cx="2432031" cy="1213651"/>
          </a:xfrm>
        </p:grpSpPr>
        <p:sp>
          <p:nvSpPr>
            <p:cNvPr id="23" name="文本框 4"/>
            <p:cNvSpPr txBox="1"/>
            <p:nvPr/>
          </p:nvSpPr>
          <p:spPr>
            <a:xfrm>
              <a:off x="5793606" y="1603281"/>
              <a:ext cx="2432031" cy="584775"/>
            </a:xfrm>
            <a:prstGeom prst="rect">
              <a:avLst/>
            </a:prstGeom>
            <a:noFill/>
          </p:spPr>
          <p:txBody>
            <a:bodyPr wrap="square" rtlCol="0">
              <a:spAutoFit/>
            </a:bodyPr>
            <a:lstStyle/>
            <a:p>
              <a:pPr algn="ctr"/>
              <a:r>
                <a:rPr lang="en-US" altLang="zh-CN" sz="3200" b="1" dirty="0" smtClean="0">
                  <a:solidFill>
                    <a:srgbClr val="FF0000"/>
                  </a:solidFill>
                  <a:latin typeface="微软雅黑" panose="020B0503020204020204" pitchFamily="34" charset="-122"/>
                  <a:ea typeface="微软雅黑" panose="020B0503020204020204" pitchFamily="34" charset="-122"/>
                </a:rPr>
                <a:t>2,0000</a:t>
              </a:r>
              <a:r>
                <a:rPr lang="en-US" altLang="zh-CN" sz="3200" b="1" baseline="30000" dirty="0" smtClean="0">
                  <a:solidFill>
                    <a:srgbClr val="FF0000"/>
                  </a:solidFill>
                  <a:latin typeface="微软雅黑" panose="020B0503020204020204" pitchFamily="34" charset="-122"/>
                  <a:ea typeface="微软雅黑" panose="020B0503020204020204" pitchFamily="34" charset="-122"/>
                </a:rPr>
                <a:t> </a:t>
              </a:r>
              <a:r>
                <a:rPr lang="en-US" altLang="zh-CN" sz="3200" b="1" baseline="30000" dirty="0">
                  <a:solidFill>
                    <a:srgbClr val="FF0000"/>
                  </a:solidFill>
                  <a:latin typeface="微软雅黑" panose="020B0503020204020204" pitchFamily="34" charset="-122"/>
                  <a:ea typeface="微软雅黑" panose="020B0503020204020204" pitchFamily="34" charset="-122"/>
                </a:rPr>
                <a:t>+</a:t>
              </a:r>
              <a:r>
                <a:rPr lang="zh-CN" altLang="en-US" sz="3200" b="1" dirty="0">
                  <a:solidFill>
                    <a:srgbClr val="FF0000"/>
                  </a:solidFill>
                  <a:latin typeface="微软雅黑" panose="020B0503020204020204" pitchFamily="34" charset="-122"/>
                  <a:ea typeface="微软雅黑" panose="020B0503020204020204" pitchFamily="34" charset="-122"/>
                </a:rPr>
                <a:t>名</a:t>
              </a:r>
              <a:endParaRPr lang="zh-CN" altLang="en-US" sz="3200" b="1" baseline="30000" dirty="0">
                <a:solidFill>
                  <a:srgbClr val="FF0000"/>
                </a:solidFill>
                <a:latin typeface="微软雅黑" panose="020B0503020204020204" pitchFamily="34" charset="-122"/>
                <a:ea typeface="微软雅黑" panose="020B0503020204020204" pitchFamily="34" charset="-122"/>
              </a:endParaRPr>
            </a:p>
          </p:txBody>
        </p:sp>
        <p:cxnSp>
          <p:nvCxnSpPr>
            <p:cNvPr id="24" name="直接连接符 23"/>
            <p:cNvCxnSpPr/>
            <p:nvPr/>
          </p:nvCxnSpPr>
          <p:spPr>
            <a:xfrm>
              <a:off x="6068190" y="2442263"/>
              <a:ext cx="18828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068190" y="2509155"/>
              <a:ext cx="1882863" cy="307777"/>
            </a:xfrm>
            <a:prstGeom prst="rect">
              <a:avLst/>
            </a:prstGeom>
            <a:noFill/>
          </p:spPr>
          <p:txBody>
            <a:bodyPr wrap="square" rtlCol="0">
              <a:spAutoFit/>
            </a:bodyPr>
            <a:lstStyle>
              <a:defPPr>
                <a:defRPr lang="zh-CN"/>
              </a:defPPr>
              <a:lvl1pPr algn="ctr">
                <a:defRPr sz="1400">
                  <a:solidFill>
                    <a:schemeClr val="tx1">
                      <a:lumMod val="75000"/>
                      <a:lumOff val="25000"/>
                    </a:schemeClr>
                  </a:solidFill>
                  <a:latin typeface="微软雅黑" panose="020B0503020204020204" pitchFamily="34" charset="-122"/>
                  <a:ea typeface="微软雅黑" panose="020B0503020204020204" pitchFamily="34" charset="-122"/>
                </a:defRPr>
              </a:lvl1pPr>
            </a:lstStyle>
            <a:p>
              <a:r>
                <a:rPr lang="zh-CN" altLang="en-US" b="1" dirty="0"/>
                <a:t>员工总人数</a:t>
              </a:r>
              <a:endParaRPr lang="zh-CN" altLang="en-US" b="1" dirty="0"/>
            </a:p>
          </p:txBody>
        </p:sp>
      </p:grpSp>
      <p:sp>
        <p:nvSpPr>
          <p:cNvPr id="19" name="TextBox 18"/>
          <p:cNvSpPr txBox="1"/>
          <p:nvPr/>
        </p:nvSpPr>
        <p:spPr>
          <a:xfrm>
            <a:off x="1380298" y="142852"/>
            <a:ext cx="507209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dirty="0" smtClean="0">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300" advTm="3711">
        <p14:pan/>
      </p:transition>
    </mc:Choice>
    <mc:Fallback>
      <p:transition spd="slow" advTm="371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wipe(left)">
                                      <p:cBhvr>
                                        <p:cTn id="7" dur="500"/>
                                        <p:tgtEl>
                                          <p:spTgt spid="130"/>
                                        </p:tgtEl>
                                      </p:cBhvr>
                                    </p:animEffect>
                                  </p:childTnLst>
                                </p:cTn>
                              </p:par>
                            </p:childTnLst>
                          </p:cTn>
                        </p:par>
                        <p:par>
                          <p:cTn id="8" fill="hold">
                            <p:stCondLst>
                              <p:cond delay="500"/>
                            </p:stCondLst>
                            <p:childTnLst>
                              <p:par>
                                <p:cTn id="9" presetID="2" presetClass="entr" presetSubtype="1" decel="100000"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500" fill="hold"/>
                                        <p:tgtEl>
                                          <p:spTgt spid="32"/>
                                        </p:tgtEl>
                                        <p:attrNameLst>
                                          <p:attrName>ppt_x</p:attrName>
                                        </p:attrNameLst>
                                      </p:cBhvr>
                                      <p:tavLst>
                                        <p:tav tm="0">
                                          <p:val>
                                            <p:strVal val="#ppt_x"/>
                                          </p:val>
                                        </p:tav>
                                        <p:tav tm="100000">
                                          <p:val>
                                            <p:strVal val="#ppt_x"/>
                                          </p:val>
                                        </p:tav>
                                      </p:tavLst>
                                    </p:anim>
                                    <p:anim calcmode="lin" valueType="num">
                                      <p:cBhvr additive="base">
                                        <p:cTn id="12" dur="500" fill="hold"/>
                                        <p:tgtEl>
                                          <p:spTgt spid="32"/>
                                        </p:tgtEl>
                                        <p:attrNameLst>
                                          <p:attrName>ppt_y</p:attrName>
                                        </p:attrNameLst>
                                      </p:cBhvr>
                                      <p:tavLst>
                                        <p:tav tm="0">
                                          <p:val>
                                            <p:strVal val="0-#ppt_h/2"/>
                                          </p:val>
                                        </p:tav>
                                        <p:tav tm="100000">
                                          <p:val>
                                            <p:strVal val="#ppt_y"/>
                                          </p:val>
                                        </p:tav>
                                      </p:tavLst>
                                    </p:anim>
                                  </p:childTnLst>
                                </p:cTn>
                              </p:par>
                              <p:par>
                                <p:cTn id="13" presetID="10" presetClass="entr" presetSubtype="0" fill="hold" grpId="0" nodeType="withEffect">
                                  <p:stCondLst>
                                    <p:cond delay="0"/>
                                  </p:stCondLst>
                                  <p:iterate type="lt">
                                    <p:tmPct val="10000"/>
                                  </p:iterate>
                                  <p:childTnLst>
                                    <p:set>
                                      <p:cBhvr>
                                        <p:cTn id="14" dur="1" fill="hold">
                                          <p:stCondLst>
                                            <p:cond delay="0"/>
                                          </p:stCondLst>
                                        </p:cTn>
                                        <p:tgtEl>
                                          <p:spTgt spid="33"/>
                                        </p:tgtEl>
                                        <p:attrNameLst>
                                          <p:attrName>style.visibility</p:attrName>
                                        </p:attrNameLst>
                                      </p:cBhvr>
                                      <p:to>
                                        <p:strVal val="visible"/>
                                      </p:to>
                                    </p:set>
                                    <p:animEffect transition="in" filter="fade">
                                      <p:cBhvr>
                                        <p:cTn id="15" dur="20"/>
                                        <p:tgtEl>
                                          <p:spTgt spid="33"/>
                                        </p:tgtEl>
                                      </p:cBhvr>
                                    </p:animEffect>
                                  </p:childTnLst>
                                </p:cTn>
                              </p:par>
                              <p:par>
                                <p:cTn id="16" presetID="22" presetClass="entr" presetSubtype="8" fill="hold"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wipe(left)">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1000"/>
                                        <p:tgtEl>
                                          <p:spTgt spid="10"/>
                                        </p:tgtEl>
                                      </p:cBhvr>
                                    </p:animEffect>
                                    <p:anim calcmode="lin" valueType="num">
                                      <p:cBhvr>
                                        <p:cTn id="24" dur="1000" fill="hold"/>
                                        <p:tgtEl>
                                          <p:spTgt spid="10"/>
                                        </p:tgtEl>
                                        <p:attrNameLst>
                                          <p:attrName>ppt_x</p:attrName>
                                        </p:attrNameLst>
                                      </p:cBhvr>
                                      <p:tavLst>
                                        <p:tav tm="0">
                                          <p:val>
                                            <p:strVal val="#ppt_x"/>
                                          </p:val>
                                        </p:tav>
                                        <p:tav tm="100000">
                                          <p:val>
                                            <p:strVal val="#ppt_x"/>
                                          </p:val>
                                        </p:tav>
                                      </p:tavLst>
                                    </p:anim>
                                    <p:anim calcmode="lin" valueType="num">
                                      <p:cBhvr>
                                        <p:cTn id="25"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1000"/>
                                        <p:tgtEl>
                                          <p:spTgt spid="14"/>
                                        </p:tgtEl>
                                      </p:cBhvr>
                                    </p:animEffect>
                                    <p:anim calcmode="lin" valueType="num">
                                      <p:cBhvr>
                                        <p:cTn id="31" dur="1000" fill="hold"/>
                                        <p:tgtEl>
                                          <p:spTgt spid="14"/>
                                        </p:tgtEl>
                                        <p:attrNameLst>
                                          <p:attrName>ppt_x</p:attrName>
                                        </p:attrNameLst>
                                      </p:cBhvr>
                                      <p:tavLst>
                                        <p:tav tm="0">
                                          <p:val>
                                            <p:strVal val="#ppt_x"/>
                                          </p:val>
                                        </p:tav>
                                        <p:tav tm="100000">
                                          <p:val>
                                            <p:strVal val="#ppt_x"/>
                                          </p:val>
                                        </p:tav>
                                      </p:tavLst>
                                    </p:anim>
                                    <p:anim calcmode="lin" valueType="num">
                                      <p:cBhvr>
                                        <p:cTn id="32"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1000"/>
                                        <p:tgtEl>
                                          <p:spTgt spid="22"/>
                                        </p:tgtEl>
                                      </p:cBhvr>
                                    </p:animEffect>
                                    <p:anim calcmode="lin" valueType="num">
                                      <p:cBhvr>
                                        <p:cTn id="38" dur="1000" fill="hold"/>
                                        <p:tgtEl>
                                          <p:spTgt spid="22"/>
                                        </p:tgtEl>
                                        <p:attrNameLst>
                                          <p:attrName>ppt_x</p:attrName>
                                        </p:attrNameLst>
                                      </p:cBhvr>
                                      <p:tavLst>
                                        <p:tav tm="0">
                                          <p:val>
                                            <p:strVal val="#ppt_x"/>
                                          </p:val>
                                        </p:tav>
                                        <p:tav tm="100000">
                                          <p:val>
                                            <p:strVal val="#ppt_x"/>
                                          </p:val>
                                        </p:tav>
                                      </p:tavLst>
                                    </p:anim>
                                    <p:anim calcmode="lin" valueType="num">
                                      <p:cBhvr>
                                        <p:cTn id="39"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sp>
        <p:nvSpPr>
          <p:cNvPr id="36" name="TextBox 35"/>
          <p:cNvSpPr txBox="1"/>
          <p:nvPr/>
        </p:nvSpPr>
        <p:spPr>
          <a:xfrm>
            <a:off x="1380298" y="1357298"/>
            <a:ext cx="9929882" cy="1338828"/>
          </a:xfrm>
          <a:prstGeom prst="rect">
            <a:avLst/>
          </a:prstGeom>
          <a:noFill/>
        </p:spPr>
        <p:txBody>
          <a:bodyPr wrap="square" rtlCol="0" anchor="ctr">
            <a:spAutoFit/>
          </a:bodyPr>
          <a:lstStyle/>
          <a:p>
            <a:pPr>
              <a:lnSpc>
                <a:spcPct val="150000"/>
              </a:lnSpc>
            </a:pPr>
            <a:r>
              <a:rPr lang="zh-CN" altLang="en-US" dirty="0" smtClean="0">
                <a:solidFill>
                  <a:srgbClr val="FF0000"/>
                </a:solidFill>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日立电梯充分整合了亚洲研发中心、上海研发中心、扶梯研发中心、电机研发中心、日滨科技研发中心以及日本水户研发中心等研发机构的资源，形成了</a:t>
            </a:r>
            <a:r>
              <a:rPr lang="en-US" altLang="zh-CN" dirty="0" smtClean="0">
                <a:latin typeface="微软雅黑" panose="020B0503020204020204" pitchFamily="34" charset="-122"/>
                <a:ea typeface="微软雅黑" panose="020B0503020204020204" pitchFamily="34" charset="-122"/>
              </a:rPr>
              <a:t>5+1</a:t>
            </a:r>
            <a:r>
              <a:rPr lang="zh-CN" altLang="en-US" dirty="0" smtClean="0">
                <a:latin typeface="微软雅黑" panose="020B0503020204020204" pitchFamily="34" charset="-122"/>
                <a:ea typeface="微软雅黑" panose="020B0503020204020204" pitchFamily="34" charset="-122"/>
              </a:rPr>
              <a:t>研发网络体系，共同开发具有自主知识产权的高端电梯产品，实现资源共享最大化。</a:t>
            </a:r>
            <a:endParaRPr lang="zh-CN" altLang="en-US" dirty="0" smtClean="0">
              <a:latin typeface="微软雅黑" panose="020B0503020204020204" pitchFamily="34" charset="-122"/>
              <a:ea typeface="微软雅黑" panose="020B0503020204020204" pitchFamily="34" charset="-122"/>
            </a:endParaRPr>
          </a:p>
        </p:txBody>
      </p:sp>
      <p:grpSp>
        <p:nvGrpSpPr>
          <p:cNvPr id="28" name="组合 27"/>
          <p:cNvGrpSpPr/>
          <p:nvPr/>
        </p:nvGrpSpPr>
        <p:grpSpPr>
          <a:xfrm>
            <a:off x="523042" y="3357562"/>
            <a:ext cx="10501386" cy="3167765"/>
            <a:chOff x="523042" y="3357562"/>
            <a:chExt cx="10501386" cy="3167765"/>
          </a:xfrm>
        </p:grpSpPr>
        <p:grpSp>
          <p:nvGrpSpPr>
            <p:cNvPr id="60" name="组合 59"/>
            <p:cNvGrpSpPr/>
            <p:nvPr/>
          </p:nvGrpSpPr>
          <p:grpSpPr>
            <a:xfrm>
              <a:off x="523042" y="3500438"/>
              <a:ext cx="2716173" cy="2665231"/>
              <a:chOff x="808794" y="2500306"/>
              <a:chExt cx="2716173" cy="2665231"/>
            </a:xfrm>
          </p:grpSpPr>
          <p:grpSp>
            <p:nvGrpSpPr>
              <p:cNvPr id="42" name="组合 41"/>
              <p:cNvGrpSpPr/>
              <p:nvPr/>
            </p:nvGrpSpPr>
            <p:grpSpPr>
              <a:xfrm>
                <a:off x="808794" y="2500306"/>
                <a:ext cx="2716173" cy="1070775"/>
                <a:chOff x="611560" y="1746157"/>
                <a:chExt cx="2716173" cy="1070775"/>
              </a:xfrm>
            </p:grpSpPr>
            <p:sp>
              <p:nvSpPr>
                <p:cNvPr id="43" name="文本框 2"/>
                <p:cNvSpPr txBox="1"/>
                <p:nvPr/>
              </p:nvSpPr>
              <p:spPr>
                <a:xfrm>
                  <a:off x="968750" y="1746157"/>
                  <a:ext cx="2115887" cy="584775"/>
                </a:xfrm>
                <a:prstGeom prst="rect">
                  <a:avLst/>
                </a:prstGeom>
                <a:noFill/>
              </p:spPr>
              <p:txBody>
                <a:bodyPr wrap="square" rtlCol="0">
                  <a:spAutoFit/>
                </a:bodyPr>
                <a:lstStyle/>
                <a:p>
                  <a:pPr algn="ctr"/>
                  <a:r>
                    <a:rPr lang="en-US" altLang="zh-CN" sz="3200" b="1" dirty="0" smtClean="0">
                      <a:solidFill>
                        <a:srgbClr val="FF0000"/>
                      </a:solidFill>
                      <a:latin typeface="微软雅黑" panose="020B0503020204020204" pitchFamily="34" charset="-122"/>
                      <a:ea typeface="微软雅黑" panose="020B0503020204020204" pitchFamily="34" charset="-122"/>
                    </a:rPr>
                    <a:t>1100</a:t>
                  </a:r>
                  <a:r>
                    <a:rPr lang="en-US" altLang="zh-CN" sz="3200" b="1" baseline="30000" dirty="0" smtClean="0">
                      <a:solidFill>
                        <a:srgbClr val="FF0000"/>
                      </a:solidFill>
                      <a:latin typeface="微软雅黑" panose="020B0503020204020204" pitchFamily="34" charset="-122"/>
                      <a:ea typeface="微软雅黑" panose="020B0503020204020204" pitchFamily="34" charset="-122"/>
                    </a:rPr>
                    <a:t>+</a:t>
                  </a:r>
                  <a:r>
                    <a:rPr lang="zh-CN" altLang="en-US" sz="3200" b="1" baseline="30000" dirty="0" smtClean="0">
                      <a:solidFill>
                        <a:srgbClr val="FF0000"/>
                      </a:solidFill>
                      <a:latin typeface="微软雅黑" panose="020B0503020204020204" pitchFamily="34" charset="-122"/>
                      <a:ea typeface="微软雅黑" panose="020B0503020204020204" pitchFamily="34" charset="-122"/>
                    </a:rPr>
                    <a:t>名</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cxnSp>
              <p:nvCxnSpPr>
                <p:cNvPr id="44" name="直接连接符 43"/>
                <p:cNvCxnSpPr/>
                <p:nvPr/>
              </p:nvCxnSpPr>
              <p:spPr>
                <a:xfrm>
                  <a:off x="1028215" y="2442263"/>
                  <a:ext cx="1882863" cy="0"/>
                </a:xfrm>
                <a:prstGeom prst="line">
                  <a:avLst/>
                </a:prstGeom>
                <a:ln w="158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611560" y="2509155"/>
                  <a:ext cx="2716173" cy="307777"/>
                </a:xfrm>
                <a:prstGeom prst="rect">
                  <a:avLst/>
                </a:prstGeom>
                <a:noFill/>
              </p:spPr>
              <p:txBody>
                <a:bodyPr wrap="square" rtlCol="0">
                  <a:spAutoFit/>
                </a:bodyPr>
                <a:lstStyle/>
                <a:p>
                  <a:pPr algn="ctr"/>
                  <a:r>
                    <a:rPr lang="zh-CN" altLang="en-US" sz="1400" dirty="0" smtClean="0">
                      <a:latin typeface="微软雅黑" panose="020B0503020204020204" pitchFamily="34" charset="-122"/>
                      <a:ea typeface="微软雅黑" panose="020B0503020204020204" pitchFamily="34" charset="-122"/>
                    </a:rPr>
                    <a:t>专业研发</a:t>
                  </a:r>
                  <a:r>
                    <a:rPr lang="zh-CN" altLang="en-US" sz="1400" dirty="0" smtClean="0">
                      <a:solidFill>
                        <a:schemeClr val="bg1"/>
                      </a:solidFill>
                      <a:latin typeface="微软雅黑" panose="020B0503020204020204" pitchFamily="34" charset="-122"/>
                      <a:ea typeface="微软雅黑" panose="020B0503020204020204" pitchFamily="34" charset="-122"/>
                    </a:rPr>
                    <a:t>人员</a:t>
                  </a:r>
                  <a:endParaRPr lang="zh-CN" altLang="en-US" sz="1400" dirty="0" smtClean="0">
                    <a:solidFill>
                      <a:schemeClr val="bg1"/>
                    </a:solidFill>
                    <a:latin typeface="微软雅黑" panose="020B0503020204020204" pitchFamily="34" charset="-122"/>
                    <a:ea typeface="微软雅黑" panose="020B0503020204020204" pitchFamily="34" charset="-122"/>
                  </a:endParaRPr>
                </a:p>
              </p:txBody>
            </p:sp>
          </p:grpSp>
          <p:grpSp>
            <p:nvGrpSpPr>
              <p:cNvPr id="46" name="组合 45"/>
              <p:cNvGrpSpPr/>
              <p:nvPr/>
            </p:nvGrpSpPr>
            <p:grpSpPr>
              <a:xfrm>
                <a:off x="808794" y="4071942"/>
                <a:ext cx="2716173" cy="1093595"/>
                <a:chOff x="-1603018" y="3317793"/>
                <a:chExt cx="2716173" cy="1093595"/>
              </a:xfrm>
            </p:grpSpPr>
            <p:sp>
              <p:nvSpPr>
                <p:cNvPr id="47" name="文本框 2"/>
                <p:cNvSpPr txBox="1"/>
                <p:nvPr/>
              </p:nvSpPr>
              <p:spPr>
                <a:xfrm>
                  <a:off x="-1388704" y="3317793"/>
                  <a:ext cx="2115887" cy="584775"/>
                </a:xfrm>
                <a:prstGeom prst="rect">
                  <a:avLst/>
                </a:prstGeom>
                <a:noFill/>
              </p:spPr>
              <p:txBody>
                <a:bodyPr wrap="square" rtlCol="0">
                  <a:spAutoFit/>
                </a:bodyPr>
                <a:lstStyle/>
                <a:p>
                  <a:pPr algn="ctr"/>
                  <a:r>
                    <a:rPr lang="en-US" altLang="zh-CN" sz="3200" b="1" dirty="0" smtClean="0">
                      <a:solidFill>
                        <a:srgbClr val="FF0000"/>
                      </a:solidFill>
                      <a:latin typeface="微软雅黑" panose="020B0503020204020204" pitchFamily="34" charset="-122"/>
                      <a:ea typeface="微软雅黑" panose="020B0503020204020204" pitchFamily="34" charset="-122"/>
                    </a:rPr>
                    <a:t>400</a:t>
                  </a:r>
                  <a:r>
                    <a:rPr lang="en-US" altLang="zh-CN" sz="3200" b="1" baseline="30000" dirty="0" smtClean="0">
                      <a:solidFill>
                        <a:srgbClr val="FF0000"/>
                      </a:solidFill>
                      <a:latin typeface="微软雅黑" panose="020B0503020204020204" pitchFamily="34" charset="-122"/>
                      <a:ea typeface="微软雅黑" panose="020B0503020204020204" pitchFamily="34" charset="-122"/>
                    </a:rPr>
                    <a:t>+</a:t>
                  </a:r>
                  <a:r>
                    <a:rPr lang="zh-CN" altLang="en-US" sz="3200" b="1" baseline="30000" dirty="0" smtClean="0">
                      <a:solidFill>
                        <a:srgbClr val="FF0000"/>
                      </a:solidFill>
                      <a:latin typeface="微软雅黑" panose="020B0503020204020204" pitchFamily="34" charset="-122"/>
                      <a:ea typeface="微软雅黑" panose="020B0503020204020204" pitchFamily="34" charset="-122"/>
                    </a:rPr>
                    <a:t>项</a:t>
                  </a:r>
                  <a:endParaRPr lang="zh-CN" altLang="en-US" sz="3200" b="1" dirty="0">
                    <a:solidFill>
                      <a:srgbClr val="FF0000"/>
                    </a:solidFill>
                    <a:latin typeface="微软雅黑" panose="020B0503020204020204" pitchFamily="34" charset="-122"/>
                    <a:ea typeface="微软雅黑" panose="020B0503020204020204" pitchFamily="34" charset="-122"/>
                  </a:endParaRPr>
                </a:p>
              </p:txBody>
            </p:sp>
            <p:cxnSp>
              <p:nvCxnSpPr>
                <p:cNvPr id="58" name="直接连接符 57"/>
                <p:cNvCxnSpPr/>
                <p:nvPr/>
              </p:nvCxnSpPr>
              <p:spPr>
                <a:xfrm>
                  <a:off x="-1174390" y="3960735"/>
                  <a:ext cx="1882863"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1603018" y="4103611"/>
                  <a:ext cx="2716173" cy="307777"/>
                </a:xfrm>
                <a:prstGeom prst="rect">
                  <a:avLst/>
                </a:prstGeom>
                <a:noFill/>
              </p:spPr>
              <p:txBody>
                <a:bodyPr wrap="square" rtlCol="0">
                  <a:spAutoFit/>
                </a:bodyPr>
                <a:lstStyle/>
                <a:p>
                  <a:pPr algn="ctr"/>
                  <a:r>
                    <a:rPr lang="zh-CN" altLang="en-US" sz="1400" dirty="0" smtClean="0">
                      <a:latin typeface="微软雅黑" panose="020B0503020204020204" pitchFamily="34" charset="-122"/>
                      <a:ea typeface="微软雅黑" panose="020B0503020204020204" pitchFamily="34" charset="-122"/>
                    </a:rPr>
                    <a:t>专业授权数</a:t>
                  </a:r>
                  <a:endParaRPr lang="zh-CN" altLang="en-US" sz="1400" dirty="0" smtClean="0">
                    <a:latin typeface="微软雅黑" panose="020B0503020204020204" pitchFamily="34" charset="-122"/>
                    <a:ea typeface="微软雅黑" panose="020B0503020204020204" pitchFamily="34" charset="-122"/>
                  </a:endParaRPr>
                </a:p>
              </p:txBody>
            </p:sp>
          </p:grpSp>
        </p:grpSp>
        <p:pic>
          <p:nvPicPr>
            <p:cNvPr id="70" name="图片 69" descr="日本水户.png"/>
            <p:cNvPicPr>
              <a:picLocks noChangeAspect="1"/>
            </p:cNvPicPr>
            <p:nvPr/>
          </p:nvPicPr>
          <p:blipFill>
            <a:blip r:embed="rId1"/>
            <a:stretch>
              <a:fillRect/>
            </a:stretch>
          </p:blipFill>
          <p:spPr>
            <a:xfrm>
              <a:off x="9238478" y="4143380"/>
              <a:ext cx="1785950" cy="2187338"/>
            </a:xfrm>
            <a:prstGeom prst="rect">
              <a:avLst/>
            </a:prstGeom>
          </p:spPr>
        </p:pic>
        <p:grpSp>
          <p:nvGrpSpPr>
            <p:cNvPr id="73" name="组合 72"/>
            <p:cNvGrpSpPr/>
            <p:nvPr/>
          </p:nvGrpSpPr>
          <p:grpSpPr>
            <a:xfrm>
              <a:off x="3880628" y="3357562"/>
              <a:ext cx="3786215" cy="3167765"/>
              <a:chOff x="808794" y="3643314"/>
              <a:chExt cx="3786215" cy="3167765"/>
            </a:xfrm>
          </p:grpSpPr>
          <p:pic>
            <p:nvPicPr>
              <p:cNvPr id="67" name="图片 66" descr="点击.png"/>
              <p:cNvPicPr>
                <a:picLocks noChangeAspect="1"/>
              </p:cNvPicPr>
              <p:nvPr/>
            </p:nvPicPr>
            <p:blipFill>
              <a:blip r:embed="rId2"/>
              <a:stretch>
                <a:fillRect/>
              </a:stretch>
            </p:blipFill>
            <p:spPr>
              <a:xfrm>
                <a:off x="2666183" y="5572116"/>
                <a:ext cx="1928826" cy="1219828"/>
              </a:xfrm>
              <a:prstGeom prst="rect">
                <a:avLst/>
              </a:prstGeom>
            </p:spPr>
          </p:pic>
          <p:pic>
            <p:nvPicPr>
              <p:cNvPr id="68" name="图片 67" descr="扶梯.png"/>
              <p:cNvPicPr>
                <a:picLocks noChangeAspect="1"/>
              </p:cNvPicPr>
              <p:nvPr/>
            </p:nvPicPr>
            <p:blipFill>
              <a:blip r:embed="rId3" cstate="print"/>
              <a:stretch>
                <a:fillRect/>
              </a:stretch>
            </p:blipFill>
            <p:spPr>
              <a:xfrm>
                <a:off x="808794" y="5357826"/>
                <a:ext cx="1857388" cy="1453253"/>
              </a:xfrm>
              <a:prstGeom prst="rect">
                <a:avLst/>
              </a:prstGeom>
            </p:spPr>
          </p:pic>
          <p:pic>
            <p:nvPicPr>
              <p:cNvPr id="69" name="图片 68" descr="日滨.png"/>
              <p:cNvPicPr>
                <a:picLocks noChangeAspect="1"/>
              </p:cNvPicPr>
              <p:nvPr/>
            </p:nvPicPr>
            <p:blipFill>
              <a:blip r:embed="rId4" cstate="print"/>
              <a:stretch>
                <a:fillRect/>
              </a:stretch>
            </p:blipFill>
            <p:spPr>
              <a:xfrm>
                <a:off x="2666182" y="4357694"/>
                <a:ext cx="1928826" cy="1215745"/>
              </a:xfrm>
              <a:prstGeom prst="rect">
                <a:avLst/>
              </a:prstGeom>
            </p:spPr>
          </p:pic>
          <p:pic>
            <p:nvPicPr>
              <p:cNvPr id="71" name="图片 70" descr="亚洲.jpg"/>
              <p:cNvPicPr>
                <a:picLocks noChangeAspect="1"/>
              </p:cNvPicPr>
              <p:nvPr/>
            </p:nvPicPr>
            <p:blipFill>
              <a:blip r:embed="rId5"/>
              <a:stretch>
                <a:fillRect/>
              </a:stretch>
            </p:blipFill>
            <p:spPr>
              <a:xfrm>
                <a:off x="808794" y="3643314"/>
                <a:ext cx="928694" cy="1721572"/>
              </a:xfrm>
              <a:prstGeom prst="rect">
                <a:avLst/>
              </a:prstGeom>
            </p:spPr>
          </p:pic>
          <p:pic>
            <p:nvPicPr>
              <p:cNvPr id="72" name="图片 71" descr="亚洲研发.jpg"/>
              <p:cNvPicPr>
                <a:picLocks noChangeAspect="1"/>
              </p:cNvPicPr>
              <p:nvPr/>
            </p:nvPicPr>
            <p:blipFill>
              <a:blip r:embed="rId6"/>
              <a:stretch>
                <a:fillRect/>
              </a:stretch>
            </p:blipFill>
            <p:spPr>
              <a:xfrm>
                <a:off x="1737489" y="3643315"/>
                <a:ext cx="930214" cy="1714512"/>
              </a:xfrm>
              <a:prstGeom prst="rect">
                <a:avLst/>
              </a:prstGeom>
            </p:spPr>
          </p:pic>
        </p:grpSp>
        <p:sp>
          <p:nvSpPr>
            <p:cNvPr id="2" name="文本框 1"/>
            <p:cNvSpPr txBox="1"/>
            <p:nvPr/>
          </p:nvSpPr>
          <p:spPr>
            <a:xfrm>
              <a:off x="6238082" y="3500438"/>
              <a:ext cx="764540" cy="521970"/>
            </a:xfrm>
            <a:prstGeom prst="rect">
              <a:avLst/>
            </a:prstGeom>
            <a:noFill/>
          </p:spPr>
          <p:txBody>
            <a:bodyPr wrap="square" rtlCol="0" anchor="ctr">
              <a:spAutoFit/>
            </a:bodyPr>
            <a:lstStyle/>
            <a:p>
              <a:r>
                <a:rPr lang="en-US" altLang="zh-CN" sz="2800" b="1" dirty="0" smtClean="0">
                  <a:solidFill>
                    <a:srgbClr val="FF0000"/>
                  </a:solidFill>
                  <a:latin typeface="微软雅黑" panose="020B0503020204020204" pitchFamily="34" charset="-122"/>
                  <a:ea typeface="微软雅黑" panose="020B0503020204020204" pitchFamily="34" charset="-122"/>
                </a:rPr>
                <a:t>5</a:t>
              </a:r>
              <a:endParaRPr lang="en-US" altLang="zh-CN" sz="2800" b="1" dirty="0" smtClean="0">
                <a:solidFill>
                  <a:srgbClr val="FF0000"/>
                </a:solidFill>
                <a:latin typeface="微软雅黑" panose="020B0503020204020204" pitchFamily="34" charset="-122"/>
                <a:ea typeface="微软雅黑" panose="020B0503020204020204" pitchFamily="34" charset="-122"/>
              </a:endParaRPr>
            </a:p>
          </p:txBody>
        </p:sp>
        <p:sp>
          <p:nvSpPr>
            <p:cNvPr id="3" name="文本框 2"/>
            <p:cNvSpPr txBox="1"/>
            <p:nvPr/>
          </p:nvSpPr>
          <p:spPr>
            <a:xfrm>
              <a:off x="9881420" y="3500438"/>
              <a:ext cx="429260" cy="521970"/>
            </a:xfrm>
            <a:prstGeom prst="rect">
              <a:avLst/>
            </a:prstGeom>
            <a:noFill/>
          </p:spPr>
          <p:txBody>
            <a:bodyPr wrap="square" rtlCol="0" anchor="ctr">
              <a:spAutoFit/>
            </a:bodyPr>
            <a:lstStyle/>
            <a:p>
              <a:r>
                <a:rPr lang="en-US" altLang="zh-CN" sz="2800" b="1" dirty="0" smtClean="0">
                  <a:solidFill>
                    <a:srgbClr val="FF0000"/>
                  </a:solidFill>
                  <a:latin typeface="微软雅黑" panose="020B0503020204020204" pitchFamily="34" charset="-122"/>
                  <a:ea typeface="微软雅黑" panose="020B0503020204020204" pitchFamily="34" charset="-122"/>
                </a:rPr>
                <a:t>1</a:t>
              </a:r>
              <a:endParaRPr lang="en-US" altLang="zh-CN" sz="2800" b="1" dirty="0" smtClean="0">
                <a:solidFill>
                  <a:srgbClr val="FF0000"/>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8166908" y="5000636"/>
              <a:ext cx="473710" cy="521970"/>
            </a:xfrm>
            <a:prstGeom prst="rect">
              <a:avLst/>
            </a:prstGeom>
            <a:noFill/>
          </p:spPr>
          <p:txBody>
            <a:bodyPr wrap="square" rtlCol="0" anchor="ctr">
              <a:spAutoFit/>
            </a:bodyPr>
            <a:lstStyle/>
            <a:p>
              <a:r>
                <a:rPr lang="en-US" altLang="zh-CN" sz="2800" b="1" dirty="0" smtClean="0">
                  <a:solidFill>
                    <a:srgbClr val="FF0000"/>
                  </a:solidFill>
                  <a:latin typeface="微软雅黑" panose="020B0503020204020204" pitchFamily="34" charset="-122"/>
                  <a:ea typeface="微软雅黑" panose="020B0503020204020204" pitchFamily="34" charset="-122"/>
                </a:rPr>
                <a:t>+</a:t>
              </a:r>
              <a:endParaRPr lang="en-US" altLang="zh-CN" sz="2800" b="1" dirty="0" smtClean="0">
                <a:solidFill>
                  <a:srgbClr val="FF0000"/>
                </a:solidFill>
                <a:latin typeface="微软雅黑" panose="020B0503020204020204" pitchFamily="34" charset="-122"/>
                <a:ea typeface="微软雅黑" panose="020B0503020204020204" pitchFamily="34" charset="-122"/>
              </a:endParaRPr>
            </a:p>
          </p:txBody>
        </p:sp>
      </p:grpSp>
      <p:sp>
        <p:nvSpPr>
          <p:cNvPr id="25" name="TextBox 24"/>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sz="2400" b="1" dirty="0" smtClean="0">
              <a:latin typeface="微软雅黑" panose="020B0503020204020204" pitchFamily="34" charset="-122"/>
              <a:ea typeface="微软雅黑" panose="020B0503020204020204" pitchFamily="34" charset="-122"/>
            </a:endParaRPr>
          </a:p>
        </p:txBody>
      </p:sp>
      <p:sp>
        <p:nvSpPr>
          <p:cNvPr id="26" name="TextBox 25"/>
          <p:cNvSpPr txBox="1"/>
          <p:nvPr/>
        </p:nvSpPr>
        <p:spPr>
          <a:xfrm>
            <a:off x="1380298" y="928670"/>
            <a:ext cx="2857520" cy="369332"/>
          </a:xfrm>
          <a:prstGeom prst="rect">
            <a:avLst/>
          </a:prstGeom>
          <a:noFill/>
        </p:spPr>
        <p:txBody>
          <a:bodyPr wrap="square" rtlCol="0" anchor="ctr">
            <a:spAutoFit/>
          </a:bodyPr>
          <a:lstStyle/>
          <a:p>
            <a:r>
              <a:rPr lang="en-US" altLang="zh-CN" b="1" dirty="0" smtClean="0">
                <a:latin typeface="微软雅黑" panose="020B0503020204020204" pitchFamily="34" charset="-122"/>
                <a:ea typeface="微软雅黑" panose="020B0503020204020204" pitchFamily="34" charset="-122"/>
              </a:rPr>
              <a:t>5+1</a:t>
            </a:r>
            <a:r>
              <a:rPr lang="zh-CN" altLang="en-US" b="1" dirty="0" smtClean="0">
                <a:latin typeface="微软雅黑" panose="020B0503020204020204" pitchFamily="34" charset="-122"/>
                <a:ea typeface="微软雅黑" panose="020B0503020204020204" pitchFamily="34" charset="-122"/>
              </a:rPr>
              <a:t>研发网络体系</a:t>
            </a:r>
            <a:endParaRPr lang="zh-CN" altLang="en-US" b="1" dirty="0" smtClean="0">
              <a:latin typeface="微软雅黑" panose="020B0503020204020204" pitchFamily="34" charset="-122"/>
              <a:ea typeface="微软雅黑" panose="020B0503020204020204" pitchFamily="34" charset="-122"/>
            </a:endParaRPr>
          </a:p>
        </p:txBody>
      </p:sp>
    </p:spTree>
    <p:custDataLst>
      <p:tags r:id="rId7"/>
    </p:custDataLst>
  </p:cSld>
  <p:clrMapOvr>
    <a:masterClrMapping/>
  </p:clrMapOvr>
  <mc:AlternateContent xmlns:mc="http://schemas.openxmlformats.org/markup-compatibility/2006">
    <mc:Choice xmlns:p14="http://schemas.microsoft.com/office/powerpoint/2010/main" Requires="p14">
      <p:transition spd="slow" p14:dur="800" advTm="4423">
        <p14:flythrough/>
      </p:transition>
    </mc:Choice>
    <mc:Fallback>
      <p:transition spd="slow" advTm="442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1000"/>
                                        <p:tgtEl>
                                          <p:spTgt spid="36"/>
                                        </p:tgtEl>
                                      </p:cBhvr>
                                    </p:animEffect>
                                  </p:childTnLst>
                                </p:cTn>
                              </p:par>
                            </p:childTnLst>
                          </p:cTn>
                        </p:par>
                        <p:par>
                          <p:cTn id="13" fill="hold">
                            <p:stCondLst>
                              <p:cond delay="1500"/>
                            </p:stCondLst>
                            <p:childTnLst>
                              <p:par>
                                <p:cTn id="14" presetID="10" presetClass="entr" presetSubtype="0" fill="hold" nodeType="after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1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hidden="1"/>
          <p:cNvSpPr/>
          <p:nvPr/>
        </p:nvSpPr>
        <p:spPr bwMode="auto">
          <a:xfrm>
            <a:off x="2322407" y="2712798"/>
            <a:ext cx="924272" cy="916898"/>
          </a:xfrm>
          <a:custGeom>
            <a:avLst/>
            <a:gdLst>
              <a:gd name="T0" fmla="*/ 2 w 159"/>
              <a:gd name="T1" fmla="*/ 0 h 158"/>
              <a:gd name="T2" fmla="*/ 0 w 159"/>
              <a:gd name="T3" fmla="*/ 0 h 158"/>
              <a:gd name="T4" fmla="*/ 0 w 159"/>
              <a:gd name="T5" fmla="*/ 6 h 158"/>
              <a:gd name="T6" fmla="*/ 0 w 159"/>
              <a:gd name="T7" fmla="*/ 106 h 158"/>
              <a:gd name="T8" fmla="*/ 0 w 159"/>
              <a:gd name="T9" fmla="*/ 158 h 158"/>
              <a:gd name="T10" fmla="*/ 159 w 159"/>
              <a:gd name="T11" fmla="*/ 158 h 158"/>
              <a:gd name="T12" fmla="*/ 159 w 159"/>
              <a:gd name="T13" fmla="*/ 157 h 158"/>
              <a:gd name="T14" fmla="*/ 2 w 159"/>
              <a:gd name="T15" fmla="*/ 0 h 1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58">
                <a:moveTo>
                  <a:pt x="2" y="0"/>
                </a:moveTo>
                <a:cubicBezTo>
                  <a:pt x="1" y="0"/>
                  <a:pt x="1" y="0"/>
                  <a:pt x="0" y="0"/>
                </a:cubicBezTo>
                <a:cubicBezTo>
                  <a:pt x="0" y="6"/>
                  <a:pt x="0" y="6"/>
                  <a:pt x="0" y="6"/>
                </a:cubicBezTo>
                <a:cubicBezTo>
                  <a:pt x="0" y="106"/>
                  <a:pt x="0" y="106"/>
                  <a:pt x="0" y="106"/>
                </a:cubicBezTo>
                <a:cubicBezTo>
                  <a:pt x="0" y="158"/>
                  <a:pt x="0" y="158"/>
                  <a:pt x="0" y="158"/>
                </a:cubicBezTo>
                <a:cubicBezTo>
                  <a:pt x="159" y="158"/>
                  <a:pt x="159" y="158"/>
                  <a:pt x="159" y="158"/>
                </a:cubicBezTo>
                <a:cubicBezTo>
                  <a:pt x="159" y="157"/>
                  <a:pt x="159" y="157"/>
                  <a:pt x="159" y="157"/>
                </a:cubicBezTo>
                <a:cubicBezTo>
                  <a:pt x="159" y="70"/>
                  <a:pt x="89" y="0"/>
                  <a:pt x="2" y="0"/>
                </a:cubicBezTo>
                <a:close/>
              </a:path>
            </a:pathLst>
          </a:custGeom>
          <a:solidFill>
            <a:schemeClr val="bg1">
              <a:lumMod val="85000"/>
            </a:schemeClr>
          </a:solidFill>
          <a:ln>
            <a:noFill/>
          </a:ln>
        </p:spPr>
        <p:txBody>
          <a:bodyPr vert="horz" wrap="square" lIns="91440" tIns="45720" rIns="91440" bIns="45720" numCol="1" anchor="t" anchorCtr="0" compatLnSpc="1"/>
          <a:lstStyle/>
          <a:p>
            <a:endParaRPr lang="zh-CN" altLang="en-US"/>
          </a:p>
        </p:txBody>
      </p:sp>
      <p:grpSp>
        <p:nvGrpSpPr>
          <p:cNvPr id="22" name="组合 21"/>
          <p:cNvGrpSpPr/>
          <p:nvPr/>
        </p:nvGrpSpPr>
        <p:grpSpPr>
          <a:xfrm>
            <a:off x="1451736" y="2714620"/>
            <a:ext cx="4327102" cy="3429024"/>
            <a:chOff x="1594612" y="2857496"/>
            <a:chExt cx="4327102" cy="3429024"/>
          </a:xfrm>
        </p:grpSpPr>
        <p:grpSp>
          <p:nvGrpSpPr>
            <p:cNvPr id="21" name="组合 20"/>
            <p:cNvGrpSpPr/>
            <p:nvPr/>
          </p:nvGrpSpPr>
          <p:grpSpPr>
            <a:xfrm>
              <a:off x="1594612" y="2857496"/>
              <a:ext cx="4327102" cy="3429024"/>
              <a:chOff x="880232" y="2857496"/>
              <a:chExt cx="4327102" cy="3429024"/>
            </a:xfrm>
          </p:grpSpPr>
          <p:pic>
            <p:nvPicPr>
              <p:cNvPr id="78853" name="Picture 5" descr="C:\Users\yq38753.HITACHI-SD\Desktop\抠图\抠图\QQ图片20170914192350.png"/>
              <p:cNvPicPr>
                <a:picLocks noChangeAspect="1" noChangeArrowheads="1"/>
              </p:cNvPicPr>
              <p:nvPr/>
            </p:nvPicPr>
            <p:blipFill>
              <a:blip r:embed="rId1"/>
              <a:srcRect/>
              <a:stretch>
                <a:fillRect/>
              </a:stretch>
            </p:blipFill>
            <p:spPr bwMode="auto">
              <a:xfrm>
                <a:off x="3737752" y="4929198"/>
                <a:ext cx="1469582" cy="1357322"/>
              </a:xfrm>
              <a:prstGeom prst="rect">
                <a:avLst/>
              </a:prstGeom>
              <a:noFill/>
            </p:spPr>
          </p:pic>
          <p:pic>
            <p:nvPicPr>
              <p:cNvPr id="78858" name="Picture 10" descr="C:\Users\yq38753.HITACHI-SD\Desktop\抠图\抠图\QQ图片20170914192406.png"/>
              <p:cNvPicPr>
                <a:picLocks noChangeAspect="1" noChangeArrowheads="1"/>
              </p:cNvPicPr>
              <p:nvPr/>
            </p:nvPicPr>
            <p:blipFill>
              <a:blip r:embed="rId2"/>
              <a:srcRect/>
              <a:stretch>
                <a:fillRect/>
              </a:stretch>
            </p:blipFill>
            <p:spPr bwMode="auto">
              <a:xfrm>
                <a:off x="880232" y="2857496"/>
                <a:ext cx="1445400" cy="2068766"/>
              </a:xfrm>
              <a:prstGeom prst="rect">
                <a:avLst/>
              </a:prstGeom>
              <a:noFill/>
            </p:spPr>
          </p:pic>
          <p:pic>
            <p:nvPicPr>
              <p:cNvPr id="54" name="Picture 4" descr="C:\Users\yq38753.HITACHI-SD\Desktop\抠图\抠图\QQ图片20170914192335.png"/>
              <p:cNvPicPr>
                <a:picLocks noChangeAspect="1" noChangeArrowheads="1"/>
              </p:cNvPicPr>
              <p:nvPr/>
            </p:nvPicPr>
            <p:blipFill>
              <a:blip r:embed="rId3"/>
              <a:srcRect/>
              <a:stretch>
                <a:fillRect/>
              </a:stretch>
            </p:blipFill>
            <p:spPr bwMode="auto">
              <a:xfrm>
                <a:off x="2308991" y="4929198"/>
                <a:ext cx="1428760" cy="1331564"/>
              </a:xfrm>
              <a:prstGeom prst="rect">
                <a:avLst/>
              </a:prstGeom>
              <a:noFill/>
            </p:spPr>
          </p:pic>
          <p:pic>
            <p:nvPicPr>
              <p:cNvPr id="55" name="Picture 6" descr="C:\Users\yq38753.HITACHI-SD\Desktop\抠图\抠图\QQ图片20170914192417.png"/>
              <p:cNvPicPr>
                <a:picLocks noChangeAspect="1" noChangeArrowheads="1"/>
              </p:cNvPicPr>
              <p:nvPr/>
            </p:nvPicPr>
            <p:blipFill>
              <a:blip r:embed="rId4"/>
              <a:srcRect/>
              <a:stretch>
                <a:fillRect/>
              </a:stretch>
            </p:blipFill>
            <p:spPr bwMode="auto">
              <a:xfrm>
                <a:off x="2308992" y="3568940"/>
                <a:ext cx="1428759" cy="1360257"/>
              </a:xfrm>
              <a:prstGeom prst="rect">
                <a:avLst/>
              </a:prstGeom>
              <a:noFill/>
            </p:spPr>
          </p:pic>
          <p:pic>
            <p:nvPicPr>
              <p:cNvPr id="56" name="Picture 8" descr="C:\Users\yq38753.HITACHI-SD\Desktop\抠图\抠图\QQ图片20170914192427.png"/>
              <p:cNvPicPr>
                <a:picLocks noChangeAspect="1" noChangeArrowheads="1"/>
              </p:cNvPicPr>
              <p:nvPr/>
            </p:nvPicPr>
            <p:blipFill>
              <a:blip r:embed="rId5"/>
              <a:srcRect/>
              <a:stretch>
                <a:fillRect/>
              </a:stretch>
            </p:blipFill>
            <p:spPr bwMode="auto">
              <a:xfrm>
                <a:off x="880232" y="4929198"/>
                <a:ext cx="1428760" cy="1320174"/>
              </a:xfrm>
              <a:prstGeom prst="rect">
                <a:avLst/>
              </a:prstGeom>
              <a:noFill/>
            </p:spPr>
          </p:pic>
        </p:grpSp>
        <p:sp>
          <p:nvSpPr>
            <p:cNvPr id="2" name="文本框 1"/>
            <p:cNvSpPr txBox="1"/>
            <p:nvPr/>
          </p:nvSpPr>
          <p:spPr>
            <a:xfrm>
              <a:off x="3380562" y="2928934"/>
              <a:ext cx="764540" cy="521970"/>
            </a:xfrm>
            <a:prstGeom prst="rect">
              <a:avLst/>
            </a:prstGeom>
            <a:noFill/>
          </p:spPr>
          <p:txBody>
            <a:bodyPr wrap="square" rtlCol="0" anchor="ctr">
              <a:spAutoFit/>
            </a:bodyPr>
            <a:lstStyle/>
            <a:p>
              <a:r>
                <a:rPr lang="en-US" altLang="zh-CN" sz="2800" b="1" dirty="0" smtClean="0">
                  <a:solidFill>
                    <a:srgbClr val="FF0000"/>
                  </a:solidFill>
                  <a:latin typeface="微软雅黑" panose="020B0503020204020204" pitchFamily="34" charset="-122"/>
                  <a:ea typeface="微软雅黑" panose="020B0503020204020204" pitchFamily="34" charset="-122"/>
                </a:rPr>
                <a:t>5</a:t>
              </a:r>
              <a:endParaRPr lang="en-US" altLang="zh-CN" sz="2800" b="1" dirty="0" smtClean="0">
                <a:solidFill>
                  <a:srgbClr val="FF0000"/>
                </a:solidFill>
                <a:latin typeface="微软雅黑" panose="020B0503020204020204" pitchFamily="34" charset="-122"/>
                <a:ea typeface="微软雅黑" panose="020B0503020204020204" pitchFamily="34" charset="-122"/>
              </a:endParaRPr>
            </a:p>
          </p:txBody>
        </p:sp>
      </p:grpSp>
      <p:sp>
        <p:nvSpPr>
          <p:cNvPr id="5" name="文本框 4"/>
          <p:cNvSpPr txBox="1"/>
          <p:nvPr/>
        </p:nvSpPr>
        <p:spPr>
          <a:xfrm>
            <a:off x="6523834" y="4429132"/>
            <a:ext cx="473710" cy="521970"/>
          </a:xfrm>
          <a:prstGeom prst="rect">
            <a:avLst/>
          </a:prstGeom>
          <a:noFill/>
        </p:spPr>
        <p:txBody>
          <a:bodyPr wrap="square" rtlCol="0" anchor="ctr">
            <a:spAutoFit/>
          </a:bodyPr>
          <a:lstStyle/>
          <a:p>
            <a:r>
              <a:rPr lang="en-US" altLang="zh-CN" sz="2800" b="1" dirty="0" smtClean="0">
                <a:solidFill>
                  <a:srgbClr val="FF0000"/>
                </a:solidFill>
                <a:latin typeface="微软雅黑" panose="020B0503020204020204" pitchFamily="34" charset="-122"/>
                <a:ea typeface="微软雅黑" panose="020B0503020204020204" pitchFamily="34" charset="-122"/>
              </a:rPr>
              <a:t>+</a:t>
            </a:r>
            <a:endParaRPr lang="en-US" altLang="zh-CN" sz="2800" b="1" dirty="0" smtClean="0">
              <a:solidFill>
                <a:srgbClr val="FF0000"/>
              </a:solidFill>
              <a:latin typeface="微软雅黑" panose="020B0503020204020204" pitchFamily="34" charset="-122"/>
              <a:ea typeface="微软雅黑" panose="020B0503020204020204" pitchFamily="34" charset="-122"/>
            </a:endParaRPr>
          </a:p>
        </p:txBody>
      </p:sp>
      <p:grpSp>
        <p:nvGrpSpPr>
          <p:cNvPr id="25" name="组合 24"/>
          <p:cNvGrpSpPr/>
          <p:nvPr/>
        </p:nvGrpSpPr>
        <p:grpSpPr>
          <a:xfrm>
            <a:off x="8166908" y="2857496"/>
            <a:ext cx="1428760" cy="3217298"/>
            <a:chOff x="8166908" y="2857496"/>
            <a:chExt cx="1428760" cy="3217298"/>
          </a:xfrm>
        </p:grpSpPr>
        <p:grpSp>
          <p:nvGrpSpPr>
            <p:cNvPr id="61" name="组合 60"/>
            <p:cNvGrpSpPr/>
            <p:nvPr/>
          </p:nvGrpSpPr>
          <p:grpSpPr>
            <a:xfrm>
              <a:off x="8166908" y="3429000"/>
              <a:ext cx="1428760" cy="2645794"/>
              <a:chOff x="8452660" y="2712032"/>
              <a:chExt cx="1428760" cy="2645794"/>
            </a:xfrm>
          </p:grpSpPr>
          <p:pic>
            <p:nvPicPr>
              <p:cNvPr id="78855" name="Picture 7" descr="C:\Users\yq38753.HITACHI-SD\Desktop\抠图\抠图\QQ图片20170914192501.png"/>
              <p:cNvPicPr>
                <a:picLocks noChangeAspect="1" noChangeArrowheads="1"/>
              </p:cNvPicPr>
              <p:nvPr/>
            </p:nvPicPr>
            <p:blipFill>
              <a:blip r:embed="rId6"/>
              <a:srcRect/>
              <a:stretch>
                <a:fillRect/>
              </a:stretch>
            </p:blipFill>
            <p:spPr bwMode="auto">
              <a:xfrm>
                <a:off x="8452660" y="4071942"/>
                <a:ext cx="1416406" cy="1285884"/>
              </a:xfrm>
              <a:prstGeom prst="rect">
                <a:avLst/>
              </a:prstGeom>
              <a:noFill/>
            </p:spPr>
          </p:pic>
          <p:pic>
            <p:nvPicPr>
              <p:cNvPr id="78857" name="Picture 9" descr="C:\Users\yq38753.HITACHI-SD\Desktop\抠图\抠图\QQ图片20170914192450.png"/>
              <p:cNvPicPr>
                <a:picLocks noChangeAspect="1" noChangeArrowheads="1"/>
              </p:cNvPicPr>
              <p:nvPr/>
            </p:nvPicPr>
            <p:blipFill>
              <a:blip r:embed="rId7"/>
              <a:srcRect/>
              <a:stretch>
                <a:fillRect/>
              </a:stretch>
            </p:blipFill>
            <p:spPr bwMode="auto">
              <a:xfrm>
                <a:off x="8452660" y="2712032"/>
                <a:ext cx="1428760" cy="1369228"/>
              </a:xfrm>
              <a:prstGeom prst="rect">
                <a:avLst/>
              </a:prstGeom>
              <a:noFill/>
            </p:spPr>
          </p:pic>
        </p:grpSp>
        <p:sp>
          <p:nvSpPr>
            <p:cNvPr id="3" name="文本框 2"/>
            <p:cNvSpPr txBox="1"/>
            <p:nvPr/>
          </p:nvSpPr>
          <p:spPr>
            <a:xfrm>
              <a:off x="8666974" y="2857496"/>
              <a:ext cx="429260" cy="521970"/>
            </a:xfrm>
            <a:prstGeom prst="rect">
              <a:avLst/>
            </a:prstGeom>
            <a:noFill/>
          </p:spPr>
          <p:txBody>
            <a:bodyPr wrap="square" rtlCol="0" anchor="ctr">
              <a:spAutoFit/>
            </a:bodyPr>
            <a:lstStyle/>
            <a:p>
              <a:r>
                <a:rPr lang="en-US" altLang="zh-CN" sz="2800" b="1" dirty="0" smtClean="0">
                  <a:solidFill>
                    <a:srgbClr val="FF0000"/>
                  </a:solidFill>
                  <a:latin typeface="微软雅黑" panose="020B0503020204020204" pitchFamily="34" charset="-122"/>
                  <a:ea typeface="微软雅黑" panose="020B0503020204020204" pitchFamily="34" charset="-122"/>
                </a:rPr>
                <a:t>2</a:t>
              </a:r>
              <a:endParaRPr lang="en-US" altLang="zh-CN" sz="2800" b="1" dirty="0" smtClean="0">
                <a:solidFill>
                  <a:srgbClr val="FF0000"/>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1165984" y="785794"/>
            <a:ext cx="9429816" cy="1910332"/>
            <a:chOff x="1165984" y="785794"/>
            <a:chExt cx="9429816" cy="1910332"/>
          </a:xfrm>
        </p:grpSpPr>
        <p:sp>
          <p:nvSpPr>
            <p:cNvPr id="23" name="TextBox 22"/>
            <p:cNvSpPr txBox="1"/>
            <p:nvPr/>
          </p:nvSpPr>
          <p:spPr>
            <a:xfrm>
              <a:off x="1165984" y="1357298"/>
              <a:ext cx="9429816" cy="1338828"/>
            </a:xfrm>
            <a:prstGeom prst="rect">
              <a:avLst/>
            </a:prstGeom>
            <a:noFill/>
          </p:spPr>
          <p:txBody>
            <a:bodyPr wrap="square" rtlCol="0" anchor="ctr">
              <a:spAutoFit/>
            </a:bodyPr>
            <a:lstStyle/>
            <a:p>
              <a:pPr>
                <a:lnSpc>
                  <a:spcPct val="150000"/>
                </a:lnSpc>
              </a:pPr>
              <a:r>
                <a:rPr lang="zh-CN" altLang="en-US" dirty="0" smtClean="0">
                  <a:latin typeface="微软雅黑" panose="020B0503020204020204" pitchFamily="34" charset="-122"/>
                  <a:ea typeface="微软雅黑" panose="020B0503020204020204" pitchFamily="34" charset="-122"/>
                </a:rPr>
                <a:t>       日立电梯已在中国东、南、西、北区域形成</a:t>
              </a:r>
              <a:r>
                <a:rPr lang="en-US" altLang="zh-CN" dirty="0" smtClean="0">
                  <a:latin typeface="微软雅黑" panose="020B0503020204020204" pitchFamily="34" charset="-122"/>
                  <a:ea typeface="微软雅黑" panose="020B0503020204020204" pitchFamily="34" charset="-122"/>
                </a:rPr>
                <a:t>5</a:t>
              </a:r>
              <a:r>
                <a:rPr lang="zh-CN" altLang="en-US" dirty="0" smtClean="0">
                  <a:latin typeface="微软雅黑" panose="020B0503020204020204" pitchFamily="34" charset="-122"/>
                  <a:ea typeface="微软雅黑" panose="020B0503020204020204" pitchFamily="34" charset="-122"/>
                </a:rPr>
                <a:t>大制造基地的网络布局，构筑了</a:t>
              </a:r>
              <a:r>
                <a:rPr lang="en-US" altLang="zh-CN" dirty="0" smtClean="0">
                  <a:latin typeface="微软雅黑" panose="020B0503020204020204" pitchFamily="34" charset="-122"/>
                  <a:ea typeface="微软雅黑" panose="020B0503020204020204" pitchFamily="34" charset="-122"/>
                </a:rPr>
                <a:t>5</a:t>
              </a:r>
              <a:r>
                <a:rPr lang="zh-CN" altLang="en-US" dirty="0" smtClean="0">
                  <a:latin typeface="微软雅黑" panose="020B0503020204020204" pitchFamily="34" charset="-122"/>
                  <a:ea typeface="微软雅黑" panose="020B0503020204020204" pitchFamily="34" charset="-122"/>
                </a:rPr>
                <a:t>个整梯工厂与</a:t>
              </a:r>
              <a:r>
                <a:rPr lang="en-US" altLang="zh-CN" dirty="0" smtClean="0">
                  <a:latin typeface="微软雅黑" panose="020B0503020204020204" pitchFamily="34" charset="-122"/>
                  <a:ea typeface="微软雅黑" panose="020B0503020204020204" pitchFamily="34" charset="-122"/>
                </a:rPr>
                <a:t>2</a:t>
              </a:r>
              <a:r>
                <a:rPr lang="zh-CN" altLang="en-US" dirty="0" smtClean="0">
                  <a:latin typeface="微软雅黑" panose="020B0503020204020204" pitchFamily="34" charset="-122"/>
                  <a:ea typeface="微软雅黑" panose="020B0503020204020204" pitchFamily="34" charset="-122"/>
                </a:rPr>
                <a:t>个部件工厂的网络制造体系；依托</a:t>
              </a:r>
              <a:r>
                <a:rPr lang="en-US" altLang="zh-CN" dirty="0" smtClean="0">
                  <a:latin typeface="微软雅黑" panose="020B0503020204020204" pitchFamily="34" charset="-122"/>
                  <a:ea typeface="微软雅黑" panose="020B0503020204020204" pitchFamily="34" charset="-122"/>
                </a:rPr>
                <a:t>5</a:t>
              </a:r>
              <a:r>
                <a:rPr lang="zh-CN" altLang="en-US" dirty="0" smtClean="0">
                  <a:latin typeface="微软雅黑" panose="020B0503020204020204" pitchFamily="34" charset="-122"/>
                  <a:ea typeface="微软雅黑" panose="020B0503020204020204" pitchFamily="34" charset="-122"/>
                </a:rPr>
                <a:t>大制造基地的整体资源，合理配置（设计）、安装、物流、配件、培训</a:t>
              </a:r>
              <a:r>
                <a:rPr lang="en-US" altLang="zh-CN" dirty="0" smtClean="0">
                  <a:latin typeface="微软雅黑" panose="020B0503020204020204" pitchFamily="34" charset="-122"/>
                  <a:ea typeface="微软雅黑" panose="020B0503020204020204" pitchFamily="34" charset="-122"/>
                </a:rPr>
                <a:t>5</a:t>
              </a:r>
              <a:r>
                <a:rPr lang="zh-CN" altLang="en-US" dirty="0" smtClean="0">
                  <a:latin typeface="微软雅黑" panose="020B0503020204020204" pitchFamily="34" charset="-122"/>
                  <a:ea typeface="微软雅黑" panose="020B0503020204020204" pitchFamily="34" charset="-122"/>
                </a:rPr>
                <a:t>大职能。</a:t>
              </a:r>
              <a:endParaRPr lang="zh-CN" altLang="en-US" dirty="0" smtClean="0">
                <a:latin typeface="微软雅黑" panose="020B0503020204020204" pitchFamily="34" charset="-122"/>
                <a:ea typeface="微软雅黑" panose="020B0503020204020204" pitchFamily="34" charset="-122"/>
              </a:endParaRPr>
            </a:p>
          </p:txBody>
        </p:sp>
        <p:sp>
          <p:nvSpPr>
            <p:cNvPr id="17" name="TextBox 16"/>
            <p:cNvSpPr txBox="1"/>
            <p:nvPr/>
          </p:nvSpPr>
          <p:spPr>
            <a:xfrm>
              <a:off x="1165984" y="785794"/>
              <a:ext cx="2214578" cy="369332"/>
            </a:xfrm>
            <a:prstGeom prst="rect">
              <a:avLst/>
            </a:prstGeom>
            <a:noFill/>
          </p:spPr>
          <p:txBody>
            <a:bodyPr wrap="square" rtlCol="0" anchor="ctr">
              <a:spAutoFit/>
            </a:bodyPr>
            <a:lstStyle/>
            <a:p>
              <a:r>
                <a:rPr lang="en-US" altLang="zh-CN" b="1" dirty="0" smtClean="0">
                  <a:latin typeface="微软雅黑" panose="020B0503020204020204" pitchFamily="34" charset="-122"/>
                  <a:ea typeface="微软雅黑" panose="020B0503020204020204" pitchFamily="34" charset="-122"/>
                </a:rPr>
                <a:t>5+2</a:t>
              </a:r>
              <a:r>
                <a:rPr lang="zh-CN" altLang="en-US" b="1" dirty="0" smtClean="0">
                  <a:latin typeface="微软雅黑" panose="020B0503020204020204" pitchFamily="34" charset="-122"/>
                  <a:ea typeface="微软雅黑" panose="020B0503020204020204" pitchFamily="34" charset="-122"/>
                </a:rPr>
                <a:t>网络制造体系</a:t>
              </a:r>
              <a:endParaRPr lang="zh-CN" altLang="en-US" b="1" dirty="0" smtClean="0">
                <a:latin typeface="微软雅黑" panose="020B0503020204020204" pitchFamily="34" charset="-122"/>
                <a:ea typeface="微软雅黑" panose="020B0503020204020204" pitchFamily="34" charset="-122"/>
              </a:endParaRPr>
            </a:p>
          </p:txBody>
        </p:sp>
      </p:grpSp>
      <p:sp>
        <p:nvSpPr>
          <p:cNvPr id="18" name="TextBox 17"/>
          <p:cNvSpPr txBox="1"/>
          <p:nvPr/>
        </p:nvSpPr>
        <p:spPr>
          <a:xfrm>
            <a:off x="1308860" y="142852"/>
            <a:ext cx="185738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sz="2400" b="1" dirty="0" smtClean="0">
              <a:latin typeface="微软雅黑" panose="020B0503020204020204" pitchFamily="34" charset="-122"/>
              <a:ea typeface="微软雅黑" panose="020B0503020204020204" pitchFamily="34" charset="-122"/>
            </a:endParaRPr>
          </a:p>
        </p:txBody>
      </p:sp>
    </p:spTree>
    <p:custDataLst>
      <p:tags r:id="rId8"/>
    </p:custDataLst>
  </p:cSld>
  <p:clrMapOvr>
    <a:masterClrMapping/>
  </p:clrMapOvr>
  <mc:AlternateContent xmlns:mc="http://schemas.openxmlformats.org/markup-compatibility/2006">
    <mc:Choice xmlns:p14="http://schemas.microsoft.com/office/powerpoint/2010/main" Requires="p14">
      <p:transition spd="slow" p14:dur="800" advTm="4423">
        <p14:flythrough/>
      </p:transition>
    </mc:Choice>
    <mc:Fallback>
      <p:transition spd="slow" advTm="442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slide(fromBottom)">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wipe(left)">
                                      <p:cBhvr>
                                        <p:cTn id="12" dur="10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23" presetClass="entr" presetSubtype="16"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1000" fill="hold"/>
                                        <p:tgtEl>
                                          <p:spTgt spid="5"/>
                                        </p:tgtEl>
                                        <p:attrNameLst>
                                          <p:attrName>ppt_w</p:attrName>
                                        </p:attrNameLst>
                                      </p:cBhvr>
                                      <p:tavLst>
                                        <p:tav tm="0">
                                          <p:val>
                                            <p:fltVal val="0"/>
                                          </p:val>
                                        </p:tav>
                                        <p:tav tm="100000">
                                          <p:val>
                                            <p:strVal val="#ppt_w"/>
                                          </p:val>
                                        </p:tav>
                                      </p:tavLst>
                                    </p:anim>
                                    <p:anim calcmode="lin" valueType="num">
                                      <p:cBhvr>
                                        <p:cTn id="18" dur="1000" fill="hold"/>
                                        <p:tgtEl>
                                          <p:spTgt spid="5"/>
                                        </p:tgtEl>
                                        <p:attrNameLst>
                                          <p:attrName>ppt_h</p:attrName>
                                        </p:attrNameLst>
                                      </p:cBhvr>
                                      <p:tavLst>
                                        <p:tav tm="0">
                                          <p:val>
                                            <p:fltVal val="0"/>
                                          </p:val>
                                        </p:tav>
                                        <p:tav tm="100000">
                                          <p:val>
                                            <p:strVal val="#ppt_h"/>
                                          </p:val>
                                        </p:tav>
                                      </p:tavLst>
                                    </p:anim>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wipe(left)">
                                      <p:cBhvr>
                                        <p:cTn id="23"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0" name="直接连接符 129"/>
          <p:cNvCxnSpPr/>
          <p:nvPr/>
        </p:nvCxnSpPr>
        <p:spPr>
          <a:xfrm>
            <a:off x="44450" y="5697830"/>
            <a:ext cx="955159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flipH="1">
            <a:off x="1237422" y="857232"/>
            <a:ext cx="5357850" cy="338554"/>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marL="0" marR="0" lvl="0" indent="0" defTabSz="914400" eaLnBrk="1" fontAlgn="auto" latinLnBrk="0" hangingPunct="1">
              <a:lnSpc>
                <a:spcPct val="80000"/>
              </a:lnSpc>
              <a:spcBef>
                <a:spcPts val="0"/>
              </a:spcBef>
              <a:spcAft>
                <a:spcPts val="0"/>
              </a:spcAft>
              <a:buClrTx/>
              <a:buSzTx/>
              <a:buFontTx/>
              <a:buNone/>
              <a:defRPr/>
            </a:pPr>
            <a:r>
              <a:rPr lang="en-US" altLang="zh-CN" sz="2000" dirty="0" smtClean="0">
                <a:solidFill>
                  <a:schemeClr val="tx1"/>
                </a:solidFill>
                <a:effectLst>
                  <a:outerShdw blurRad="266700" algn="tl" rotWithShape="0">
                    <a:schemeClr val="tx2">
                      <a:lumMod val="40000"/>
                      <a:lumOff val="60000"/>
                      <a:alpha val="55000"/>
                    </a:schemeClr>
                  </a:outerShdw>
                </a:effectLst>
                <a:latin typeface="微软雅黑" panose="020B0503020204020204" pitchFamily="34" charset="-122"/>
                <a:cs typeface="Times New Roman" panose="02020603050405020304" pitchFamily="18" charset="0"/>
              </a:rPr>
              <a:t>1.3 </a:t>
            </a:r>
            <a:r>
              <a:rPr lang="zh-CN" altLang="en-US" sz="2000" dirty="0" smtClean="0">
                <a:solidFill>
                  <a:schemeClr val="tx1"/>
                </a:solidFill>
                <a:effectLst>
                  <a:outerShdw blurRad="266700" algn="tl" rotWithShape="0">
                    <a:schemeClr val="tx2">
                      <a:lumMod val="40000"/>
                      <a:lumOff val="60000"/>
                      <a:alpha val="55000"/>
                    </a:schemeClr>
                  </a:outerShdw>
                </a:effectLst>
                <a:latin typeface="微软雅黑" panose="020B0503020204020204" pitchFamily="34" charset="-122"/>
                <a:cs typeface="Times New Roman" panose="02020603050405020304" pitchFamily="18" charset="0"/>
              </a:rPr>
              <a:t>日立电梯（中国）有限公司山东分公司</a:t>
            </a:r>
            <a:endParaRPr kumimoji="0" lang="zh-CN" altLang="en-US" sz="2000" i="0" u="none" strike="noStrike" kern="0" cap="none" spc="0" normalizeH="0" baseline="0" noProof="0" dirty="0">
              <a:ln w="18415" cmpd="sng">
                <a:noFill/>
                <a:prstDash val="solid"/>
              </a:ln>
              <a:solidFill>
                <a:schemeClr val="tx1"/>
              </a:solidFill>
              <a:effectLst>
                <a:outerShdw blurRad="266700" algn="tl" rotWithShape="0">
                  <a:schemeClr val="tx2">
                    <a:lumMod val="40000"/>
                    <a:lumOff val="60000"/>
                    <a:alpha val="55000"/>
                  </a:schemeClr>
                </a:outerShdw>
              </a:effectLst>
              <a:uLnTx/>
              <a:uFillTx/>
              <a:latin typeface="微软雅黑" panose="020B0503020204020204" pitchFamily="34" charset="-122"/>
              <a:cs typeface="Times New Roman" panose="02020603050405020304" pitchFamily="18" charset="0"/>
            </a:endParaRPr>
          </a:p>
        </p:txBody>
      </p:sp>
      <p:sp>
        <p:nvSpPr>
          <p:cNvPr id="33" name="TextBox 32"/>
          <p:cNvSpPr txBox="1"/>
          <p:nvPr/>
        </p:nvSpPr>
        <p:spPr>
          <a:xfrm>
            <a:off x="5086985" y="2282825"/>
            <a:ext cx="5894070" cy="3000821"/>
          </a:xfrm>
          <a:prstGeom prst="rect">
            <a:avLst/>
          </a:prstGeom>
          <a:noFill/>
        </p:spPr>
        <p:txBody>
          <a:bodyPr wrap="square" rtlCol="0">
            <a:spAutoFit/>
          </a:bodyPr>
          <a:lstStyle/>
          <a:p>
            <a:pPr>
              <a:lnSpc>
                <a:spcPct val="150000"/>
              </a:lnSpc>
            </a:pPr>
            <a:r>
              <a:rPr lang="zh-CN" altLang="en-US" sz="1600" dirty="0" smtClean="0">
                <a:latin typeface="微软雅黑" panose="020B0503020204020204" pitchFamily="34" charset="-122"/>
                <a:ea typeface="微软雅黑" panose="020B0503020204020204" pitchFamily="34" charset="-122"/>
              </a:rPr>
              <a:t>       </a:t>
            </a:r>
            <a:r>
              <a:rPr lang="zh-CN" altLang="en-US" dirty="0" smtClean="0">
                <a:latin typeface="微软雅黑" panose="020B0503020204020204" pitchFamily="34" charset="-122"/>
                <a:ea typeface="微软雅黑" panose="020B0503020204020204" pitchFamily="34" charset="-122"/>
              </a:rPr>
              <a:t>日立电梯（中国）有限公司山东分公司成立于</a:t>
            </a:r>
            <a:r>
              <a:rPr lang="en-US" altLang="zh-CN" dirty="0" smtClean="0">
                <a:latin typeface="微软雅黑" panose="020B0503020204020204" pitchFamily="34" charset="-122"/>
                <a:ea typeface="微软雅黑" panose="020B0503020204020204" pitchFamily="34" charset="-122"/>
              </a:rPr>
              <a:t>2001</a:t>
            </a:r>
            <a:r>
              <a:rPr lang="zh-CN" altLang="en-US" dirty="0" smtClean="0">
                <a:latin typeface="微软雅黑" panose="020B0503020204020204" pitchFamily="34" charset="-122"/>
                <a:ea typeface="微软雅黑" panose="020B0503020204020204" pitchFamily="34" charset="-122"/>
              </a:rPr>
              <a:t>年，是山东设立的唯一省级分支机构，服务网络遍布十七个地级市，负责日立电梯在山东地区的销售、安装和维保等业务。具备山东省特种设备安装改造维修</a:t>
            </a:r>
            <a:r>
              <a:rPr lang="en-US" altLang="zh-CN" dirty="0" smtClean="0">
                <a:latin typeface="微软雅黑" panose="020B0503020204020204" pitchFamily="34" charset="-122"/>
                <a:ea typeface="微软雅黑" panose="020B0503020204020204" pitchFamily="34" charset="-122"/>
              </a:rPr>
              <a:t>A</a:t>
            </a:r>
            <a:r>
              <a:rPr lang="zh-CN" altLang="en-US" dirty="0" smtClean="0">
                <a:latin typeface="微软雅黑" panose="020B0503020204020204" pitchFamily="34" charset="-122"/>
                <a:ea typeface="微软雅黑" panose="020B0503020204020204" pitchFamily="34" charset="-122"/>
              </a:rPr>
              <a:t>级资质。</a:t>
            </a:r>
            <a:endParaRPr lang="zh-CN" altLang="en-US" dirty="0" smtClean="0">
              <a:latin typeface="微软雅黑" panose="020B0503020204020204" pitchFamily="34" charset="-122"/>
              <a:ea typeface="微软雅黑" panose="020B0503020204020204" pitchFamily="34" charset="-122"/>
            </a:endParaRPr>
          </a:p>
          <a:p>
            <a:pPr>
              <a:lnSpc>
                <a:spcPct val="150000"/>
              </a:lnSpc>
            </a:pPr>
            <a:r>
              <a:rPr lang="zh-CN" altLang="en-US" dirty="0" smtClean="0">
                <a:latin typeface="微软雅黑" panose="020B0503020204020204" pitchFamily="34" charset="-122"/>
                <a:ea typeface="微软雅黑" panose="020B0503020204020204" pitchFamily="34" charset="-122"/>
              </a:rPr>
              <a:t>       公司经过</a:t>
            </a:r>
            <a:r>
              <a:rPr lang="en-US" altLang="zh-CN" dirty="0" smtClean="0">
                <a:latin typeface="微软雅黑" panose="020B0503020204020204" pitchFamily="34" charset="-122"/>
                <a:ea typeface="微软雅黑" panose="020B0503020204020204" pitchFamily="34" charset="-122"/>
              </a:rPr>
              <a:t>16</a:t>
            </a:r>
            <a:r>
              <a:rPr lang="zh-CN" altLang="en-US" dirty="0" smtClean="0">
                <a:latin typeface="微软雅黑" panose="020B0503020204020204" pitchFamily="34" charset="-122"/>
                <a:ea typeface="微软雅黑" panose="020B0503020204020204" pitchFamily="34" charset="-122"/>
              </a:rPr>
              <a:t>年的发展，规模不断扩大，凭借高品质的产品销售和售后服务，在山东市场占有率保持行业前三甲。</a:t>
            </a:r>
            <a:endParaRPr lang="zh-CN" altLang="en-US" dirty="0" smtClean="0">
              <a:latin typeface="微软雅黑" panose="020B0503020204020204" pitchFamily="34" charset="-122"/>
              <a:ea typeface="微软雅黑" panose="020B0503020204020204" pitchFamily="34" charset="-122"/>
            </a:endParaRPr>
          </a:p>
        </p:txBody>
      </p:sp>
      <p:cxnSp>
        <p:nvCxnSpPr>
          <p:cNvPr id="35" name="直接连接符 34"/>
          <p:cNvCxnSpPr/>
          <p:nvPr/>
        </p:nvCxnSpPr>
        <p:spPr>
          <a:xfrm>
            <a:off x="5087094" y="2142754"/>
            <a:ext cx="576064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308860" y="142852"/>
            <a:ext cx="185738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sz="2400" b="1" dirty="0" smtClean="0">
              <a:latin typeface="微软雅黑" panose="020B0503020204020204" pitchFamily="34" charset="-122"/>
              <a:ea typeface="微软雅黑" panose="020B0503020204020204" pitchFamily="34" charset="-122"/>
            </a:endParaRPr>
          </a:p>
        </p:txBody>
      </p:sp>
      <p:grpSp>
        <p:nvGrpSpPr>
          <p:cNvPr id="7" name="组合 41"/>
          <p:cNvGrpSpPr/>
          <p:nvPr/>
        </p:nvGrpSpPr>
        <p:grpSpPr bwMode="auto">
          <a:xfrm>
            <a:off x="308728" y="1785926"/>
            <a:ext cx="4358151" cy="3950180"/>
            <a:chOff x="488950" y="1160463"/>
            <a:chExt cx="5808663" cy="4703762"/>
          </a:xfrm>
        </p:grpSpPr>
        <p:sp>
          <p:nvSpPr>
            <p:cNvPr id="8" name="Freeform 70"/>
            <p:cNvSpPr/>
            <p:nvPr/>
          </p:nvSpPr>
          <p:spPr bwMode="auto">
            <a:xfrm rot="252837">
              <a:off x="488950" y="1458913"/>
              <a:ext cx="2281238" cy="1743075"/>
            </a:xfrm>
            <a:custGeom>
              <a:avLst/>
              <a:gdLst/>
              <a:ahLst/>
              <a:cxnLst>
                <a:cxn ang="0">
                  <a:pos x="773" y="833"/>
                </a:cxn>
                <a:cxn ang="0">
                  <a:pos x="732" y="842"/>
                </a:cxn>
                <a:cxn ang="0">
                  <a:pos x="663" y="798"/>
                </a:cxn>
                <a:cxn ang="0">
                  <a:pos x="582" y="794"/>
                </a:cxn>
                <a:cxn ang="0">
                  <a:pos x="509" y="813"/>
                </a:cxn>
                <a:cxn ang="0">
                  <a:pos x="443" y="830"/>
                </a:cxn>
                <a:cxn ang="0">
                  <a:pos x="357" y="804"/>
                </a:cxn>
                <a:cxn ang="0">
                  <a:pos x="315" y="807"/>
                </a:cxn>
                <a:cxn ang="0">
                  <a:pos x="204" y="840"/>
                </a:cxn>
                <a:cxn ang="0">
                  <a:pos x="149" y="806"/>
                </a:cxn>
                <a:cxn ang="0">
                  <a:pos x="144" y="757"/>
                </a:cxn>
                <a:cxn ang="0">
                  <a:pos x="85" y="705"/>
                </a:cxn>
                <a:cxn ang="0">
                  <a:pos x="48" y="625"/>
                </a:cxn>
                <a:cxn ang="0">
                  <a:pos x="37" y="582"/>
                </a:cxn>
                <a:cxn ang="0">
                  <a:pos x="12" y="496"/>
                </a:cxn>
                <a:cxn ang="0">
                  <a:pos x="1" y="480"/>
                </a:cxn>
                <a:cxn ang="0">
                  <a:pos x="23" y="437"/>
                </a:cxn>
                <a:cxn ang="0">
                  <a:pos x="120" y="395"/>
                </a:cxn>
                <a:cxn ang="0">
                  <a:pos x="173" y="418"/>
                </a:cxn>
                <a:cxn ang="0">
                  <a:pos x="235" y="383"/>
                </a:cxn>
                <a:cxn ang="0">
                  <a:pos x="331" y="378"/>
                </a:cxn>
                <a:cxn ang="0">
                  <a:pos x="383" y="309"/>
                </a:cxn>
                <a:cxn ang="0">
                  <a:pos x="412" y="246"/>
                </a:cxn>
                <a:cxn ang="0">
                  <a:pos x="406" y="182"/>
                </a:cxn>
                <a:cxn ang="0">
                  <a:pos x="516" y="200"/>
                </a:cxn>
                <a:cxn ang="0">
                  <a:pos x="525" y="157"/>
                </a:cxn>
                <a:cxn ang="0">
                  <a:pos x="581" y="84"/>
                </a:cxn>
                <a:cxn ang="0">
                  <a:pos x="691" y="98"/>
                </a:cxn>
                <a:cxn ang="0">
                  <a:pos x="764" y="8"/>
                </a:cxn>
                <a:cxn ang="0">
                  <a:pos x="806" y="33"/>
                </a:cxn>
                <a:cxn ang="0">
                  <a:pos x="880" y="92"/>
                </a:cxn>
                <a:cxn ang="0">
                  <a:pos x="904" y="157"/>
                </a:cxn>
                <a:cxn ang="0">
                  <a:pos x="888" y="261"/>
                </a:cxn>
                <a:cxn ang="0">
                  <a:pos x="998" y="295"/>
                </a:cxn>
                <a:cxn ang="0">
                  <a:pos x="1083" y="359"/>
                </a:cxn>
                <a:cxn ang="0">
                  <a:pos x="1107" y="429"/>
                </a:cxn>
                <a:cxn ang="0">
                  <a:pos x="1095" y="485"/>
                </a:cxn>
                <a:cxn ang="0">
                  <a:pos x="1054" y="510"/>
                </a:cxn>
                <a:cxn ang="0">
                  <a:pos x="938" y="580"/>
                </a:cxn>
                <a:cxn ang="0">
                  <a:pos x="932" y="657"/>
                </a:cxn>
                <a:cxn ang="0">
                  <a:pos x="800" y="687"/>
                </a:cxn>
                <a:cxn ang="0">
                  <a:pos x="807" y="744"/>
                </a:cxn>
                <a:cxn ang="0">
                  <a:pos x="822" y="790"/>
                </a:cxn>
                <a:cxn ang="0">
                  <a:pos x="795" y="850"/>
                </a:cxn>
              </a:cxnLst>
              <a:rect l="0" t="0" r="r" b="b"/>
              <a:pathLst>
                <a:path w="1112" h="850">
                  <a:moveTo>
                    <a:pt x="795" y="850"/>
                  </a:moveTo>
                  <a:cubicBezTo>
                    <a:pt x="792" y="848"/>
                    <a:pt x="789" y="847"/>
                    <a:pt x="787" y="846"/>
                  </a:cubicBezTo>
                  <a:cubicBezTo>
                    <a:pt x="782" y="841"/>
                    <a:pt x="777" y="837"/>
                    <a:pt x="773" y="833"/>
                  </a:cubicBezTo>
                  <a:cubicBezTo>
                    <a:pt x="759" y="833"/>
                    <a:pt x="757" y="829"/>
                    <a:pt x="752" y="842"/>
                  </a:cubicBezTo>
                  <a:cubicBezTo>
                    <a:pt x="750" y="841"/>
                    <a:pt x="748" y="840"/>
                    <a:pt x="746" y="840"/>
                  </a:cubicBezTo>
                  <a:cubicBezTo>
                    <a:pt x="742" y="840"/>
                    <a:pt x="737" y="841"/>
                    <a:pt x="732" y="842"/>
                  </a:cubicBezTo>
                  <a:cubicBezTo>
                    <a:pt x="726" y="832"/>
                    <a:pt x="727" y="827"/>
                    <a:pt x="727" y="822"/>
                  </a:cubicBezTo>
                  <a:cubicBezTo>
                    <a:pt x="723" y="820"/>
                    <a:pt x="720" y="819"/>
                    <a:pt x="716" y="817"/>
                  </a:cubicBezTo>
                  <a:cubicBezTo>
                    <a:pt x="698" y="801"/>
                    <a:pt x="684" y="790"/>
                    <a:pt x="663" y="798"/>
                  </a:cubicBezTo>
                  <a:cubicBezTo>
                    <a:pt x="648" y="800"/>
                    <a:pt x="634" y="803"/>
                    <a:pt x="620" y="801"/>
                  </a:cubicBezTo>
                  <a:cubicBezTo>
                    <a:pt x="612" y="799"/>
                    <a:pt x="606" y="796"/>
                    <a:pt x="599" y="794"/>
                  </a:cubicBezTo>
                  <a:cubicBezTo>
                    <a:pt x="594" y="794"/>
                    <a:pt x="588" y="794"/>
                    <a:pt x="582" y="794"/>
                  </a:cubicBezTo>
                  <a:cubicBezTo>
                    <a:pt x="569" y="802"/>
                    <a:pt x="552" y="809"/>
                    <a:pt x="546" y="822"/>
                  </a:cubicBezTo>
                  <a:cubicBezTo>
                    <a:pt x="539" y="822"/>
                    <a:pt x="533" y="822"/>
                    <a:pt x="527" y="822"/>
                  </a:cubicBezTo>
                  <a:cubicBezTo>
                    <a:pt x="521" y="819"/>
                    <a:pt x="515" y="816"/>
                    <a:pt x="509" y="813"/>
                  </a:cubicBezTo>
                  <a:cubicBezTo>
                    <a:pt x="497" y="813"/>
                    <a:pt x="493" y="812"/>
                    <a:pt x="488" y="817"/>
                  </a:cubicBezTo>
                  <a:cubicBezTo>
                    <a:pt x="483" y="819"/>
                    <a:pt x="478" y="820"/>
                    <a:pt x="473" y="822"/>
                  </a:cubicBezTo>
                  <a:cubicBezTo>
                    <a:pt x="459" y="822"/>
                    <a:pt x="454" y="827"/>
                    <a:pt x="443" y="830"/>
                  </a:cubicBezTo>
                  <a:cubicBezTo>
                    <a:pt x="425" y="830"/>
                    <a:pt x="403" y="819"/>
                    <a:pt x="397" y="813"/>
                  </a:cubicBezTo>
                  <a:cubicBezTo>
                    <a:pt x="397" y="792"/>
                    <a:pt x="394" y="797"/>
                    <a:pt x="384" y="789"/>
                  </a:cubicBezTo>
                  <a:cubicBezTo>
                    <a:pt x="364" y="789"/>
                    <a:pt x="369" y="790"/>
                    <a:pt x="357" y="804"/>
                  </a:cubicBezTo>
                  <a:cubicBezTo>
                    <a:pt x="344" y="809"/>
                    <a:pt x="331" y="806"/>
                    <a:pt x="322" y="813"/>
                  </a:cubicBezTo>
                  <a:cubicBezTo>
                    <a:pt x="320" y="813"/>
                    <a:pt x="319" y="813"/>
                    <a:pt x="318" y="813"/>
                  </a:cubicBezTo>
                  <a:cubicBezTo>
                    <a:pt x="317" y="810"/>
                    <a:pt x="316" y="809"/>
                    <a:pt x="315" y="807"/>
                  </a:cubicBezTo>
                  <a:cubicBezTo>
                    <a:pt x="301" y="790"/>
                    <a:pt x="281" y="781"/>
                    <a:pt x="264" y="784"/>
                  </a:cubicBezTo>
                  <a:cubicBezTo>
                    <a:pt x="245" y="797"/>
                    <a:pt x="238" y="803"/>
                    <a:pt x="229" y="824"/>
                  </a:cubicBezTo>
                  <a:cubicBezTo>
                    <a:pt x="222" y="835"/>
                    <a:pt x="215" y="838"/>
                    <a:pt x="204" y="840"/>
                  </a:cubicBezTo>
                  <a:cubicBezTo>
                    <a:pt x="198" y="839"/>
                    <a:pt x="192" y="837"/>
                    <a:pt x="187" y="836"/>
                  </a:cubicBezTo>
                  <a:cubicBezTo>
                    <a:pt x="182" y="832"/>
                    <a:pt x="180" y="831"/>
                    <a:pt x="176" y="831"/>
                  </a:cubicBezTo>
                  <a:cubicBezTo>
                    <a:pt x="172" y="814"/>
                    <a:pt x="158" y="811"/>
                    <a:pt x="149" y="806"/>
                  </a:cubicBezTo>
                  <a:cubicBezTo>
                    <a:pt x="147" y="803"/>
                    <a:pt x="145" y="800"/>
                    <a:pt x="142" y="797"/>
                  </a:cubicBezTo>
                  <a:cubicBezTo>
                    <a:pt x="142" y="789"/>
                    <a:pt x="142" y="781"/>
                    <a:pt x="142" y="773"/>
                  </a:cubicBezTo>
                  <a:cubicBezTo>
                    <a:pt x="146" y="770"/>
                    <a:pt x="144" y="759"/>
                    <a:pt x="144" y="757"/>
                  </a:cubicBezTo>
                  <a:cubicBezTo>
                    <a:pt x="138" y="738"/>
                    <a:pt x="118" y="744"/>
                    <a:pt x="107" y="740"/>
                  </a:cubicBezTo>
                  <a:cubicBezTo>
                    <a:pt x="104" y="736"/>
                    <a:pt x="101" y="733"/>
                    <a:pt x="98" y="730"/>
                  </a:cubicBezTo>
                  <a:cubicBezTo>
                    <a:pt x="93" y="722"/>
                    <a:pt x="89" y="714"/>
                    <a:pt x="85" y="705"/>
                  </a:cubicBezTo>
                  <a:cubicBezTo>
                    <a:pt x="78" y="704"/>
                    <a:pt x="72" y="703"/>
                    <a:pt x="65" y="701"/>
                  </a:cubicBezTo>
                  <a:cubicBezTo>
                    <a:pt x="60" y="687"/>
                    <a:pt x="67" y="675"/>
                    <a:pt x="71" y="665"/>
                  </a:cubicBezTo>
                  <a:cubicBezTo>
                    <a:pt x="71" y="645"/>
                    <a:pt x="58" y="635"/>
                    <a:pt x="48" y="625"/>
                  </a:cubicBezTo>
                  <a:cubicBezTo>
                    <a:pt x="39" y="621"/>
                    <a:pt x="30" y="616"/>
                    <a:pt x="22" y="612"/>
                  </a:cubicBezTo>
                  <a:cubicBezTo>
                    <a:pt x="21" y="611"/>
                    <a:pt x="20" y="609"/>
                    <a:pt x="18" y="608"/>
                  </a:cubicBezTo>
                  <a:cubicBezTo>
                    <a:pt x="18" y="586"/>
                    <a:pt x="17" y="592"/>
                    <a:pt x="37" y="582"/>
                  </a:cubicBezTo>
                  <a:cubicBezTo>
                    <a:pt x="41" y="579"/>
                    <a:pt x="47" y="575"/>
                    <a:pt x="49" y="571"/>
                  </a:cubicBezTo>
                  <a:cubicBezTo>
                    <a:pt x="49" y="552"/>
                    <a:pt x="49" y="534"/>
                    <a:pt x="49" y="516"/>
                  </a:cubicBezTo>
                  <a:cubicBezTo>
                    <a:pt x="45" y="490"/>
                    <a:pt x="26" y="497"/>
                    <a:pt x="12" y="496"/>
                  </a:cubicBezTo>
                  <a:cubicBezTo>
                    <a:pt x="10" y="497"/>
                    <a:pt x="8" y="499"/>
                    <a:pt x="6" y="501"/>
                  </a:cubicBezTo>
                  <a:cubicBezTo>
                    <a:pt x="6" y="502"/>
                    <a:pt x="5" y="502"/>
                    <a:pt x="5" y="503"/>
                  </a:cubicBezTo>
                  <a:cubicBezTo>
                    <a:pt x="0" y="490"/>
                    <a:pt x="0" y="486"/>
                    <a:pt x="1" y="480"/>
                  </a:cubicBezTo>
                  <a:cubicBezTo>
                    <a:pt x="6" y="477"/>
                    <a:pt x="10" y="475"/>
                    <a:pt x="15" y="473"/>
                  </a:cubicBezTo>
                  <a:cubicBezTo>
                    <a:pt x="15" y="469"/>
                    <a:pt x="15" y="464"/>
                    <a:pt x="16" y="460"/>
                  </a:cubicBezTo>
                  <a:cubicBezTo>
                    <a:pt x="1" y="439"/>
                    <a:pt x="0" y="452"/>
                    <a:pt x="23" y="437"/>
                  </a:cubicBezTo>
                  <a:cubicBezTo>
                    <a:pt x="27" y="430"/>
                    <a:pt x="31" y="423"/>
                    <a:pt x="36" y="416"/>
                  </a:cubicBezTo>
                  <a:cubicBezTo>
                    <a:pt x="44" y="413"/>
                    <a:pt x="51" y="410"/>
                    <a:pt x="60" y="407"/>
                  </a:cubicBezTo>
                  <a:cubicBezTo>
                    <a:pt x="85" y="406"/>
                    <a:pt x="97" y="406"/>
                    <a:pt x="120" y="395"/>
                  </a:cubicBezTo>
                  <a:cubicBezTo>
                    <a:pt x="123" y="394"/>
                    <a:pt x="127" y="394"/>
                    <a:pt x="130" y="394"/>
                  </a:cubicBezTo>
                  <a:cubicBezTo>
                    <a:pt x="130" y="402"/>
                    <a:pt x="133" y="419"/>
                    <a:pt x="148" y="424"/>
                  </a:cubicBezTo>
                  <a:cubicBezTo>
                    <a:pt x="155" y="424"/>
                    <a:pt x="165" y="424"/>
                    <a:pt x="173" y="418"/>
                  </a:cubicBezTo>
                  <a:cubicBezTo>
                    <a:pt x="179" y="410"/>
                    <a:pt x="184" y="403"/>
                    <a:pt x="190" y="396"/>
                  </a:cubicBezTo>
                  <a:cubicBezTo>
                    <a:pt x="199" y="396"/>
                    <a:pt x="207" y="399"/>
                    <a:pt x="219" y="396"/>
                  </a:cubicBezTo>
                  <a:cubicBezTo>
                    <a:pt x="224" y="390"/>
                    <a:pt x="228" y="387"/>
                    <a:pt x="235" y="383"/>
                  </a:cubicBezTo>
                  <a:cubicBezTo>
                    <a:pt x="238" y="383"/>
                    <a:pt x="241" y="383"/>
                    <a:pt x="245" y="383"/>
                  </a:cubicBezTo>
                  <a:cubicBezTo>
                    <a:pt x="252" y="385"/>
                    <a:pt x="261" y="390"/>
                    <a:pt x="275" y="390"/>
                  </a:cubicBezTo>
                  <a:cubicBezTo>
                    <a:pt x="288" y="383"/>
                    <a:pt x="313" y="386"/>
                    <a:pt x="331" y="378"/>
                  </a:cubicBezTo>
                  <a:cubicBezTo>
                    <a:pt x="338" y="374"/>
                    <a:pt x="346" y="369"/>
                    <a:pt x="353" y="365"/>
                  </a:cubicBezTo>
                  <a:cubicBezTo>
                    <a:pt x="355" y="359"/>
                    <a:pt x="357" y="353"/>
                    <a:pt x="358" y="348"/>
                  </a:cubicBezTo>
                  <a:cubicBezTo>
                    <a:pt x="374" y="342"/>
                    <a:pt x="378" y="320"/>
                    <a:pt x="383" y="309"/>
                  </a:cubicBezTo>
                  <a:cubicBezTo>
                    <a:pt x="389" y="306"/>
                    <a:pt x="397" y="302"/>
                    <a:pt x="403" y="297"/>
                  </a:cubicBezTo>
                  <a:cubicBezTo>
                    <a:pt x="405" y="290"/>
                    <a:pt x="407" y="284"/>
                    <a:pt x="410" y="278"/>
                  </a:cubicBezTo>
                  <a:cubicBezTo>
                    <a:pt x="410" y="267"/>
                    <a:pt x="411" y="256"/>
                    <a:pt x="412" y="246"/>
                  </a:cubicBezTo>
                  <a:cubicBezTo>
                    <a:pt x="410" y="241"/>
                    <a:pt x="409" y="236"/>
                    <a:pt x="407" y="232"/>
                  </a:cubicBezTo>
                  <a:cubicBezTo>
                    <a:pt x="407" y="215"/>
                    <a:pt x="417" y="197"/>
                    <a:pt x="407" y="187"/>
                  </a:cubicBezTo>
                  <a:cubicBezTo>
                    <a:pt x="407" y="186"/>
                    <a:pt x="406" y="184"/>
                    <a:pt x="406" y="182"/>
                  </a:cubicBezTo>
                  <a:cubicBezTo>
                    <a:pt x="425" y="182"/>
                    <a:pt x="443" y="182"/>
                    <a:pt x="463" y="186"/>
                  </a:cubicBezTo>
                  <a:cubicBezTo>
                    <a:pt x="477" y="193"/>
                    <a:pt x="489" y="187"/>
                    <a:pt x="508" y="200"/>
                  </a:cubicBezTo>
                  <a:cubicBezTo>
                    <a:pt x="510" y="200"/>
                    <a:pt x="513" y="200"/>
                    <a:pt x="516" y="200"/>
                  </a:cubicBezTo>
                  <a:cubicBezTo>
                    <a:pt x="518" y="197"/>
                    <a:pt x="521" y="195"/>
                    <a:pt x="523" y="192"/>
                  </a:cubicBezTo>
                  <a:cubicBezTo>
                    <a:pt x="523" y="189"/>
                    <a:pt x="523" y="186"/>
                    <a:pt x="523" y="184"/>
                  </a:cubicBezTo>
                  <a:cubicBezTo>
                    <a:pt x="518" y="173"/>
                    <a:pt x="521" y="164"/>
                    <a:pt x="525" y="157"/>
                  </a:cubicBezTo>
                  <a:cubicBezTo>
                    <a:pt x="532" y="148"/>
                    <a:pt x="539" y="140"/>
                    <a:pt x="546" y="132"/>
                  </a:cubicBezTo>
                  <a:cubicBezTo>
                    <a:pt x="549" y="113"/>
                    <a:pt x="555" y="109"/>
                    <a:pt x="566" y="96"/>
                  </a:cubicBezTo>
                  <a:cubicBezTo>
                    <a:pt x="571" y="86"/>
                    <a:pt x="568" y="84"/>
                    <a:pt x="581" y="84"/>
                  </a:cubicBezTo>
                  <a:cubicBezTo>
                    <a:pt x="591" y="90"/>
                    <a:pt x="602" y="97"/>
                    <a:pt x="614" y="104"/>
                  </a:cubicBezTo>
                  <a:cubicBezTo>
                    <a:pt x="620" y="106"/>
                    <a:pt x="635" y="104"/>
                    <a:pt x="645" y="114"/>
                  </a:cubicBezTo>
                  <a:cubicBezTo>
                    <a:pt x="659" y="114"/>
                    <a:pt x="686" y="117"/>
                    <a:pt x="691" y="98"/>
                  </a:cubicBezTo>
                  <a:cubicBezTo>
                    <a:pt x="690" y="85"/>
                    <a:pt x="689" y="72"/>
                    <a:pt x="688" y="59"/>
                  </a:cubicBezTo>
                  <a:cubicBezTo>
                    <a:pt x="703" y="31"/>
                    <a:pt x="719" y="32"/>
                    <a:pt x="750" y="29"/>
                  </a:cubicBezTo>
                  <a:cubicBezTo>
                    <a:pt x="757" y="27"/>
                    <a:pt x="761" y="14"/>
                    <a:pt x="764" y="8"/>
                  </a:cubicBezTo>
                  <a:cubicBezTo>
                    <a:pt x="766" y="5"/>
                    <a:pt x="769" y="2"/>
                    <a:pt x="772" y="0"/>
                  </a:cubicBezTo>
                  <a:cubicBezTo>
                    <a:pt x="780" y="0"/>
                    <a:pt x="788" y="0"/>
                    <a:pt x="796" y="0"/>
                  </a:cubicBezTo>
                  <a:cubicBezTo>
                    <a:pt x="800" y="2"/>
                    <a:pt x="802" y="21"/>
                    <a:pt x="806" y="33"/>
                  </a:cubicBezTo>
                  <a:cubicBezTo>
                    <a:pt x="814" y="44"/>
                    <a:pt x="822" y="57"/>
                    <a:pt x="830" y="69"/>
                  </a:cubicBezTo>
                  <a:cubicBezTo>
                    <a:pt x="838" y="73"/>
                    <a:pt x="849" y="77"/>
                    <a:pt x="863" y="80"/>
                  </a:cubicBezTo>
                  <a:cubicBezTo>
                    <a:pt x="869" y="84"/>
                    <a:pt x="874" y="88"/>
                    <a:pt x="880" y="92"/>
                  </a:cubicBezTo>
                  <a:cubicBezTo>
                    <a:pt x="883" y="97"/>
                    <a:pt x="886" y="101"/>
                    <a:pt x="889" y="107"/>
                  </a:cubicBezTo>
                  <a:cubicBezTo>
                    <a:pt x="890" y="116"/>
                    <a:pt x="891" y="126"/>
                    <a:pt x="892" y="136"/>
                  </a:cubicBezTo>
                  <a:cubicBezTo>
                    <a:pt x="896" y="143"/>
                    <a:pt x="899" y="150"/>
                    <a:pt x="904" y="157"/>
                  </a:cubicBezTo>
                  <a:cubicBezTo>
                    <a:pt x="905" y="168"/>
                    <a:pt x="909" y="189"/>
                    <a:pt x="899" y="205"/>
                  </a:cubicBezTo>
                  <a:cubicBezTo>
                    <a:pt x="878" y="218"/>
                    <a:pt x="881" y="211"/>
                    <a:pt x="879" y="236"/>
                  </a:cubicBezTo>
                  <a:cubicBezTo>
                    <a:pt x="880" y="242"/>
                    <a:pt x="881" y="251"/>
                    <a:pt x="888" y="261"/>
                  </a:cubicBezTo>
                  <a:cubicBezTo>
                    <a:pt x="894" y="265"/>
                    <a:pt x="899" y="269"/>
                    <a:pt x="906" y="274"/>
                  </a:cubicBezTo>
                  <a:cubicBezTo>
                    <a:pt x="915" y="276"/>
                    <a:pt x="924" y="278"/>
                    <a:pt x="933" y="280"/>
                  </a:cubicBezTo>
                  <a:cubicBezTo>
                    <a:pt x="951" y="293"/>
                    <a:pt x="972" y="293"/>
                    <a:pt x="998" y="295"/>
                  </a:cubicBezTo>
                  <a:cubicBezTo>
                    <a:pt x="1006" y="299"/>
                    <a:pt x="1020" y="312"/>
                    <a:pt x="1030" y="323"/>
                  </a:cubicBezTo>
                  <a:cubicBezTo>
                    <a:pt x="1039" y="330"/>
                    <a:pt x="1047" y="337"/>
                    <a:pt x="1056" y="344"/>
                  </a:cubicBezTo>
                  <a:cubicBezTo>
                    <a:pt x="1064" y="346"/>
                    <a:pt x="1074" y="347"/>
                    <a:pt x="1083" y="359"/>
                  </a:cubicBezTo>
                  <a:cubicBezTo>
                    <a:pt x="1086" y="367"/>
                    <a:pt x="1089" y="385"/>
                    <a:pt x="1096" y="398"/>
                  </a:cubicBezTo>
                  <a:cubicBezTo>
                    <a:pt x="1099" y="401"/>
                    <a:pt x="1105" y="402"/>
                    <a:pt x="1108" y="413"/>
                  </a:cubicBezTo>
                  <a:cubicBezTo>
                    <a:pt x="1107" y="418"/>
                    <a:pt x="1107" y="423"/>
                    <a:pt x="1107" y="429"/>
                  </a:cubicBezTo>
                  <a:cubicBezTo>
                    <a:pt x="1108" y="433"/>
                    <a:pt x="1110" y="437"/>
                    <a:pt x="1112" y="441"/>
                  </a:cubicBezTo>
                  <a:cubicBezTo>
                    <a:pt x="1099" y="448"/>
                    <a:pt x="1100" y="451"/>
                    <a:pt x="1096" y="466"/>
                  </a:cubicBezTo>
                  <a:cubicBezTo>
                    <a:pt x="1095" y="472"/>
                    <a:pt x="1095" y="479"/>
                    <a:pt x="1095" y="485"/>
                  </a:cubicBezTo>
                  <a:cubicBezTo>
                    <a:pt x="1096" y="492"/>
                    <a:pt x="1097" y="499"/>
                    <a:pt x="1099" y="506"/>
                  </a:cubicBezTo>
                  <a:cubicBezTo>
                    <a:pt x="1097" y="507"/>
                    <a:pt x="1096" y="507"/>
                    <a:pt x="1095" y="508"/>
                  </a:cubicBezTo>
                  <a:cubicBezTo>
                    <a:pt x="1081" y="509"/>
                    <a:pt x="1067" y="509"/>
                    <a:pt x="1054" y="510"/>
                  </a:cubicBezTo>
                  <a:cubicBezTo>
                    <a:pt x="1024" y="513"/>
                    <a:pt x="1011" y="516"/>
                    <a:pt x="1002" y="543"/>
                  </a:cubicBezTo>
                  <a:cubicBezTo>
                    <a:pt x="993" y="552"/>
                    <a:pt x="988" y="557"/>
                    <a:pt x="984" y="571"/>
                  </a:cubicBezTo>
                  <a:cubicBezTo>
                    <a:pt x="970" y="581"/>
                    <a:pt x="950" y="580"/>
                    <a:pt x="938" y="580"/>
                  </a:cubicBezTo>
                  <a:cubicBezTo>
                    <a:pt x="938" y="586"/>
                    <a:pt x="932" y="598"/>
                    <a:pt x="925" y="603"/>
                  </a:cubicBezTo>
                  <a:cubicBezTo>
                    <a:pt x="919" y="614"/>
                    <a:pt x="925" y="626"/>
                    <a:pt x="931" y="642"/>
                  </a:cubicBezTo>
                  <a:cubicBezTo>
                    <a:pt x="931" y="647"/>
                    <a:pt x="931" y="652"/>
                    <a:pt x="932" y="657"/>
                  </a:cubicBezTo>
                  <a:cubicBezTo>
                    <a:pt x="921" y="658"/>
                    <a:pt x="911" y="661"/>
                    <a:pt x="901" y="663"/>
                  </a:cubicBezTo>
                  <a:cubicBezTo>
                    <a:pt x="891" y="666"/>
                    <a:pt x="882" y="672"/>
                    <a:pt x="876" y="676"/>
                  </a:cubicBezTo>
                  <a:cubicBezTo>
                    <a:pt x="849" y="685"/>
                    <a:pt x="823" y="687"/>
                    <a:pt x="800" y="687"/>
                  </a:cubicBezTo>
                  <a:cubicBezTo>
                    <a:pt x="790" y="688"/>
                    <a:pt x="789" y="689"/>
                    <a:pt x="784" y="693"/>
                  </a:cubicBezTo>
                  <a:cubicBezTo>
                    <a:pt x="784" y="700"/>
                    <a:pt x="784" y="701"/>
                    <a:pt x="792" y="713"/>
                  </a:cubicBezTo>
                  <a:cubicBezTo>
                    <a:pt x="783" y="726"/>
                    <a:pt x="791" y="735"/>
                    <a:pt x="807" y="744"/>
                  </a:cubicBezTo>
                  <a:cubicBezTo>
                    <a:pt x="811" y="750"/>
                    <a:pt x="815" y="756"/>
                    <a:pt x="819" y="763"/>
                  </a:cubicBezTo>
                  <a:cubicBezTo>
                    <a:pt x="826" y="766"/>
                    <a:pt x="831" y="768"/>
                    <a:pt x="828" y="783"/>
                  </a:cubicBezTo>
                  <a:cubicBezTo>
                    <a:pt x="826" y="785"/>
                    <a:pt x="823" y="787"/>
                    <a:pt x="822" y="790"/>
                  </a:cubicBezTo>
                  <a:cubicBezTo>
                    <a:pt x="803" y="800"/>
                    <a:pt x="802" y="797"/>
                    <a:pt x="802" y="819"/>
                  </a:cubicBezTo>
                  <a:cubicBezTo>
                    <a:pt x="806" y="823"/>
                    <a:pt x="814" y="830"/>
                    <a:pt x="814" y="844"/>
                  </a:cubicBezTo>
                  <a:cubicBezTo>
                    <a:pt x="807" y="849"/>
                    <a:pt x="799" y="850"/>
                    <a:pt x="795" y="850"/>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9" name="Freeform 44"/>
            <p:cNvSpPr/>
            <p:nvPr/>
          </p:nvSpPr>
          <p:spPr bwMode="auto">
            <a:xfrm rot="252837">
              <a:off x="3819525" y="5607050"/>
              <a:ext cx="309563" cy="257175"/>
            </a:xfrm>
            <a:custGeom>
              <a:avLst/>
              <a:gdLst/>
              <a:ahLst/>
              <a:cxnLst>
                <a:cxn ang="0">
                  <a:pos x="50" y="125"/>
                </a:cxn>
                <a:cxn ang="0">
                  <a:pos x="4" y="103"/>
                </a:cxn>
                <a:cxn ang="0">
                  <a:pos x="6" y="49"/>
                </a:cxn>
                <a:cxn ang="0">
                  <a:pos x="26" y="41"/>
                </a:cxn>
                <a:cxn ang="0">
                  <a:pos x="27" y="20"/>
                </a:cxn>
                <a:cxn ang="0">
                  <a:pos x="52" y="19"/>
                </a:cxn>
                <a:cxn ang="0">
                  <a:pos x="80" y="3"/>
                </a:cxn>
                <a:cxn ang="0">
                  <a:pos x="133" y="0"/>
                </a:cxn>
                <a:cxn ang="0">
                  <a:pos x="151" y="18"/>
                </a:cxn>
                <a:cxn ang="0">
                  <a:pos x="151" y="29"/>
                </a:cxn>
                <a:cxn ang="0">
                  <a:pos x="146" y="38"/>
                </a:cxn>
                <a:cxn ang="0">
                  <a:pos x="123" y="75"/>
                </a:cxn>
                <a:cxn ang="0">
                  <a:pos x="114" y="93"/>
                </a:cxn>
                <a:cxn ang="0">
                  <a:pos x="66" y="122"/>
                </a:cxn>
                <a:cxn ang="0">
                  <a:pos x="50" y="125"/>
                </a:cxn>
              </a:cxnLst>
              <a:rect l="0" t="0" r="r" b="b"/>
              <a:pathLst>
                <a:path w="151" h="125">
                  <a:moveTo>
                    <a:pt x="50" y="125"/>
                  </a:moveTo>
                  <a:cubicBezTo>
                    <a:pt x="30" y="116"/>
                    <a:pt x="13" y="115"/>
                    <a:pt x="4" y="103"/>
                  </a:cubicBezTo>
                  <a:cubicBezTo>
                    <a:pt x="0" y="87"/>
                    <a:pt x="0" y="61"/>
                    <a:pt x="6" y="49"/>
                  </a:cubicBezTo>
                  <a:cubicBezTo>
                    <a:pt x="10" y="47"/>
                    <a:pt x="20" y="45"/>
                    <a:pt x="26" y="41"/>
                  </a:cubicBezTo>
                  <a:cubicBezTo>
                    <a:pt x="26" y="34"/>
                    <a:pt x="27" y="27"/>
                    <a:pt x="27" y="20"/>
                  </a:cubicBezTo>
                  <a:cubicBezTo>
                    <a:pt x="34" y="13"/>
                    <a:pt x="40" y="21"/>
                    <a:pt x="52" y="19"/>
                  </a:cubicBezTo>
                  <a:cubicBezTo>
                    <a:pt x="62" y="13"/>
                    <a:pt x="71" y="8"/>
                    <a:pt x="80" y="3"/>
                  </a:cubicBezTo>
                  <a:cubicBezTo>
                    <a:pt x="98" y="2"/>
                    <a:pt x="115" y="1"/>
                    <a:pt x="133" y="0"/>
                  </a:cubicBezTo>
                  <a:cubicBezTo>
                    <a:pt x="136" y="2"/>
                    <a:pt x="146" y="8"/>
                    <a:pt x="151" y="18"/>
                  </a:cubicBezTo>
                  <a:cubicBezTo>
                    <a:pt x="151" y="21"/>
                    <a:pt x="151" y="25"/>
                    <a:pt x="151" y="29"/>
                  </a:cubicBezTo>
                  <a:cubicBezTo>
                    <a:pt x="149" y="32"/>
                    <a:pt x="147" y="35"/>
                    <a:pt x="146" y="38"/>
                  </a:cubicBezTo>
                  <a:cubicBezTo>
                    <a:pt x="138" y="50"/>
                    <a:pt x="129" y="61"/>
                    <a:pt x="123" y="75"/>
                  </a:cubicBezTo>
                  <a:cubicBezTo>
                    <a:pt x="122" y="80"/>
                    <a:pt x="120" y="87"/>
                    <a:pt x="114" y="93"/>
                  </a:cubicBezTo>
                  <a:cubicBezTo>
                    <a:pt x="97" y="101"/>
                    <a:pt x="80" y="114"/>
                    <a:pt x="66" y="122"/>
                  </a:cubicBezTo>
                  <a:cubicBezTo>
                    <a:pt x="61" y="123"/>
                    <a:pt x="56" y="124"/>
                    <a:pt x="50" y="125"/>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10" name="Freeform 45"/>
            <p:cNvSpPr/>
            <p:nvPr/>
          </p:nvSpPr>
          <p:spPr bwMode="auto">
            <a:xfrm rot="252837">
              <a:off x="3824288" y="5619750"/>
              <a:ext cx="292100" cy="231775"/>
            </a:xfrm>
            <a:custGeom>
              <a:avLst/>
              <a:gdLst/>
              <a:ahLst/>
              <a:cxnLst>
                <a:cxn ang="0">
                  <a:pos x="51" y="113"/>
                </a:cxn>
                <a:cxn ang="0">
                  <a:pos x="18" y="102"/>
                </a:cxn>
                <a:cxn ang="0">
                  <a:pos x="6" y="63"/>
                </a:cxn>
                <a:cxn ang="0">
                  <a:pos x="23" y="43"/>
                </a:cxn>
                <a:cxn ang="0">
                  <a:pos x="30" y="38"/>
                </a:cxn>
                <a:cxn ang="0">
                  <a:pos x="31" y="17"/>
                </a:cxn>
                <a:cxn ang="0">
                  <a:pos x="33" y="17"/>
                </a:cxn>
                <a:cxn ang="0">
                  <a:pos x="53" y="19"/>
                </a:cxn>
                <a:cxn ang="0">
                  <a:pos x="81" y="3"/>
                </a:cxn>
                <a:cxn ang="0">
                  <a:pos x="128" y="0"/>
                </a:cxn>
                <a:cxn ang="0">
                  <a:pos x="143" y="20"/>
                </a:cxn>
                <a:cxn ang="0">
                  <a:pos x="127" y="42"/>
                </a:cxn>
                <a:cxn ang="0">
                  <a:pos x="111" y="79"/>
                </a:cxn>
                <a:cxn ang="0">
                  <a:pos x="61" y="111"/>
                </a:cxn>
                <a:cxn ang="0">
                  <a:pos x="51" y="113"/>
                </a:cxn>
              </a:cxnLst>
              <a:rect l="0" t="0" r="r" b="b"/>
              <a:pathLst>
                <a:path w="143" h="113">
                  <a:moveTo>
                    <a:pt x="51" y="113"/>
                  </a:moveTo>
                  <a:cubicBezTo>
                    <a:pt x="40" y="109"/>
                    <a:pt x="29" y="105"/>
                    <a:pt x="18" y="102"/>
                  </a:cubicBezTo>
                  <a:cubicBezTo>
                    <a:pt x="0" y="88"/>
                    <a:pt x="6" y="79"/>
                    <a:pt x="6" y="63"/>
                  </a:cubicBezTo>
                  <a:cubicBezTo>
                    <a:pt x="9" y="44"/>
                    <a:pt x="5" y="48"/>
                    <a:pt x="23" y="43"/>
                  </a:cubicBezTo>
                  <a:cubicBezTo>
                    <a:pt x="25" y="42"/>
                    <a:pt x="27" y="40"/>
                    <a:pt x="30" y="38"/>
                  </a:cubicBezTo>
                  <a:cubicBezTo>
                    <a:pt x="30" y="31"/>
                    <a:pt x="30" y="24"/>
                    <a:pt x="31" y="17"/>
                  </a:cubicBezTo>
                  <a:cubicBezTo>
                    <a:pt x="31" y="17"/>
                    <a:pt x="32" y="17"/>
                    <a:pt x="33" y="17"/>
                  </a:cubicBezTo>
                  <a:cubicBezTo>
                    <a:pt x="37" y="19"/>
                    <a:pt x="45" y="20"/>
                    <a:pt x="53" y="19"/>
                  </a:cubicBezTo>
                  <a:cubicBezTo>
                    <a:pt x="63" y="13"/>
                    <a:pt x="72" y="8"/>
                    <a:pt x="81" y="3"/>
                  </a:cubicBezTo>
                  <a:cubicBezTo>
                    <a:pt x="97" y="2"/>
                    <a:pt x="112" y="0"/>
                    <a:pt x="128" y="0"/>
                  </a:cubicBezTo>
                  <a:cubicBezTo>
                    <a:pt x="132" y="3"/>
                    <a:pt x="143" y="7"/>
                    <a:pt x="143" y="20"/>
                  </a:cubicBezTo>
                  <a:cubicBezTo>
                    <a:pt x="138" y="28"/>
                    <a:pt x="133" y="36"/>
                    <a:pt x="127" y="42"/>
                  </a:cubicBezTo>
                  <a:cubicBezTo>
                    <a:pt x="123" y="53"/>
                    <a:pt x="115" y="63"/>
                    <a:pt x="111" y="79"/>
                  </a:cubicBezTo>
                  <a:cubicBezTo>
                    <a:pt x="94" y="89"/>
                    <a:pt x="78" y="100"/>
                    <a:pt x="61" y="111"/>
                  </a:cubicBezTo>
                  <a:cubicBezTo>
                    <a:pt x="58" y="111"/>
                    <a:pt x="54" y="112"/>
                    <a:pt x="51" y="113"/>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11" name="Freeform 47"/>
            <p:cNvSpPr/>
            <p:nvPr/>
          </p:nvSpPr>
          <p:spPr bwMode="auto">
            <a:xfrm rot="252837">
              <a:off x="3981450" y="4919663"/>
              <a:ext cx="901700" cy="690562"/>
            </a:xfrm>
            <a:custGeom>
              <a:avLst/>
              <a:gdLst/>
              <a:ahLst/>
              <a:cxnLst>
                <a:cxn ang="0">
                  <a:pos x="30" y="337"/>
                </a:cxn>
                <a:cxn ang="0">
                  <a:pos x="15" y="313"/>
                </a:cxn>
                <a:cxn ang="0">
                  <a:pos x="0" y="291"/>
                </a:cxn>
                <a:cxn ang="0">
                  <a:pos x="10" y="268"/>
                </a:cxn>
                <a:cxn ang="0">
                  <a:pos x="37" y="222"/>
                </a:cxn>
                <a:cxn ang="0">
                  <a:pos x="70" y="191"/>
                </a:cxn>
                <a:cxn ang="0">
                  <a:pos x="103" y="154"/>
                </a:cxn>
                <a:cxn ang="0">
                  <a:pos x="119" y="129"/>
                </a:cxn>
                <a:cxn ang="0">
                  <a:pos x="139" y="92"/>
                </a:cxn>
                <a:cxn ang="0">
                  <a:pos x="137" y="60"/>
                </a:cxn>
                <a:cxn ang="0">
                  <a:pos x="147" y="34"/>
                </a:cxn>
                <a:cxn ang="0">
                  <a:pos x="156" y="20"/>
                </a:cxn>
                <a:cxn ang="0">
                  <a:pos x="167" y="20"/>
                </a:cxn>
                <a:cxn ang="0">
                  <a:pos x="186" y="38"/>
                </a:cxn>
                <a:cxn ang="0">
                  <a:pos x="197" y="38"/>
                </a:cxn>
                <a:cxn ang="0">
                  <a:pos x="201" y="18"/>
                </a:cxn>
                <a:cxn ang="0">
                  <a:pos x="190" y="6"/>
                </a:cxn>
                <a:cxn ang="0">
                  <a:pos x="193" y="4"/>
                </a:cxn>
                <a:cxn ang="0">
                  <a:pos x="248" y="4"/>
                </a:cxn>
                <a:cxn ang="0">
                  <a:pos x="284" y="0"/>
                </a:cxn>
                <a:cxn ang="0">
                  <a:pos x="290" y="0"/>
                </a:cxn>
                <a:cxn ang="0">
                  <a:pos x="290" y="11"/>
                </a:cxn>
                <a:cxn ang="0">
                  <a:pos x="267" y="38"/>
                </a:cxn>
                <a:cxn ang="0">
                  <a:pos x="294" y="55"/>
                </a:cxn>
                <a:cxn ang="0">
                  <a:pos x="325" y="40"/>
                </a:cxn>
                <a:cxn ang="0">
                  <a:pos x="336" y="40"/>
                </a:cxn>
                <a:cxn ang="0">
                  <a:pos x="343" y="47"/>
                </a:cxn>
                <a:cxn ang="0">
                  <a:pos x="398" y="31"/>
                </a:cxn>
                <a:cxn ang="0">
                  <a:pos x="414" y="51"/>
                </a:cxn>
                <a:cxn ang="0">
                  <a:pos x="439" y="85"/>
                </a:cxn>
                <a:cxn ang="0">
                  <a:pos x="439" y="94"/>
                </a:cxn>
                <a:cxn ang="0">
                  <a:pos x="421" y="98"/>
                </a:cxn>
                <a:cxn ang="0">
                  <a:pos x="408" y="126"/>
                </a:cxn>
                <a:cxn ang="0">
                  <a:pos x="408" y="129"/>
                </a:cxn>
                <a:cxn ang="0">
                  <a:pos x="355" y="158"/>
                </a:cxn>
                <a:cxn ang="0">
                  <a:pos x="347" y="167"/>
                </a:cxn>
                <a:cxn ang="0">
                  <a:pos x="337" y="162"/>
                </a:cxn>
                <a:cxn ang="0">
                  <a:pos x="326" y="162"/>
                </a:cxn>
                <a:cxn ang="0">
                  <a:pos x="320" y="171"/>
                </a:cxn>
                <a:cxn ang="0">
                  <a:pos x="312" y="171"/>
                </a:cxn>
                <a:cxn ang="0">
                  <a:pos x="295" y="165"/>
                </a:cxn>
                <a:cxn ang="0">
                  <a:pos x="295" y="178"/>
                </a:cxn>
                <a:cxn ang="0">
                  <a:pos x="277" y="194"/>
                </a:cxn>
                <a:cxn ang="0">
                  <a:pos x="262" y="183"/>
                </a:cxn>
                <a:cxn ang="0">
                  <a:pos x="259" y="182"/>
                </a:cxn>
                <a:cxn ang="0">
                  <a:pos x="244" y="169"/>
                </a:cxn>
                <a:cxn ang="0">
                  <a:pos x="235" y="169"/>
                </a:cxn>
                <a:cxn ang="0">
                  <a:pos x="229" y="185"/>
                </a:cxn>
                <a:cxn ang="0">
                  <a:pos x="217" y="202"/>
                </a:cxn>
                <a:cxn ang="0">
                  <a:pos x="196" y="221"/>
                </a:cxn>
                <a:cxn ang="0">
                  <a:pos x="183" y="224"/>
                </a:cxn>
                <a:cxn ang="0">
                  <a:pos x="171" y="234"/>
                </a:cxn>
                <a:cxn ang="0">
                  <a:pos x="146" y="239"/>
                </a:cxn>
                <a:cxn ang="0">
                  <a:pos x="143" y="246"/>
                </a:cxn>
                <a:cxn ang="0">
                  <a:pos x="136" y="246"/>
                </a:cxn>
                <a:cxn ang="0">
                  <a:pos x="111" y="247"/>
                </a:cxn>
                <a:cxn ang="0">
                  <a:pos x="78" y="259"/>
                </a:cxn>
                <a:cxn ang="0">
                  <a:pos x="44" y="272"/>
                </a:cxn>
                <a:cxn ang="0">
                  <a:pos x="43" y="286"/>
                </a:cxn>
                <a:cxn ang="0">
                  <a:pos x="29" y="304"/>
                </a:cxn>
                <a:cxn ang="0">
                  <a:pos x="48" y="330"/>
                </a:cxn>
                <a:cxn ang="0">
                  <a:pos x="30" y="337"/>
                </a:cxn>
              </a:cxnLst>
              <a:rect l="0" t="0" r="r" b="b"/>
              <a:pathLst>
                <a:path w="439" h="337">
                  <a:moveTo>
                    <a:pt x="30" y="337"/>
                  </a:moveTo>
                  <a:cubicBezTo>
                    <a:pt x="17" y="329"/>
                    <a:pt x="18" y="321"/>
                    <a:pt x="15" y="313"/>
                  </a:cubicBezTo>
                  <a:cubicBezTo>
                    <a:pt x="10" y="306"/>
                    <a:pt x="5" y="298"/>
                    <a:pt x="0" y="291"/>
                  </a:cubicBezTo>
                  <a:cubicBezTo>
                    <a:pt x="0" y="273"/>
                    <a:pt x="0" y="276"/>
                    <a:pt x="10" y="268"/>
                  </a:cubicBezTo>
                  <a:cubicBezTo>
                    <a:pt x="13" y="241"/>
                    <a:pt x="15" y="238"/>
                    <a:pt x="37" y="222"/>
                  </a:cubicBezTo>
                  <a:cubicBezTo>
                    <a:pt x="47" y="209"/>
                    <a:pt x="56" y="201"/>
                    <a:pt x="70" y="191"/>
                  </a:cubicBezTo>
                  <a:cubicBezTo>
                    <a:pt x="81" y="177"/>
                    <a:pt x="90" y="166"/>
                    <a:pt x="103" y="154"/>
                  </a:cubicBezTo>
                  <a:cubicBezTo>
                    <a:pt x="114" y="148"/>
                    <a:pt x="116" y="139"/>
                    <a:pt x="119" y="129"/>
                  </a:cubicBezTo>
                  <a:cubicBezTo>
                    <a:pt x="119" y="102"/>
                    <a:pt x="126" y="108"/>
                    <a:pt x="139" y="92"/>
                  </a:cubicBezTo>
                  <a:cubicBezTo>
                    <a:pt x="138" y="81"/>
                    <a:pt x="137" y="70"/>
                    <a:pt x="137" y="60"/>
                  </a:cubicBezTo>
                  <a:cubicBezTo>
                    <a:pt x="146" y="51"/>
                    <a:pt x="146" y="43"/>
                    <a:pt x="147" y="34"/>
                  </a:cubicBezTo>
                  <a:cubicBezTo>
                    <a:pt x="150" y="29"/>
                    <a:pt x="153" y="24"/>
                    <a:pt x="156" y="20"/>
                  </a:cubicBezTo>
                  <a:cubicBezTo>
                    <a:pt x="159" y="20"/>
                    <a:pt x="163" y="20"/>
                    <a:pt x="167" y="20"/>
                  </a:cubicBezTo>
                  <a:cubicBezTo>
                    <a:pt x="173" y="26"/>
                    <a:pt x="179" y="32"/>
                    <a:pt x="186" y="38"/>
                  </a:cubicBezTo>
                  <a:cubicBezTo>
                    <a:pt x="189" y="38"/>
                    <a:pt x="193" y="38"/>
                    <a:pt x="197" y="38"/>
                  </a:cubicBezTo>
                  <a:cubicBezTo>
                    <a:pt x="202" y="33"/>
                    <a:pt x="201" y="20"/>
                    <a:pt x="201" y="18"/>
                  </a:cubicBezTo>
                  <a:cubicBezTo>
                    <a:pt x="198" y="14"/>
                    <a:pt x="194" y="10"/>
                    <a:pt x="190" y="6"/>
                  </a:cubicBezTo>
                  <a:cubicBezTo>
                    <a:pt x="191" y="5"/>
                    <a:pt x="192" y="4"/>
                    <a:pt x="193" y="4"/>
                  </a:cubicBezTo>
                  <a:cubicBezTo>
                    <a:pt x="211" y="4"/>
                    <a:pt x="229" y="4"/>
                    <a:pt x="248" y="4"/>
                  </a:cubicBezTo>
                  <a:cubicBezTo>
                    <a:pt x="254" y="7"/>
                    <a:pt x="274" y="7"/>
                    <a:pt x="284" y="0"/>
                  </a:cubicBezTo>
                  <a:cubicBezTo>
                    <a:pt x="285" y="0"/>
                    <a:pt x="288" y="0"/>
                    <a:pt x="290" y="0"/>
                  </a:cubicBezTo>
                  <a:cubicBezTo>
                    <a:pt x="290" y="3"/>
                    <a:pt x="290" y="7"/>
                    <a:pt x="290" y="11"/>
                  </a:cubicBezTo>
                  <a:cubicBezTo>
                    <a:pt x="282" y="20"/>
                    <a:pt x="275" y="29"/>
                    <a:pt x="267" y="38"/>
                  </a:cubicBezTo>
                  <a:cubicBezTo>
                    <a:pt x="268" y="52"/>
                    <a:pt x="271" y="55"/>
                    <a:pt x="294" y="55"/>
                  </a:cubicBezTo>
                  <a:cubicBezTo>
                    <a:pt x="304" y="50"/>
                    <a:pt x="315" y="45"/>
                    <a:pt x="325" y="40"/>
                  </a:cubicBezTo>
                  <a:cubicBezTo>
                    <a:pt x="329" y="40"/>
                    <a:pt x="333" y="40"/>
                    <a:pt x="336" y="40"/>
                  </a:cubicBezTo>
                  <a:cubicBezTo>
                    <a:pt x="338" y="42"/>
                    <a:pt x="340" y="45"/>
                    <a:pt x="343" y="47"/>
                  </a:cubicBezTo>
                  <a:cubicBezTo>
                    <a:pt x="362" y="47"/>
                    <a:pt x="371" y="22"/>
                    <a:pt x="398" y="31"/>
                  </a:cubicBezTo>
                  <a:cubicBezTo>
                    <a:pt x="403" y="37"/>
                    <a:pt x="409" y="44"/>
                    <a:pt x="414" y="51"/>
                  </a:cubicBezTo>
                  <a:cubicBezTo>
                    <a:pt x="423" y="62"/>
                    <a:pt x="431" y="73"/>
                    <a:pt x="439" y="85"/>
                  </a:cubicBezTo>
                  <a:cubicBezTo>
                    <a:pt x="439" y="88"/>
                    <a:pt x="439" y="90"/>
                    <a:pt x="439" y="94"/>
                  </a:cubicBezTo>
                  <a:cubicBezTo>
                    <a:pt x="429" y="94"/>
                    <a:pt x="428" y="95"/>
                    <a:pt x="421" y="98"/>
                  </a:cubicBezTo>
                  <a:cubicBezTo>
                    <a:pt x="415" y="107"/>
                    <a:pt x="397" y="110"/>
                    <a:pt x="408" y="126"/>
                  </a:cubicBezTo>
                  <a:cubicBezTo>
                    <a:pt x="408" y="126"/>
                    <a:pt x="408" y="128"/>
                    <a:pt x="408" y="129"/>
                  </a:cubicBezTo>
                  <a:cubicBezTo>
                    <a:pt x="390" y="136"/>
                    <a:pt x="371" y="151"/>
                    <a:pt x="355" y="158"/>
                  </a:cubicBezTo>
                  <a:cubicBezTo>
                    <a:pt x="353" y="161"/>
                    <a:pt x="350" y="164"/>
                    <a:pt x="347" y="167"/>
                  </a:cubicBezTo>
                  <a:cubicBezTo>
                    <a:pt x="341" y="167"/>
                    <a:pt x="338" y="165"/>
                    <a:pt x="337" y="162"/>
                  </a:cubicBezTo>
                  <a:cubicBezTo>
                    <a:pt x="333" y="162"/>
                    <a:pt x="330" y="162"/>
                    <a:pt x="326" y="162"/>
                  </a:cubicBezTo>
                  <a:cubicBezTo>
                    <a:pt x="324" y="165"/>
                    <a:pt x="321" y="168"/>
                    <a:pt x="320" y="171"/>
                  </a:cubicBezTo>
                  <a:cubicBezTo>
                    <a:pt x="317" y="171"/>
                    <a:pt x="314" y="171"/>
                    <a:pt x="312" y="171"/>
                  </a:cubicBezTo>
                  <a:cubicBezTo>
                    <a:pt x="305" y="160"/>
                    <a:pt x="300" y="164"/>
                    <a:pt x="295" y="165"/>
                  </a:cubicBezTo>
                  <a:cubicBezTo>
                    <a:pt x="295" y="169"/>
                    <a:pt x="295" y="174"/>
                    <a:pt x="295" y="178"/>
                  </a:cubicBezTo>
                  <a:cubicBezTo>
                    <a:pt x="286" y="187"/>
                    <a:pt x="281" y="178"/>
                    <a:pt x="277" y="194"/>
                  </a:cubicBezTo>
                  <a:cubicBezTo>
                    <a:pt x="264" y="194"/>
                    <a:pt x="266" y="189"/>
                    <a:pt x="262" y="183"/>
                  </a:cubicBezTo>
                  <a:cubicBezTo>
                    <a:pt x="261" y="182"/>
                    <a:pt x="259" y="182"/>
                    <a:pt x="259" y="182"/>
                  </a:cubicBezTo>
                  <a:cubicBezTo>
                    <a:pt x="254" y="178"/>
                    <a:pt x="249" y="173"/>
                    <a:pt x="244" y="169"/>
                  </a:cubicBezTo>
                  <a:cubicBezTo>
                    <a:pt x="241" y="169"/>
                    <a:pt x="238" y="169"/>
                    <a:pt x="235" y="169"/>
                  </a:cubicBezTo>
                  <a:cubicBezTo>
                    <a:pt x="231" y="175"/>
                    <a:pt x="231" y="177"/>
                    <a:pt x="229" y="185"/>
                  </a:cubicBezTo>
                  <a:cubicBezTo>
                    <a:pt x="225" y="191"/>
                    <a:pt x="221" y="197"/>
                    <a:pt x="217" y="202"/>
                  </a:cubicBezTo>
                  <a:cubicBezTo>
                    <a:pt x="204" y="209"/>
                    <a:pt x="203" y="209"/>
                    <a:pt x="196" y="221"/>
                  </a:cubicBezTo>
                  <a:cubicBezTo>
                    <a:pt x="192" y="221"/>
                    <a:pt x="188" y="222"/>
                    <a:pt x="183" y="224"/>
                  </a:cubicBezTo>
                  <a:cubicBezTo>
                    <a:pt x="179" y="227"/>
                    <a:pt x="175" y="231"/>
                    <a:pt x="171" y="234"/>
                  </a:cubicBezTo>
                  <a:cubicBezTo>
                    <a:pt x="156" y="234"/>
                    <a:pt x="153" y="235"/>
                    <a:pt x="146" y="239"/>
                  </a:cubicBezTo>
                  <a:cubicBezTo>
                    <a:pt x="145" y="241"/>
                    <a:pt x="144" y="244"/>
                    <a:pt x="143" y="246"/>
                  </a:cubicBezTo>
                  <a:cubicBezTo>
                    <a:pt x="140" y="246"/>
                    <a:pt x="138" y="246"/>
                    <a:pt x="136" y="246"/>
                  </a:cubicBezTo>
                  <a:cubicBezTo>
                    <a:pt x="122" y="239"/>
                    <a:pt x="121" y="242"/>
                    <a:pt x="111" y="247"/>
                  </a:cubicBezTo>
                  <a:cubicBezTo>
                    <a:pt x="100" y="251"/>
                    <a:pt x="89" y="255"/>
                    <a:pt x="78" y="259"/>
                  </a:cubicBezTo>
                  <a:cubicBezTo>
                    <a:pt x="61" y="260"/>
                    <a:pt x="54" y="261"/>
                    <a:pt x="44" y="272"/>
                  </a:cubicBezTo>
                  <a:cubicBezTo>
                    <a:pt x="43" y="276"/>
                    <a:pt x="43" y="281"/>
                    <a:pt x="43" y="286"/>
                  </a:cubicBezTo>
                  <a:cubicBezTo>
                    <a:pt x="30" y="290"/>
                    <a:pt x="29" y="290"/>
                    <a:pt x="29" y="304"/>
                  </a:cubicBezTo>
                  <a:cubicBezTo>
                    <a:pt x="33" y="307"/>
                    <a:pt x="48" y="317"/>
                    <a:pt x="48" y="330"/>
                  </a:cubicBezTo>
                  <a:cubicBezTo>
                    <a:pt x="42" y="336"/>
                    <a:pt x="34" y="337"/>
                    <a:pt x="30" y="337"/>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12" name="Freeform 48"/>
            <p:cNvSpPr/>
            <p:nvPr/>
          </p:nvSpPr>
          <p:spPr bwMode="auto">
            <a:xfrm rot="252837">
              <a:off x="2568575" y="4329113"/>
              <a:ext cx="1011238" cy="1084262"/>
            </a:xfrm>
            <a:custGeom>
              <a:avLst/>
              <a:gdLst/>
              <a:ahLst/>
              <a:cxnLst>
                <a:cxn ang="0">
                  <a:pos x="199" y="509"/>
                </a:cxn>
                <a:cxn ang="0">
                  <a:pos x="191" y="474"/>
                </a:cxn>
                <a:cxn ang="0">
                  <a:pos x="145" y="488"/>
                </a:cxn>
                <a:cxn ang="0">
                  <a:pos x="96" y="453"/>
                </a:cxn>
                <a:cxn ang="0">
                  <a:pos x="90" y="389"/>
                </a:cxn>
                <a:cxn ang="0">
                  <a:pos x="63" y="351"/>
                </a:cxn>
                <a:cxn ang="0">
                  <a:pos x="32" y="318"/>
                </a:cxn>
                <a:cxn ang="0">
                  <a:pos x="0" y="329"/>
                </a:cxn>
                <a:cxn ang="0">
                  <a:pos x="8" y="261"/>
                </a:cxn>
                <a:cxn ang="0">
                  <a:pos x="60" y="214"/>
                </a:cxn>
                <a:cxn ang="0">
                  <a:pos x="67" y="179"/>
                </a:cxn>
                <a:cxn ang="0">
                  <a:pos x="70" y="106"/>
                </a:cxn>
                <a:cxn ang="0">
                  <a:pos x="47" y="67"/>
                </a:cxn>
                <a:cxn ang="0">
                  <a:pos x="66" y="13"/>
                </a:cxn>
                <a:cxn ang="0">
                  <a:pos x="102" y="56"/>
                </a:cxn>
                <a:cxn ang="0">
                  <a:pos x="122" y="30"/>
                </a:cxn>
                <a:cxn ang="0">
                  <a:pos x="141" y="54"/>
                </a:cxn>
                <a:cxn ang="0">
                  <a:pos x="185" y="89"/>
                </a:cxn>
                <a:cxn ang="0">
                  <a:pos x="226" y="153"/>
                </a:cxn>
                <a:cxn ang="0">
                  <a:pos x="218" y="187"/>
                </a:cxn>
                <a:cxn ang="0">
                  <a:pos x="264" y="219"/>
                </a:cxn>
                <a:cxn ang="0">
                  <a:pos x="321" y="199"/>
                </a:cxn>
                <a:cxn ang="0">
                  <a:pos x="312" y="152"/>
                </a:cxn>
                <a:cxn ang="0">
                  <a:pos x="347" y="105"/>
                </a:cxn>
                <a:cxn ang="0">
                  <a:pos x="336" y="70"/>
                </a:cxn>
                <a:cxn ang="0">
                  <a:pos x="344" y="64"/>
                </a:cxn>
                <a:cxn ang="0">
                  <a:pos x="389" y="75"/>
                </a:cxn>
                <a:cxn ang="0">
                  <a:pos x="424" y="90"/>
                </a:cxn>
                <a:cxn ang="0">
                  <a:pos x="446" y="83"/>
                </a:cxn>
                <a:cxn ang="0">
                  <a:pos x="422" y="123"/>
                </a:cxn>
                <a:cxn ang="0">
                  <a:pos x="359" y="128"/>
                </a:cxn>
                <a:cxn ang="0">
                  <a:pos x="356" y="162"/>
                </a:cxn>
                <a:cxn ang="0">
                  <a:pos x="402" y="191"/>
                </a:cxn>
                <a:cxn ang="0">
                  <a:pos x="411" y="255"/>
                </a:cxn>
                <a:cxn ang="0">
                  <a:pos x="409" y="307"/>
                </a:cxn>
                <a:cxn ang="0">
                  <a:pos x="463" y="336"/>
                </a:cxn>
                <a:cxn ang="0">
                  <a:pos x="491" y="346"/>
                </a:cxn>
                <a:cxn ang="0">
                  <a:pos x="488" y="367"/>
                </a:cxn>
                <a:cxn ang="0">
                  <a:pos x="417" y="398"/>
                </a:cxn>
                <a:cxn ang="0">
                  <a:pos x="382" y="417"/>
                </a:cxn>
                <a:cxn ang="0">
                  <a:pos x="321" y="431"/>
                </a:cxn>
                <a:cxn ang="0">
                  <a:pos x="265" y="435"/>
                </a:cxn>
                <a:cxn ang="0">
                  <a:pos x="232" y="430"/>
                </a:cxn>
                <a:cxn ang="0">
                  <a:pos x="229" y="488"/>
                </a:cxn>
                <a:cxn ang="0">
                  <a:pos x="227" y="528"/>
                </a:cxn>
              </a:cxnLst>
              <a:rect l="0" t="0" r="r" b="b"/>
              <a:pathLst>
                <a:path w="494" h="528">
                  <a:moveTo>
                    <a:pt x="227" y="528"/>
                  </a:moveTo>
                  <a:cubicBezTo>
                    <a:pt x="217" y="519"/>
                    <a:pt x="208" y="513"/>
                    <a:pt x="199" y="509"/>
                  </a:cubicBezTo>
                  <a:cubicBezTo>
                    <a:pt x="201" y="495"/>
                    <a:pt x="202" y="488"/>
                    <a:pt x="197" y="479"/>
                  </a:cubicBezTo>
                  <a:cubicBezTo>
                    <a:pt x="195" y="477"/>
                    <a:pt x="193" y="475"/>
                    <a:pt x="191" y="474"/>
                  </a:cubicBezTo>
                  <a:cubicBezTo>
                    <a:pt x="177" y="474"/>
                    <a:pt x="168" y="481"/>
                    <a:pt x="161" y="492"/>
                  </a:cubicBezTo>
                  <a:cubicBezTo>
                    <a:pt x="156" y="491"/>
                    <a:pt x="151" y="489"/>
                    <a:pt x="145" y="488"/>
                  </a:cubicBezTo>
                  <a:cubicBezTo>
                    <a:pt x="139" y="478"/>
                    <a:pt x="136" y="473"/>
                    <a:pt x="131" y="470"/>
                  </a:cubicBezTo>
                  <a:cubicBezTo>
                    <a:pt x="115" y="449"/>
                    <a:pt x="118" y="454"/>
                    <a:pt x="96" y="453"/>
                  </a:cubicBezTo>
                  <a:cubicBezTo>
                    <a:pt x="86" y="443"/>
                    <a:pt x="89" y="428"/>
                    <a:pt x="89" y="420"/>
                  </a:cubicBezTo>
                  <a:cubicBezTo>
                    <a:pt x="93" y="408"/>
                    <a:pt x="96" y="396"/>
                    <a:pt x="90" y="389"/>
                  </a:cubicBezTo>
                  <a:cubicBezTo>
                    <a:pt x="66" y="381"/>
                    <a:pt x="69" y="384"/>
                    <a:pt x="69" y="370"/>
                  </a:cubicBezTo>
                  <a:cubicBezTo>
                    <a:pt x="66" y="363"/>
                    <a:pt x="65" y="357"/>
                    <a:pt x="63" y="351"/>
                  </a:cubicBezTo>
                  <a:cubicBezTo>
                    <a:pt x="60" y="347"/>
                    <a:pt x="59" y="344"/>
                    <a:pt x="57" y="341"/>
                  </a:cubicBezTo>
                  <a:cubicBezTo>
                    <a:pt x="52" y="320"/>
                    <a:pt x="48" y="318"/>
                    <a:pt x="32" y="318"/>
                  </a:cubicBezTo>
                  <a:cubicBezTo>
                    <a:pt x="22" y="323"/>
                    <a:pt x="10" y="331"/>
                    <a:pt x="2" y="331"/>
                  </a:cubicBezTo>
                  <a:cubicBezTo>
                    <a:pt x="2" y="330"/>
                    <a:pt x="1" y="330"/>
                    <a:pt x="0" y="329"/>
                  </a:cubicBezTo>
                  <a:cubicBezTo>
                    <a:pt x="0" y="313"/>
                    <a:pt x="0" y="296"/>
                    <a:pt x="0" y="280"/>
                  </a:cubicBezTo>
                  <a:cubicBezTo>
                    <a:pt x="2" y="274"/>
                    <a:pt x="5" y="267"/>
                    <a:pt x="8" y="261"/>
                  </a:cubicBezTo>
                  <a:cubicBezTo>
                    <a:pt x="21" y="244"/>
                    <a:pt x="28" y="239"/>
                    <a:pt x="47" y="226"/>
                  </a:cubicBezTo>
                  <a:cubicBezTo>
                    <a:pt x="51" y="222"/>
                    <a:pt x="55" y="218"/>
                    <a:pt x="60" y="214"/>
                  </a:cubicBezTo>
                  <a:cubicBezTo>
                    <a:pt x="60" y="205"/>
                    <a:pt x="61" y="197"/>
                    <a:pt x="62" y="189"/>
                  </a:cubicBezTo>
                  <a:cubicBezTo>
                    <a:pt x="63" y="186"/>
                    <a:pt x="65" y="182"/>
                    <a:pt x="67" y="179"/>
                  </a:cubicBezTo>
                  <a:cubicBezTo>
                    <a:pt x="67" y="164"/>
                    <a:pt x="66" y="145"/>
                    <a:pt x="73" y="138"/>
                  </a:cubicBezTo>
                  <a:cubicBezTo>
                    <a:pt x="75" y="125"/>
                    <a:pt x="75" y="113"/>
                    <a:pt x="70" y="106"/>
                  </a:cubicBezTo>
                  <a:cubicBezTo>
                    <a:pt x="62" y="99"/>
                    <a:pt x="55" y="92"/>
                    <a:pt x="47" y="85"/>
                  </a:cubicBezTo>
                  <a:cubicBezTo>
                    <a:pt x="47" y="79"/>
                    <a:pt x="47" y="73"/>
                    <a:pt x="47" y="67"/>
                  </a:cubicBezTo>
                  <a:cubicBezTo>
                    <a:pt x="54" y="67"/>
                    <a:pt x="61" y="66"/>
                    <a:pt x="70" y="62"/>
                  </a:cubicBezTo>
                  <a:cubicBezTo>
                    <a:pt x="76" y="43"/>
                    <a:pt x="66" y="26"/>
                    <a:pt x="66" y="13"/>
                  </a:cubicBezTo>
                  <a:cubicBezTo>
                    <a:pt x="72" y="8"/>
                    <a:pt x="76" y="0"/>
                    <a:pt x="86" y="10"/>
                  </a:cubicBezTo>
                  <a:cubicBezTo>
                    <a:pt x="92" y="23"/>
                    <a:pt x="99" y="36"/>
                    <a:pt x="102" y="56"/>
                  </a:cubicBezTo>
                  <a:cubicBezTo>
                    <a:pt x="108" y="62"/>
                    <a:pt x="106" y="60"/>
                    <a:pt x="116" y="62"/>
                  </a:cubicBezTo>
                  <a:cubicBezTo>
                    <a:pt x="123" y="52"/>
                    <a:pt x="122" y="37"/>
                    <a:pt x="122" y="30"/>
                  </a:cubicBezTo>
                  <a:cubicBezTo>
                    <a:pt x="124" y="28"/>
                    <a:pt x="126" y="26"/>
                    <a:pt x="129" y="24"/>
                  </a:cubicBezTo>
                  <a:cubicBezTo>
                    <a:pt x="134" y="31"/>
                    <a:pt x="137" y="41"/>
                    <a:pt x="141" y="54"/>
                  </a:cubicBezTo>
                  <a:cubicBezTo>
                    <a:pt x="146" y="62"/>
                    <a:pt x="152" y="73"/>
                    <a:pt x="164" y="85"/>
                  </a:cubicBezTo>
                  <a:cubicBezTo>
                    <a:pt x="171" y="86"/>
                    <a:pt x="178" y="87"/>
                    <a:pt x="185" y="89"/>
                  </a:cubicBezTo>
                  <a:cubicBezTo>
                    <a:pt x="192" y="101"/>
                    <a:pt x="198" y="114"/>
                    <a:pt x="205" y="127"/>
                  </a:cubicBezTo>
                  <a:cubicBezTo>
                    <a:pt x="212" y="136"/>
                    <a:pt x="219" y="145"/>
                    <a:pt x="226" y="153"/>
                  </a:cubicBezTo>
                  <a:cubicBezTo>
                    <a:pt x="226" y="156"/>
                    <a:pt x="226" y="159"/>
                    <a:pt x="227" y="163"/>
                  </a:cubicBezTo>
                  <a:cubicBezTo>
                    <a:pt x="219" y="173"/>
                    <a:pt x="218" y="170"/>
                    <a:pt x="218" y="187"/>
                  </a:cubicBezTo>
                  <a:cubicBezTo>
                    <a:pt x="226" y="196"/>
                    <a:pt x="229" y="204"/>
                    <a:pt x="247" y="209"/>
                  </a:cubicBezTo>
                  <a:cubicBezTo>
                    <a:pt x="250" y="211"/>
                    <a:pt x="253" y="215"/>
                    <a:pt x="264" y="219"/>
                  </a:cubicBezTo>
                  <a:cubicBezTo>
                    <a:pt x="269" y="218"/>
                    <a:pt x="274" y="218"/>
                    <a:pt x="280" y="217"/>
                  </a:cubicBezTo>
                  <a:cubicBezTo>
                    <a:pt x="293" y="211"/>
                    <a:pt x="307" y="205"/>
                    <a:pt x="321" y="199"/>
                  </a:cubicBezTo>
                  <a:cubicBezTo>
                    <a:pt x="329" y="187"/>
                    <a:pt x="328" y="179"/>
                    <a:pt x="328" y="169"/>
                  </a:cubicBezTo>
                  <a:cubicBezTo>
                    <a:pt x="323" y="158"/>
                    <a:pt x="317" y="156"/>
                    <a:pt x="312" y="152"/>
                  </a:cubicBezTo>
                  <a:cubicBezTo>
                    <a:pt x="312" y="139"/>
                    <a:pt x="310" y="138"/>
                    <a:pt x="316" y="130"/>
                  </a:cubicBezTo>
                  <a:cubicBezTo>
                    <a:pt x="327" y="125"/>
                    <a:pt x="339" y="118"/>
                    <a:pt x="347" y="105"/>
                  </a:cubicBezTo>
                  <a:cubicBezTo>
                    <a:pt x="347" y="100"/>
                    <a:pt x="347" y="95"/>
                    <a:pt x="347" y="90"/>
                  </a:cubicBezTo>
                  <a:cubicBezTo>
                    <a:pt x="343" y="78"/>
                    <a:pt x="340" y="75"/>
                    <a:pt x="336" y="70"/>
                  </a:cubicBezTo>
                  <a:cubicBezTo>
                    <a:pt x="335" y="69"/>
                    <a:pt x="335" y="67"/>
                    <a:pt x="335" y="66"/>
                  </a:cubicBezTo>
                  <a:cubicBezTo>
                    <a:pt x="338" y="66"/>
                    <a:pt x="341" y="65"/>
                    <a:pt x="344" y="64"/>
                  </a:cubicBezTo>
                  <a:cubicBezTo>
                    <a:pt x="361" y="47"/>
                    <a:pt x="343" y="39"/>
                    <a:pt x="377" y="42"/>
                  </a:cubicBezTo>
                  <a:cubicBezTo>
                    <a:pt x="380" y="53"/>
                    <a:pt x="385" y="64"/>
                    <a:pt x="389" y="75"/>
                  </a:cubicBezTo>
                  <a:cubicBezTo>
                    <a:pt x="393" y="80"/>
                    <a:pt x="395" y="84"/>
                    <a:pt x="404" y="90"/>
                  </a:cubicBezTo>
                  <a:cubicBezTo>
                    <a:pt x="410" y="90"/>
                    <a:pt x="417" y="90"/>
                    <a:pt x="424" y="90"/>
                  </a:cubicBezTo>
                  <a:cubicBezTo>
                    <a:pt x="430" y="86"/>
                    <a:pt x="436" y="82"/>
                    <a:pt x="443" y="77"/>
                  </a:cubicBezTo>
                  <a:cubicBezTo>
                    <a:pt x="443" y="79"/>
                    <a:pt x="445" y="81"/>
                    <a:pt x="446" y="83"/>
                  </a:cubicBezTo>
                  <a:cubicBezTo>
                    <a:pt x="446" y="91"/>
                    <a:pt x="446" y="110"/>
                    <a:pt x="437" y="120"/>
                  </a:cubicBezTo>
                  <a:cubicBezTo>
                    <a:pt x="430" y="122"/>
                    <a:pt x="428" y="123"/>
                    <a:pt x="422" y="123"/>
                  </a:cubicBezTo>
                  <a:cubicBezTo>
                    <a:pt x="415" y="119"/>
                    <a:pt x="409" y="116"/>
                    <a:pt x="403" y="113"/>
                  </a:cubicBezTo>
                  <a:cubicBezTo>
                    <a:pt x="381" y="113"/>
                    <a:pt x="375" y="115"/>
                    <a:pt x="359" y="128"/>
                  </a:cubicBezTo>
                  <a:cubicBezTo>
                    <a:pt x="357" y="131"/>
                    <a:pt x="355" y="135"/>
                    <a:pt x="353" y="138"/>
                  </a:cubicBezTo>
                  <a:cubicBezTo>
                    <a:pt x="353" y="145"/>
                    <a:pt x="350" y="151"/>
                    <a:pt x="356" y="162"/>
                  </a:cubicBezTo>
                  <a:cubicBezTo>
                    <a:pt x="356" y="169"/>
                    <a:pt x="364" y="186"/>
                    <a:pt x="378" y="176"/>
                  </a:cubicBezTo>
                  <a:cubicBezTo>
                    <a:pt x="392" y="174"/>
                    <a:pt x="402" y="168"/>
                    <a:pt x="402" y="191"/>
                  </a:cubicBezTo>
                  <a:cubicBezTo>
                    <a:pt x="399" y="200"/>
                    <a:pt x="396" y="209"/>
                    <a:pt x="394" y="218"/>
                  </a:cubicBezTo>
                  <a:cubicBezTo>
                    <a:pt x="379" y="237"/>
                    <a:pt x="386" y="246"/>
                    <a:pt x="411" y="255"/>
                  </a:cubicBezTo>
                  <a:cubicBezTo>
                    <a:pt x="410" y="260"/>
                    <a:pt x="410" y="265"/>
                    <a:pt x="410" y="271"/>
                  </a:cubicBezTo>
                  <a:cubicBezTo>
                    <a:pt x="409" y="278"/>
                    <a:pt x="401" y="295"/>
                    <a:pt x="409" y="307"/>
                  </a:cubicBezTo>
                  <a:cubicBezTo>
                    <a:pt x="414" y="313"/>
                    <a:pt x="420" y="320"/>
                    <a:pt x="426" y="326"/>
                  </a:cubicBezTo>
                  <a:cubicBezTo>
                    <a:pt x="438" y="329"/>
                    <a:pt x="451" y="333"/>
                    <a:pt x="463" y="336"/>
                  </a:cubicBezTo>
                  <a:cubicBezTo>
                    <a:pt x="468" y="338"/>
                    <a:pt x="469" y="341"/>
                    <a:pt x="476" y="344"/>
                  </a:cubicBezTo>
                  <a:cubicBezTo>
                    <a:pt x="481" y="344"/>
                    <a:pt x="486" y="345"/>
                    <a:pt x="491" y="346"/>
                  </a:cubicBezTo>
                  <a:cubicBezTo>
                    <a:pt x="492" y="349"/>
                    <a:pt x="493" y="353"/>
                    <a:pt x="494" y="357"/>
                  </a:cubicBezTo>
                  <a:cubicBezTo>
                    <a:pt x="492" y="360"/>
                    <a:pt x="490" y="364"/>
                    <a:pt x="488" y="367"/>
                  </a:cubicBezTo>
                  <a:cubicBezTo>
                    <a:pt x="480" y="373"/>
                    <a:pt x="472" y="377"/>
                    <a:pt x="466" y="379"/>
                  </a:cubicBezTo>
                  <a:cubicBezTo>
                    <a:pt x="445" y="379"/>
                    <a:pt x="432" y="387"/>
                    <a:pt x="417" y="398"/>
                  </a:cubicBezTo>
                  <a:cubicBezTo>
                    <a:pt x="414" y="403"/>
                    <a:pt x="410" y="412"/>
                    <a:pt x="403" y="417"/>
                  </a:cubicBezTo>
                  <a:cubicBezTo>
                    <a:pt x="396" y="417"/>
                    <a:pt x="389" y="417"/>
                    <a:pt x="382" y="417"/>
                  </a:cubicBezTo>
                  <a:cubicBezTo>
                    <a:pt x="376" y="423"/>
                    <a:pt x="367" y="437"/>
                    <a:pt x="356" y="435"/>
                  </a:cubicBezTo>
                  <a:cubicBezTo>
                    <a:pt x="344" y="413"/>
                    <a:pt x="332" y="423"/>
                    <a:pt x="321" y="431"/>
                  </a:cubicBezTo>
                  <a:cubicBezTo>
                    <a:pt x="305" y="436"/>
                    <a:pt x="301" y="425"/>
                    <a:pt x="294" y="421"/>
                  </a:cubicBezTo>
                  <a:cubicBezTo>
                    <a:pt x="276" y="415"/>
                    <a:pt x="272" y="423"/>
                    <a:pt x="265" y="435"/>
                  </a:cubicBezTo>
                  <a:cubicBezTo>
                    <a:pt x="257" y="443"/>
                    <a:pt x="244" y="433"/>
                    <a:pt x="240" y="430"/>
                  </a:cubicBezTo>
                  <a:cubicBezTo>
                    <a:pt x="237" y="430"/>
                    <a:pt x="234" y="430"/>
                    <a:pt x="232" y="430"/>
                  </a:cubicBezTo>
                  <a:cubicBezTo>
                    <a:pt x="221" y="440"/>
                    <a:pt x="222" y="437"/>
                    <a:pt x="221" y="455"/>
                  </a:cubicBezTo>
                  <a:cubicBezTo>
                    <a:pt x="227" y="465"/>
                    <a:pt x="234" y="471"/>
                    <a:pt x="229" y="488"/>
                  </a:cubicBezTo>
                  <a:cubicBezTo>
                    <a:pt x="229" y="497"/>
                    <a:pt x="233" y="507"/>
                    <a:pt x="235" y="522"/>
                  </a:cubicBezTo>
                  <a:cubicBezTo>
                    <a:pt x="231" y="526"/>
                    <a:pt x="230" y="528"/>
                    <a:pt x="227" y="528"/>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13" name="Freeform 49"/>
            <p:cNvSpPr/>
            <p:nvPr/>
          </p:nvSpPr>
          <p:spPr bwMode="auto">
            <a:xfrm rot="252837">
              <a:off x="3405188" y="4783138"/>
              <a:ext cx="860425" cy="642937"/>
            </a:xfrm>
            <a:custGeom>
              <a:avLst/>
              <a:gdLst/>
              <a:ahLst/>
              <a:cxnLst>
                <a:cxn ang="0">
                  <a:pos x="252" y="303"/>
                </a:cxn>
                <a:cxn ang="0">
                  <a:pos x="240" y="297"/>
                </a:cxn>
                <a:cxn ang="0">
                  <a:pos x="218" y="300"/>
                </a:cxn>
                <a:cxn ang="0">
                  <a:pos x="157" y="298"/>
                </a:cxn>
                <a:cxn ang="0">
                  <a:pos x="122" y="279"/>
                </a:cxn>
                <a:cxn ang="0">
                  <a:pos x="114" y="269"/>
                </a:cxn>
                <a:cxn ang="0">
                  <a:pos x="119" y="227"/>
                </a:cxn>
                <a:cxn ang="0">
                  <a:pos x="105" y="216"/>
                </a:cxn>
                <a:cxn ang="0">
                  <a:pos x="46" y="207"/>
                </a:cxn>
                <a:cxn ang="0">
                  <a:pos x="58" y="191"/>
                </a:cxn>
                <a:cxn ang="0">
                  <a:pos x="79" y="147"/>
                </a:cxn>
                <a:cxn ang="0">
                  <a:pos x="10" y="125"/>
                </a:cxn>
                <a:cxn ang="0">
                  <a:pos x="34" y="86"/>
                </a:cxn>
                <a:cxn ang="0">
                  <a:pos x="66" y="106"/>
                </a:cxn>
                <a:cxn ang="0">
                  <a:pos x="134" y="67"/>
                </a:cxn>
                <a:cxn ang="0">
                  <a:pos x="148" y="54"/>
                </a:cxn>
                <a:cxn ang="0">
                  <a:pos x="181" y="75"/>
                </a:cxn>
                <a:cxn ang="0">
                  <a:pos x="215" y="68"/>
                </a:cxn>
                <a:cxn ang="0">
                  <a:pos x="252" y="41"/>
                </a:cxn>
                <a:cxn ang="0">
                  <a:pos x="309" y="21"/>
                </a:cxn>
                <a:cxn ang="0">
                  <a:pos x="366" y="21"/>
                </a:cxn>
                <a:cxn ang="0">
                  <a:pos x="358" y="62"/>
                </a:cxn>
                <a:cxn ang="0">
                  <a:pos x="376" y="80"/>
                </a:cxn>
                <a:cxn ang="0">
                  <a:pos x="387" y="104"/>
                </a:cxn>
                <a:cxn ang="0">
                  <a:pos x="419" y="134"/>
                </a:cxn>
                <a:cxn ang="0">
                  <a:pos x="402" y="149"/>
                </a:cxn>
                <a:cxn ang="0">
                  <a:pos x="392" y="190"/>
                </a:cxn>
                <a:cxn ang="0">
                  <a:pos x="346" y="236"/>
                </a:cxn>
                <a:cxn ang="0">
                  <a:pos x="320" y="260"/>
                </a:cxn>
                <a:cxn ang="0">
                  <a:pos x="317" y="263"/>
                </a:cxn>
                <a:cxn ang="0">
                  <a:pos x="299" y="280"/>
                </a:cxn>
                <a:cxn ang="0">
                  <a:pos x="261" y="313"/>
                </a:cxn>
              </a:cxnLst>
              <a:rect l="0" t="0" r="r" b="b"/>
              <a:pathLst>
                <a:path w="419" h="313">
                  <a:moveTo>
                    <a:pt x="252" y="313"/>
                  </a:moveTo>
                  <a:cubicBezTo>
                    <a:pt x="252" y="310"/>
                    <a:pt x="252" y="306"/>
                    <a:pt x="252" y="303"/>
                  </a:cubicBezTo>
                  <a:cubicBezTo>
                    <a:pt x="249" y="303"/>
                    <a:pt x="248" y="300"/>
                    <a:pt x="247" y="298"/>
                  </a:cubicBezTo>
                  <a:cubicBezTo>
                    <a:pt x="244" y="298"/>
                    <a:pt x="242" y="297"/>
                    <a:pt x="240" y="297"/>
                  </a:cubicBezTo>
                  <a:cubicBezTo>
                    <a:pt x="236" y="283"/>
                    <a:pt x="229" y="283"/>
                    <a:pt x="222" y="286"/>
                  </a:cubicBezTo>
                  <a:cubicBezTo>
                    <a:pt x="221" y="291"/>
                    <a:pt x="220" y="296"/>
                    <a:pt x="218" y="300"/>
                  </a:cubicBezTo>
                  <a:cubicBezTo>
                    <a:pt x="205" y="301"/>
                    <a:pt x="192" y="302"/>
                    <a:pt x="180" y="303"/>
                  </a:cubicBezTo>
                  <a:cubicBezTo>
                    <a:pt x="172" y="302"/>
                    <a:pt x="164" y="300"/>
                    <a:pt x="157" y="298"/>
                  </a:cubicBezTo>
                  <a:cubicBezTo>
                    <a:pt x="150" y="297"/>
                    <a:pt x="144" y="296"/>
                    <a:pt x="137" y="296"/>
                  </a:cubicBezTo>
                  <a:cubicBezTo>
                    <a:pt x="132" y="290"/>
                    <a:pt x="127" y="285"/>
                    <a:pt x="122" y="279"/>
                  </a:cubicBezTo>
                  <a:cubicBezTo>
                    <a:pt x="120" y="276"/>
                    <a:pt x="118" y="272"/>
                    <a:pt x="116" y="269"/>
                  </a:cubicBezTo>
                  <a:cubicBezTo>
                    <a:pt x="115" y="269"/>
                    <a:pt x="115" y="269"/>
                    <a:pt x="114" y="269"/>
                  </a:cubicBezTo>
                  <a:cubicBezTo>
                    <a:pt x="109" y="254"/>
                    <a:pt x="113" y="250"/>
                    <a:pt x="119" y="242"/>
                  </a:cubicBezTo>
                  <a:cubicBezTo>
                    <a:pt x="119" y="237"/>
                    <a:pt x="119" y="232"/>
                    <a:pt x="119" y="227"/>
                  </a:cubicBezTo>
                  <a:cubicBezTo>
                    <a:pt x="114" y="224"/>
                    <a:pt x="109" y="222"/>
                    <a:pt x="105" y="219"/>
                  </a:cubicBezTo>
                  <a:cubicBezTo>
                    <a:pt x="105" y="217"/>
                    <a:pt x="105" y="216"/>
                    <a:pt x="105" y="216"/>
                  </a:cubicBezTo>
                  <a:cubicBezTo>
                    <a:pt x="86" y="216"/>
                    <a:pt x="70" y="214"/>
                    <a:pt x="58" y="212"/>
                  </a:cubicBezTo>
                  <a:cubicBezTo>
                    <a:pt x="54" y="210"/>
                    <a:pt x="50" y="209"/>
                    <a:pt x="46" y="207"/>
                  </a:cubicBezTo>
                  <a:cubicBezTo>
                    <a:pt x="44" y="202"/>
                    <a:pt x="42" y="197"/>
                    <a:pt x="40" y="193"/>
                  </a:cubicBezTo>
                  <a:cubicBezTo>
                    <a:pt x="46" y="192"/>
                    <a:pt x="52" y="191"/>
                    <a:pt x="58" y="191"/>
                  </a:cubicBezTo>
                  <a:cubicBezTo>
                    <a:pt x="63" y="190"/>
                    <a:pt x="72" y="183"/>
                    <a:pt x="78" y="177"/>
                  </a:cubicBezTo>
                  <a:cubicBezTo>
                    <a:pt x="86" y="164"/>
                    <a:pt x="85" y="156"/>
                    <a:pt x="79" y="147"/>
                  </a:cubicBezTo>
                  <a:cubicBezTo>
                    <a:pt x="73" y="147"/>
                    <a:pt x="68" y="146"/>
                    <a:pt x="63" y="146"/>
                  </a:cubicBezTo>
                  <a:cubicBezTo>
                    <a:pt x="45" y="133"/>
                    <a:pt x="24" y="131"/>
                    <a:pt x="10" y="125"/>
                  </a:cubicBezTo>
                  <a:cubicBezTo>
                    <a:pt x="3" y="117"/>
                    <a:pt x="0" y="111"/>
                    <a:pt x="0" y="107"/>
                  </a:cubicBezTo>
                  <a:cubicBezTo>
                    <a:pt x="12" y="91"/>
                    <a:pt x="10" y="86"/>
                    <a:pt x="34" y="86"/>
                  </a:cubicBezTo>
                  <a:cubicBezTo>
                    <a:pt x="39" y="88"/>
                    <a:pt x="45" y="90"/>
                    <a:pt x="50" y="92"/>
                  </a:cubicBezTo>
                  <a:cubicBezTo>
                    <a:pt x="56" y="97"/>
                    <a:pt x="61" y="101"/>
                    <a:pt x="66" y="106"/>
                  </a:cubicBezTo>
                  <a:cubicBezTo>
                    <a:pt x="75" y="108"/>
                    <a:pt x="83" y="109"/>
                    <a:pt x="96" y="106"/>
                  </a:cubicBezTo>
                  <a:cubicBezTo>
                    <a:pt x="109" y="97"/>
                    <a:pt x="121" y="78"/>
                    <a:pt x="134" y="67"/>
                  </a:cubicBezTo>
                  <a:cubicBezTo>
                    <a:pt x="134" y="63"/>
                    <a:pt x="134" y="59"/>
                    <a:pt x="134" y="55"/>
                  </a:cubicBezTo>
                  <a:cubicBezTo>
                    <a:pt x="138" y="54"/>
                    <a:pt x="143" y="54"/>
                    <a:pt x="148" y="54"/>
                  </a:cubicBezTo>
                  <a:cubicBezTo>
                    <a:pt x="149" y="56"/>
                    <a:pt x="151" y="58"/>
                    <a:pt x="153" y="61"/>
                  </a:cubicBezTo>
                  <a:cubicBezTo>
                    <a:pt x="160" y="64"/>
                    <a:pt x="168" y="71"/>
                    <a:pt x="181" y="75"/>
                  </a:cubicBezTo>
                  <a:cubicBezTo>
                    <a:pt x="185" y="75"/>
                    <a:pt x="188" y="75"/>
                    <a:pt x="192" y="75"/>
                  </a:cubicBezTo>
                  <a:cubicBezTo>
                    <a:pt x="200" y="72"/>
                    <a:pt x="207" y="70"/>
                    <a:pt x="215" y="68"/>
                  </a:cubicBezTo>
                  <a:cubicBezTo>
                    <a:pt x="225" y="58"/>
                    <a:pt x="233" y="52"/>
                    <a:pt x="245" y="47"/>
                  </a:cubicBezTo>
                  <a:cubicBezTo>
                    <a:pt x="247" y="45"/>
                    <a:pt x="248" y="42"/>
                    <a:pt x="252" y="41"/>
                  </a:cubicBezTo>
                  <a:cubicBezTo>
                    <a:pt x="261" y="26"/>
                    <a:pt x="271" y="23"/>
                    <a:pt x="288" y="21"/>
                  </a:cubicBezTo>
                  <a:cubicBezTo>
                    <a:pt x="294" y="21"/>
                    <a:pt x="301" y="21"/>
                    <a:pt x="309" y="21"/>
                  </a:cubicBezTo>
                  <a:cubicBezTo>
                    <a:pt x="326" y="9"/>
                    <a:pt x="330" y="0"/>
                    <a:pt x="355" y="0"/>
                  </a:cubicBezTo>
                  <a:cubicBezTo>
                    <a:pt x="358" y="6"/>
                    <a:pt x="362" y="13"/>
                    <a:pt x="366" y="21"/>
                  </a:cubicBezTo>
                  <a:cubicBezTo>
                    <a:pt x="370" y="24"/>
                    <a:pt x="373" y="26"/>
                    <a:pt x="377" y="30"/>
                  </a:cubicBezTo>
                  <a:cubicBezTo>
                    <a:pt x="371" y="41"/>
                    <a:pt x="363" y="50"/>
                    <a:pt x="358" y="62"/>
                  </a:cubicBezTo>
                  <a:cubicBezTo>
                    <a:pt x="357" y="68"/>
                    <a:pt x="357" y="73"/>
                    <a:pt x="357" y="78"/>
                  </a:cubicBezTo>
                  <a:cubicBezTo>
                    <a:pt x="359" y="80"/>
                    <a:pt x="369" y="80"/>
                    <a:pt x="376" y="80"/>
                  </a:cubicBezTo>
                  <a:cubicBezTo>
                    <a:pt x="378" y="85"/>
                    <a:pt x="380" y="91"/>
                    <a:pt x="382" y="97"/>
                  </a:cubicBezTo>
                  <a:cubicBezTo>
                    <a:pt x="383" y="99"/>
                    <a:pt x="385" y="101"/>
                    <a:pt x="387" y="104"/>
                  </a:cubicBezTo>
                  <a:cubicBezTo>
                    <a:pt x="395" y="102"/>
                    <a:pt x="403" y="101"/>
                    <a:pt x="411" y="101"/>
                  </a:cubicBezTo>
                  <a:cubicBezTo>
                    <a:pt x="416" y="108"/>
                    <a:pt x="419" y="119"/>
                    <a:pt x="419" y="134"/>
                  </a:cubicBezTo>
                  <a:cubicBezTo>
                    <a:pt x="416" y="137"/>
                    <a:pt x="413" y="141"/>
                    <a:pt x="406" y="145"/>
                  </a:cubicBezTo>
                  <a:cubicBezTo>
                    <a:pt x="406" y="147"/>
                    <a:pt x="403" y="148"/>
                    <a:pt x="402" y="149"/>
                  </a:cubicBezTo>
                  <a:cubicBezTo>
                    <a:pt x="401" y="157"/>
                    <a:pt x="400" y="166"/>
                    <a:pt x="399" y="175"/>
                  </a:cubicBezTo>
                  <a:cubicBezTo>
                    <a:pt x="396" y="180"/>
                    <a:pt x="394" y="184"/>
                    <a:pt x="392" y="190"/>
                  </a:cubicBezTo>
                  <a:cubicBezTo>
                    <a:pt x="388" y="193"/>
                    <a:pt x="382" y="195"/>
                    <a:pt x="382" y="200"/>
                  </a:cubicBezTo>
                  <a:cubicBezTo>
                    <a:pt x="367" y="203"/>
                    <a:pt x="359" y="229"/>
                    <a:pt x="346" y="236"/>
                  </a:cubicBezTo>
                  <a:cubicBezTo>
                    <a:pt x="346" y="238"/>
                    <a:pt x="337" y="243"/>
                    <a:pt x="336" y="243"/>
                  </a:cubicBezTo>
                  <a:cubicBezTo>
                    <a:pt x="330" y="249"/>
                    <a:pt x="325" y="254"/>
                    <a:pt x="320" y="260"/>
                  </a:cubicBezTo>
                  <a:cubicBezTo>
                    <a:pt x="320" y="260"/>
                    <a:pt x="320" y="262"/>
                    <a:pt x="320" y="263"/>
                  </a:cubicBezTo>
                  <a:cubicBezTo>
                    <a:pt x="319" y="263"/>
                    <a:pt x="317" y="263"/>
                    <a:pt x="317" y="263"/>
                  </a:cubicBezTo>
                  <a:cubicBezTo>
                    <a:pt x="317" y="263"/>
                    <a:pt x="317" y="265"/>
                    <a:pt x="317" y="266"/>
                  </a:cubicBezTo>
                  <a:cubicBezTo>
                    <a:pt x="309" y="266"/>
                    <a:pt x="302" y="276"/>
                    <a:pt x="299" y="280"/>
                  </a:cubicBezTo>
                  <a:cubicBezTo>
                    <a:pt x="296" y="287"/>
                    <a:pt x="293" y="293"/>
                    <a:pt x="290" y="300"/>
                  </a:cubicBezTo>
                  <a:cubicBezTo>
                    <a:pt x="276" y="303"/>
                    <a:pt x="271" y="306"/>
                    <a:pt x="261" y="313"/>
                  </a:cubicBezTo>
                  <a:cubicBezTo>
                    <a:pt x="258" y="313"/>
                    <a:pt x="255" y="313"/>
                    <a:pt x="252" y="313"/>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14" name="Freeform 50"/>
            <p:cNvSpPr/>
            <p:nvPr/>
          </p:nvSpPr>
          <p:spPr bwMode="auto">
            <a:xfrm rot="252837">
              <a:off x="5241925" y="4895850"/>
              <a:ext cx="206375" cy="474663"/>
            </a:xfrm>
            <a:custGeom>
              <a:avLst/>
              <a:gdLst/>
              <a:ahLst/>
              <a:cxnLst>
                <a:cxn ang="0">
                  <a:pos x="46" y="231"/>
                </a:cxn>
                <a:cxn ang="0">
                  <a:pos x="27" y="204"/>
                </a:cxn>
                <a:cxn ang="0">
                  <a:pos x="9" y="182"/>
                </a:cxn>
                <a:cxn ang="0">
                  <a:pos x="0" y="170"/>
                </a:cxn>
                <a:cxn ang="0">
                  <a:pos x="3" y="123"/>
                </a:cxn>
                <a:cxn ang="0">
                  <a:pos x="17" y="84"/>
                </a:cxn>
                <a:cxn ang="0">
                  <a:pos x="21" y="63"/>
                </a:cxn>
                <a:cxn ang="0">
                  <a:pos x="33" y="35"/>
                </a:cxn>
                <a:cxn ang="0">
                  <a:pos x="69" y="0"/>
                </a:cxn>
                <a:cxn ang="0">
                  <a:pos x="92" y="1"/>
                </a:cxn>
                <a:cxn ang="0">
                  <a:pos x="95" y="4"/>
                </a:cxn>
                <a:cxn ang="0">
                  <a:pos x="100" y="33"/>
                </a:cxn>
                <a:cxn ang="0">
                  <a:pos x="95" y="106"/>
                </a:cxn>
                <a:cxn ang="0">
                  <a:pos x="89" y="123"/>
                </a:cxn>
                <a:cxn ang="0">
                  <a:pos x="66" y="171"/>
                </a:cxn>
                <a:cxn ang="0">
                  <a:pos x="60" y="223"/>
                </a:cxn>
                <a:cxn ang="0">
                  <a:pos x="54" y="229"/>
                </a:cxn>
                <a:cxn ang="0">
                  <a:pos x="46" y="231"/>
                </a:cxn>
              </a:cxnLst>
              <a:rect l="0" t="0" r="r" b="b"/>
              <a:pathLst>
                <a:path w="101" h="231">
                  <a:moveTo>
                    <a:pt x="46" y="231"/>
                  </a:moveTo>
                  <a:cubicBezTo>
                    <a:pt x="40" y="222"/>
                    <a:pt x="33" y="213"/>
                    <a:pt x="27" y="204"/>
                  </a:cubicBezTo>
                  <a:cubicBezTo>
                    <a:pt x="11" y="199"/>
                    <a:pt x="13" y="190"/>
                    <a:pt x="9" y="182"/>
                  </a:cubicBezTo>
                  <a:cubicBezTo>
                    <a:pt x="6" y="178"/>
                    <a:pt x="3" y="174"/>
                    <a:pt x="0" y="170"/>
                  </a:cubicBezTo>
                  <a:cubicBezTo>
                    <a:pt x="0" y="153"/>
                    <a:pt x="6" y="135"/>
                    <a:pt x="3" y="123"/>
                  </a:cubicBezTo>
                  <a:cubicBezTo>
                    <a:pt x="3" y="100"/>
                    <a:pt x="4" y="99"/>
                    <a:pt x="17" y="84"/>
                  </a:cubicBezTo>
                  <a:cubicBezTo>
                    <a:pt x="18" y="77"/>
                    <a:pt x="20" y="70"/>
                    <a:pt x="21" y="63"/>
                  </a:cubicBezTo>
                  <a:cubicBezTo>
                    <a:pt x="25" y="54"/>
                    <a:pt x="29" y="44"/>
                    <a:pt x="33" y="35"/>
                  </a:cubicBezTo>
                  <a:cubicBezTo>
                    <a:pt x="46" y="18"/>
                    <a:pt x="53" y="12"/>
                    <a:pt x="69" y="0"/>
                  </a:cubicBezTo>
                  <a:cubicBezTo>
                    <a:pt x="76" y="0"/>
                    <a:pt x="84" y="0"/>
                    <a:pt x="92" y="1"/>
                  </a:cubicBezTo>
                  <a:cubicBezTo>
                    <a:pt x="93" y="1"/>
                    <a:pt x="94" y="2"/>
                    <a:pt x="95" y="4"/>
                  </a:cubicBezTo>
                  <a:cubicBezTo>
                    <a:pt x="98" y="13"/>
                    <a:pt x="101" y="20"/>
                    <a:pt x="100" y="33"/>
                  </a:cubicBezTo>
                  <a:cubicBezTo>
                    <a:pt x="87" y="50"/>
                    <a:pt x="96" y="80"/>
                    <a:pt x="95" y="106"/>
                  </a:cubicBezTo>
                  <a:cubicBezTo>
                    <a:pt x="92" y="111"/>
                    <a:pt x="90" y="117"/>
                    <a:pt x="89" y="123"/>
                  </a:cubicBezTo>
                  <a:cubicBezTo>
                    <a:pt x="81" y="139"/>
                    <a:pt x="73" y="155"/>
                    <a:pt x="66" y="171"/>
                  </a:cubicBezTo>
                  <a:cubicBezTo>
                    <a:pt x="63" y="188"/>
                    <a:pt x="62" y="205"/>
                    <a:pt x="60" y="223"/>
                  </a:cubicBezTo>
                  <a:cubicBezTo>
                    <a:pt x="58" y="225"/>
                    <a:pt x="56" y="226"/>
                    <a:pt x="54" y="229"/>
                  </a:cubicBezTo>
                  <a:cubicBezTo>
                    <a:pt x="52" y="229"/>
                    <a:pt x="49" y="230"/>
                    <a:pt x="46" y="231"/>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15" name="Freeform 51"/>
            <p:cNvSpPr/>
            <p:nvPr/>
          </p:nvSpPr>
          <p:spPr bwMode="auto">
            <a:xfrm rot="252837">
              <a:off x="5249863" y="4908550"/>
              <a:ext cx="188912" cy="446088"/>
            </a:xfrm>
            <a:custGeom>
              <a:avLst/>
              <a:gdLst/>
              <a:ahLst/>
              <a:cxnLst>
                <a:cxn ang="0">
                  <a:pos x="45" y="218"/>
                </a:cxn>
                <a:cxn ang="0">
                  <a:pos x="28" y="193"/>
                </a:cxn>
                <a:cxn ang="0">
                  <a:pos x="17" y="190"/>
                </a:cxn>
                <a:cxn ang="0">
                  <a:pos x="3" y="164"/>
                </a:cxn>
                <a:cxn ang="0">
                  <a:pos x="2" y="152"/>
                </a:cxn>
                <a:cxn ang="0">
                  <a:pos x="7" y="121"/>
                </a:cxn>
                <a:cxn ang="0">
                  <a:pos x="20" y="80"/>
                </a:cxn>
                <a:cxn ang="0">
                  <a:pos x="23" y="60"/>
                </a:cxn>
                <a:cxn ang="0">
                  <a:pos x="49" y="15"/>
                </a:cxn>
                <a:cxn ang="0">
                  <a:pos x="67" y="1"/>
                </a:cxn>
                <a:cxn ang="0">
                  <a:pos x="86" y="0"/>
                </a:cxn>
                <a:cxn ang="0">
                  <a:pos x="90" y="24"/>
                </a:cxn>
                <a:cxn ang="0">
                  <a:pos x="84" y="97"/>
                </a:cxn>
                <a:cxn ang="0">
                  <a:pos x="60" y="151"/>
                </a:cxn>
                <a:cxn ang="0">
                  <a:pos x="56" y="162"/>
                </a:cxn>
                <a:cxn ang="0">
                  <a:pos x="50" y="214"/>
                </a:cxn>
                <a:cxn ang="0">
                  <a:pos x="45" y="218"/>
                </a:cxn>
              </a:cxnLst>
              <a:rect l="0" t="0" r="r" b="b"/>
              <a:pathLst>
                <a:path w="92" h="218">
                  <a:moveTo>
                    <a:pt x="45" y="218"/>
                  </a:moveTo>
                  <a:cubicBezTo>
                    <a:pt x="39" y="209"/>
                    <a:pt x="33" y="201"/>
                    <a:pt x="28" y="193"/>
                  </a:cubicBezTo>
                  <a:cubicBezTo>
                    <a:pt x="25" y="192"/>
                    <a:pt x="21" y="190"/>
                    <a:pt x="17" y="190"/>
                  </a:cubicBezTo>
                  <a:cubicBezTo>
                    <a:pt x="15" y="179"/>
                    <a:pt x="7" y="166"/>
                    <a:pt x="3" y="164"/>
                  </a:cubicBezTo>
                  <a:cubicBezTo>
                    <a:pt x="2" y="160"/>
                    <a:pt x="2" y="156"/>
                    <a:pt x="2" y="152"/>
                  </a:cubicBezTo>
                  <a:cubicBezTo>
                    <a:pt x="4" y="140"/>
                    <a:pt x="7" y="131"/>
                    <a:pt x="7" y="121"/>
                  </a:cubicBezTo>
                  <a:cubicBezTo>
                    <a:pt x="0" y="98"/>
                    <a:pt x="10" y="94"/>
                    <a:pt x="20" y="80"/>
                  </a:cubicBezTo>
                  <a:cubicBezTo>
                    <a:pt x="21" y="73"/>
                    <a:pt x="22" y="67"/>
                    <a:pt x="23" y="60"/>
                  </a:cubicBezTo>
                  <a:cubicBezTo>
                    <a:pt x="32" y="41"/>
                    <a:pt x="36" y="29"/>
                    <a:pt x="49" y="15"/>
                  </a:cubicBezTo>
                  <a:cubicBezTo>
                    <a:pt x="55" y="10"/>
                    <a:pt x="61" y="5"/>
                    <a:pt x="67" y="1"/>
                  </a:cubicBezTo>
                  <a:cubicBezTo>
                    <a:pt x="73" y="0"/>
                    <a:pt x="80" y="0"/>
                    <a:pt x="86" y="0"/>
                  </a:cubicBezTo>
                  <a:cubicBezTo>
                    <a:pt x="86" y="2"/>
                    <a:pt x="92" y="17"/>
                    <a:pt x="90" y="24"/>
                  </a:cubicBezTo>
                  <a:cubicBezTo>
                    <a:pt x="78" y="41"/>
                    <a:pt x="85" y="70"/>
                    <a:pt x="84" y="97"/>
                  </a:cubicBezTo>
                  <a:cubicBezTo>
                    <a:pt x="79" y="113"/>
                    <a:pt x="69" y="134"/>
                    <a:pt x="60" y="151"/>
                  </a:cubicBezTo>
                  <a:cubicBezTo>
                    <a:pt x="58" y="155"/>
                    <a:pt x="57" y="159"/>
                    <a:pt x="56" y="162"/>
                  </a:cubicBezTo>
                  <a:cubicBezTo>
                    <a:pt x="53" y="179"/>
                    <a:pt x="52" y="196"/>
                    <a:pt x="50" y="214"/>
                  </a:cubicBezTo>
                  <a:cubicBezTo>
                    <a:pt x="48" y="215"/>
                    <a:pt x="46" y="216"/>
                    <a:pt x="45" y="218"/>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16" name="Freeform 52"/>
            <p:cNvSpPr/>
            <p:nvPr/>
          </p:nvSpPr>
          <p:spPr bwMode="auto">
            <a:xfrm rot="252837">
              <a:off x="4772025" y="4521200"/>
              <a:ext cx="477838" cy="625475"/>
            </a:xfrm>
            <a:custGeom>
              <a:avLst/>
              <a:gdLst/>
              <a:ahLst/>
              <a:cxnLst>
                <a:cxn ang="0">
                  <a:pos x="78" y="304"/>
                </a:cxn>
                <a:cxn ang="0">
                  <a:pos x="67" y="284"/>
                </a:cxn>
                <a:cxn ang="0">
                  <a:pos x="66" y="281"/>
                </a:cxn>
                <a:cxn ang="0">
                  <a:pos x="35" y="240"/>
                </a:cxn>
                <a:cxn ang="0">
                  <a:pos x="3" y="237"/>
                </a:cxn>
                <a:cxn ang="0">
                  <a:pos x="5" y="204"/>
                </a:cxn>
                <a:cxn ang="0">
                  <a:pos x="6" y="174"/>
                </a:cxn>
                <a:cxn ang="0">
                  <a:pos x="24" y="153"/>
                </a:cxn>
                <a:cxn ang="0">
                  <a:pos x="27" y="139"/>
                </a:cxn>
                <a:cxn ang="0">
                  <a:pos x="28" y="109"/>
                </a:cxn>
                <a:cxn ang="0">
                  <a:pos x="43" y="99"/>
                </a:cxn>
                <a:cxn ang="0">
                  <a:pos x="55" y="87"/>
                </a:cxn>
                <a:cxn ang="0">
                  <a:pos x="59" y="76"/>
                </a:cxn>
                <a:cxn ang="0">
                  <a:pos x="59" y="66"/>
                </a:cxn>
                <a:cxn ang="0">
                  <a:pos x="69" y="36"/>
                </a:cxn>
                <a:cxn ang="0">
                  <a:pos x="98" y="29"/>
                </a:cxn>
                <a:cxn ang="0">
                  <a:pos x="117" y="3"/>
                </a:cxn>
                <a:cxn ang="0">
                  <a:pos x="132" y="6"/>
                </a:cxn>
                <a:cxn ang="0">
                  <a:pos x="159" y="55"/>
                </a:cxn>
                <a:cxn ang="0">
                  <a:pos x="190" y="58"/>
                </a:cxn>
                <a:cxn ang="0">
                  <a:pos x="228" y="49"/>
                </a:cxn>
                <a:cxn ang="0">
                  <a:pos x="234" y="52"/>
                </a:cxn>
                <a:cxn ang="0">
                  <a:pos x="217" y="71"/>
                </a:cxn>
                <a:cxn ang="0">
                  <a:pos x="217" y="89"/>
                </a:cxn>
                <a:cxn ang="0">
                  <a:pos x="185" y="102"/>
                </a:cxn>
                <a:cxn ang="0">
                  <a:pos x="197" y="113"/>
                </a:cxn>
                <a:cxn ang="0">
                  <a:pos x="206" y="119"/>
                </a:cxn>
                <a:cxn ang="0">
                  <a:pos x="198" y="126"/>
                </a:cxn>
                <a:cxn ang="0">
                  <a:pos x="196" y="168"/>
                </a:cxn>
                <a:cxn ang="0">
                  <a:pos x="202" y="172"/>
                </a:cxn>
                <a:cxn ang="0">
                  <a:pos x="202" y="174"/>
                </a:cxn>
                <a:cxn ang="0">
                  <a:pos x="198" y="173"/>
                </a:cxn>
                <a:cxn ang="0">
                  <a:pos x="183" y="174"/>
                </a:cxn>
                <a:cxn ang="0">
                  <a:pos x="181" y="190"/>
                </a:cxn>
                <a:cxn ang="0">
                  <a:pos x="164" y="217"/>
                </a:cxn>
                <a:cxn ang="0">
                  <a:pos x="152" y="230"/>
                </a:cxn>
                <a:cxn ang="0">
                  <a:pos x="132" y="231"/>
                </a:cxn>
                <a:cxn ang="0">
                  <a:pos x="137" y="248"/>
                </a:cxn>
                <a:cxn ang="0">
                  <a:pos x="96" y="282"/>
                </a:cxn>
                <a:cxn ang="0">
                  <a:pos x="95" y="290"/>
                </a:cxn>
                <a:cxn ang="0">
                  <a:pos x="78" y="304"/>
                </a:cxn>
              </a:cxnLst>
              <a:rect l="0" t="0" r="r" b="b"/>
              <a:pathLst>
                <a:path w="234" h="304">
                  <a:moveTo>
                    <a:pt x="78" y="304"/>
                  </a:moveTo>
                  <a:cubicBezTo>
                    <a:pt x="78" y="293"/>
                    <a:pt x="71" y="286"/>
                    <a:pt x="67" y="284"/>
                  </a:cubicBezTo>
                  <a:cubicBezTo>
                    <a:pt x="66" y="283"/>
                    <a:pt x="66" y="282"/>
                    <a:pt x="66" y="281"/>
                  </a:cubicBezTo>
                  <a:cubicBezTo>
                    <a:pt x="56" y="267"/>
                    <a:pt x="45" y="254"/>
                    <a:pt x="35" y="240"/>
                  </a:cubicBezTo>
                  <a:cubicBezTo>
                    <a:pt x="20" y="236"/>
                    <a:pt x="11" y="239"/>
                    <a:pt x="3" y="237"/>
                  </a:cubicBezTo>
                  <a:cubicBezTo>
                    <a:pt x="0" y="221"/>
                    <a:pt x="3" y="215"/>
                    <a:pt x="5" y="204"/>
                  </a:cubicBezTo>
                  <a:cubicBezTo>
                    <a:pt x="11" y="192"/>
                    <a:pt x="6" y="183"/>
                    <a:pt x="6" y="174"/>
                  </a:cubicBezTo>
                  <a:cubicBezTo>
                    <a:pt x="12" y="167"/>
                    <a:pt x="18" y="160"/>
                    <a:pt x="24" y="153"/>
                  </a:cubicBezTo>
                  <a:cubicBezTo>
                    <a:pt x="25" y="148"/>
                    <a:pt x="26" y="144"/>
                    <a:pt x="27" y="139"/>
                  </a:cubicBezTo>
                  <a:cubicBezTo>
                    <a:pt x="27" y="129"/>
                    <a:pt x="23" y="114"/>
                    <a:pt x="28" y="109"/>
                  </a:cubicBezTo>
                  <a:cubicBezTo>
                    <a:pt x="33" y="105"/>
                    <a:pt x="38" y="102"/>
                    <a:pt x="43" y="99"/>
                  </a:cubicBezTo>
                  <a:cubicBezTo>
                    <a:pt x="47" y="95"/>
                    <a:pt x="51" y="91"/>
                    <a:pt x="55" y="87"/>
                  </a:cubicBezTo>
                  <a:cubicBezTo>
                    <a:pt x="56" y="83"/>
                    <a:pt x="58" y="80"/>
                    <a:pt x="59" y="76"/>
                  </a:cubicBezTo>
                  <a:cubicBezTo>
                    <a:pt x="59" y="73"/>
                    <a:pt x="59" y="69"/>
                    <a:pt x="59" y="66"/>
                  </a:cubicBezTo>
                  <a:cubicBezTo>
                    <a:pt x="49" y="48"/>
                    <a:pt x="54" y="45"/>
                    <a:pt x="69" y="36"/>
                  </a:cubicBezTo>
                  <a:cubicBezTo>
                    <a:pt x="79" y="33"/>
                    <a:pt x="87" y="34"/>
                    <a:pt x="98" y="29"/>
                  </a:cubicBezTo>
                  <a:cubicBezTo>
                    <a:pt x="106" y="24"/>
                    <a:pt x="113" y="11"/>
                    <a:pt x="117" y="3"/>
                  </a:cubicBezTo>
                  <a:cubicBezTo>
                    <a:pt x="122" y="1"/>
                    <a:pt x="125" y="0"/>
                    <a:pt x="132" y="6"/>
                  </a:cubicBezTo>
                  <a:cubicBezTo>
                    <a:pt x="138" y="19"/>
                    <a:pt x="137" y="43"/>
                    <a:pt x="159" y="55"/>
                  </a:cubicBezTo>
                  <a:cubicBezTo>
                    <a:pt x="169" y="56"/>
                    <a:pt x="180" y="56"/>
                    <a:pt x="190" y="58"/>
                  </a:cubicBezTo>
                  <a:cubicBezTo>
                    <a:pt x="198" y="49"/>
                    <a:pt x="215" y="50"/>
                    <a:pt x="228" y="49"/>
                  </a:cubicBezTo>
                  <a:cubicBezTo>
                    <a:pt x="230" y="50"/>
                    <a:pt x="232" y="51"/>
                    <a:pt x="234" y="52"/>
                  </a:cubicBezTo>
                  <a:cubicBezTo>
                    <a:pt x="228" y="59"/>
                    <a:pt x="223" y="62"/>
                    <a:pt x="217" y="71"/>
                  </a:cubicBezTo>
                  <a:cubicBezTo>
                    <a:pt x="217" y="77"/>
                    <a:pt x="217" y="83"/>
                    <a:pt x="217" y="89"/>
                  </a:cubicBezTo>
                  <a:cubicBezTo>
                    <a:pt x="202" y="89"/>
                    <a:pt x="182" y="84"/>
                    <a:pt x="185" y="102"/>
                  </a:cubicBezTo>
                  <a:cubicBezTo>
                    <a:pt x="190" y="105"/>
                    <a:pt x="193" y="107"/>
                    <a:pt x="197" y="113"/>
                  </a:cubicBezTo>
                  <a:cubicBezTo>
                    <a:pt x="200" y="115"/>
                    <a:pt x="203" y="116"/>
                    <a:pt x="206" y="119"/>
                  </a:cubicBezTo>
                  <a:cubicBezTo>
                    <a:pt x="203" y="121"/>
                    <a:pt x="201" y="124"/>
                    <a:pt x="198" y="126"/>
                  </a:cubicBezTo>
                  <a:cubicBezTo>
                    <a:pt x="198" y="139"/>
                    <a:pt x="188" y="155"/>
                    <a:pt x="196" y="168"/>
                  </a:cubicBezTo>
                  <a:cubicBezTo>
                    <a:pt x="198" y="169"/>
                    <a:pt x="200" y="171"/>
                    <a:pt x="202" y="172"/>
                  </a:cubicBezTo>
                  <a:cubicBezTo>
                    <a:pt x="202" y="173"/>
                    <a:pt x="202" y="174"/>
                    <a:pt x="202" y="174"/>
                  </a:cubicBezTo>
                  <a:cubicBezTo>
                    <a:pt x="201" y="174"/>
                    <a:pt x="200" y="173"/>
                    <a:pt x="198" y="173"/>
                  </a:cubicBezTo>
                  <a:cubicBezTo>
                    <a:pt x="193" y="173"/>
                    <a:pt x="188" y="173"/>
                    <a:pt x="183" y="174"/>
                  </a:cubicBezTo>
                  <a:cubicBezTo>
                    <a:pt x="178" y="178"/>
                    <a:pt x="183" y="180"/>
                    <a:pt x="181" y="190"/>
                  </a:cubicBezTo>
                  <a:cubicBezTo>
                    <a:pt x="165" y="201"/>
                    <a:pt x="168" y="197"/>
                    <a:pt x="164" y="217"/>
                  </a:cubicBezTo>
                  <a:cubicBezTo>
                    <a:pt x="160" y="221"/>
                    <a:pt x="155" y="226"/>
                    <a:pt x="152" y="230"/>
                  </a:cubicBezTo>
                  <a:cubicBezTo>
                    <a:pt x="145" y="230"/>
                    <a:pt x="139" y="231"/>
                    <a:pt x="132" y="231"/>
                  </a:cubicBezTo>
                  <a:cubicBezTo>
                    <a:pt x="128" y="236"/>
                    <a:pt x="127" y="241"/>
                    <a:pt x="137" y="248"/>
                  </a:cubicBezTo>
                  <a:cubicBezTo>
                    <a:pt x="117" y="253"/>
                    <a:pt x="108" y="268"/>
                    <a:pt x="96" y="282"/>
                  </a:cubicBezTo>
                  <a:cubicBezTo>
                    <a:pt x="96" y="284"/>
                    <a:pt x="95" y="287"/>
                    <a:pt x="95" y="290"/>
                  </a:cubicBezTo>
                  <a:cubicBezTo>
                    <a:pt x="89" y="297"/>
                    <a:pt x="84" y="300"/>
                    <a:pt x="78" y="304"/>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17" name="Freeform 53"/>
            <p:cNvSpPr/>
            <p:nvPr/>
          </p:nvSpPr>
          <p:spPr bwMode="auto">
            <a:xfrm rot="252837">
              <a:off x="3321050" y="4367213"/>
              <a:ext cx="693738" cy="611187"/>
            </a:xfrm>
            <a:custGeom>
              <a:avLst/>
              <a:gdLst/>
              <a:ahLst/>
              <a:cxnLst>
                <a:cxn ang="0">
                  <a:pos x="134" y="298"/>
                </a:cxn>
                <a:cxn ang="0">
                  <a:pos x="108" y="281"/>
                </a:cxn>
                <a:cxn ang="0">
                  <a:pos x="96" y="277"/>
                </a:cxn>
                <a:cxn ang="0">
                  <a:pos x="62" y="285"/>
                </a:cxn>
                <a:cxn ang="0">
                  <a:pos x="53" y="297"/>
                </a:cxn>
                <a:cxn ang="0">
                  <a:pos x="57" y="277"/>
                </a:cxn>
                <a:cxn ang="0">
                  <a:pos x="59" y="254"/>
                </a:cxn>
                <a:cxn ang="0">
                  <a:pos x="34" y="242"/>
                </a:cxn>
                <a:cxn ang="0">
                  <a:pos x="38" y="230"/>
                </a:cxn>
                <a:cxn ang="0">
                  <a:pos x="47" y="199"/>
                </a:cxn>
                <a:cxn ang="0">
                  <a:pos x="47" y="179"/>
                </a:cxn>
                <a:cxn ang="0">
                  <a:pos x="39" y="171"/>
                </a:cxn>
                <a:cxn ang="0">
                  <a:pos x="11" y="176"/>
                </a:cxn>
                <a:cxn ang="0">
                  <a:pos x="3" y="162"/>
                </a:cxn>
                <a:cxn ang="0">
                  <a:pos x="0" y="156"/>
                </a:cxn>
                <a:cxn ang="0">
                  <a:pos x="33" y="122"/>
                </a:cxn>
                <a:cxn ang="0">
                  <a:pos x="41" y="122"/>
                </a:cxn>
                <a:cxn ang="0">
                  <a:pos x="80" y="129"/>
                </a:cxn>
                <a:cxn ang="0">
                  <a:pos x="88" y="120"/>
                </a:cxn>
                <a:cxn ang="0">
                  <a:pos x="91" y="109"/>
                </a:cxn>
                <a:cxn ang="0">
                  <a:pos x="97" y="109"/>
                </a:cxn>
                <a:cxn ang="0">
                  <a:pos x="140" y="114"/>
                </a:cxn>
                <a:cxn ang="0">
                  <a:pos x="149" y="81"/>
                </a:cxn>
                <a:cxn ang="0">
                  <a:pos x="110" y="60"/>
                </a:cxn>
                <a:cxn ang="0">
                  <a:pos x="120" y="44"/>
                </a:cxn>
                <a:cxn ang="0">
                  <a:pos x="133" y="52"/>
                </a:cxn>
                <a:cxn ang="0">
                  <a:pos x="156" y="57"/>
                </a:cxn>
                <a:cxn ang="0">
                  <a:pos x="216" y="17"/>
                </a:cxn>
                <a:cxn ang="0">
                  <a:pos x="241" y="0"/>
                </a:cxn>
                <a:cxn ang="0">
                  <a:pos x="262" y="37"/>
                </a:cxn>
                <a:cxn ang="0">
                  <a:pos x="295" y="73"/>
                </a:cxn>
                <a:cxn ang="0">
                  <a:pos x="313" y="79"/>
                </a:cxn>
                <a:cxn ang="0">
                  <a:pos x="313" y="114"/>
                </a:cxn>
                <a:cxn ang="0">
                  <a:pos x="283" y="147"/>
                </a:cxn>
                <a:cxn ang="0">
                  <a:pos x="298" y="144"/>
                </a:cxn>
                <a:cxn ang="0">
                  <a:pos x="321" y="143"/>
                </a:cxn>
                <a:cxn ang="0">
                  <a:pos x="318" y="183"/>
                </a:cxn>
                <a:cxn ang="0">
                  <a:pos x="332" y="199"/>
                </a:cxn>
                <a:cxn ang="0">
                  <a:pos x="339" y="211"/>
                </a:cxn>
                <a:cxn ang="0">
                  <a:pos x="310" y="223"/>
                </a:cxn>
                <a:cxn ang="0">
                  <a:pos x="269" y="257"/>
                </a:cxn>
                <a:cxn ang="0">
                  <a:pos x="235" y="264"/>
                </a:cxn>
                <a:cxn ang="0">
                  <a:pos x="219" y="255"/>
                </a:cxn>
                <a:cxn ang="0">
                  <a:pos x="192" y="244"/>
                </a:cxn>
                <a:cxn ang="0">
                  <a:pos x="185" y="248"/>
                </a:cxn>
                <a:cxn ang="0">
                  <a:pos x="184" y="260"/>
                </a:cxn>
                <a:cxn ang="0">
                  <a:pos x="156" y="293"/>
                </a:cxn>
                <a:cxn ang="0">
                  <a:pos x="134" y="298"/>
                </a:cxn>
              </a:cxnLst>
              <a:rect l="0" t="0" r="r" b="b"/>
              <a:pathLst>
                <a:path w="339" h="298">
                  <a:moveTo>
                    <a:pt x="134" y="298"/>
                  </a:moveTo>
                  <a:cubicBezTo>
                    <a:pt x="118" y="293"/>
                    <a:pt x="115" y="285"/>
                    <a:pt x="108" y="281"/>
                  </a:cubicBezTo>
                  <a:cubicBezTo>
                    <a:pt x="104" y="279"/>
                    <a:pt x="100" y="278"/>
                    <a:pt x="96" y="277"/>
                  </a:cubicBezTo>
                  <a:cubicBezTo>
                    <a:pt x="78" y="277"/>
                    <a:pt x="74" y="275"/>
                    <a:pt x="62" y="285"/>
                  </a:cubicBezTo>
                  <a:cubicBezTo>
                    <a:pt x="59" y="288"/>
                    <a:pt x="56" y="293"/>
                    <a:pt x="53" y="297"/>
                  </a:cubicBezTo>
                  <a:cubicBezTo>
                    <a:pt x="53" y="288"/>
                    <a:pt x="56" y="281"/>
                    <a:pt x="57" y="277"/>
                  </a:cubicBezTo>
                  <a:cubicBezTo>
                    <a:pt x="57" y="269"/>
                    <a:pt x="58" y="261"/>
                    <a:pt x="59" y="254"/>
                  </a:cubicBezTo>
                  <a:cubicBezTo>
                    <a:pt x="50" y="250"/>
                    <a:pt x="42" y="246"/>
                    <a:pt x="34" y="242"/>
                  </a:cubicBezTo>
                  <a:cubicBezTo>
                    <a:pt x="34" y="238"/>
                    <a:pt x="36" y="233"/>
                    <a:pt x="38" y="230"/>
                  </a:cubicBezTo>
                  <a:cubicBezTo>
                    <a:pt x="41" y="220"/>
                    <a:pt x="44" y="209"/>
                    <a:pt x="47" y="199"/>
                  </a:cubicBezTo>
                  <a:cubicBezTo>
                    <a:pt x="52" y="194"/>
                    <a:pt x="47" y="181"/>
                    <a:pt x="47" y="179"/>
                  </a:cubicBezTo>
                  <a:cubicBezTo>
                    <a:pt x="44" y="176"/>
                    <a:pt x="41" y="173"/>
                    <a:pt x="39" y="171"/>
                  </a:cubicBezTo>
                  <a:cubicBezTo>
                    <a:pt x="30" y="171"/>
                    <a:pt x="20" y="174"/>
                    <a:pt x="11" y="176"/>
                  </a:cubicBezTo>
                  <a:cubicBezTo>
                    <a:pt x="1" y="176"/>
                    <a:pt x="3" y="164"/>
                    <a:pt x="3" y="162"/>
                  </a:cubicBezTo>
                  <a:cubicBezTo>
                    <a:pt x="1" y="160"/>
                    <a:pt x="0" y="158"/>
                    <a:pt x="0" y="156"/>
                  </a:cubicBezTo>
                  <a:cubicBezTo>
                    <a:pt x="0" y="128"/>
                    <a:pt x="12" y="127"/>
                    <a:pt x="33" y="122"/>
                  </a:cubicBezTo>
                  <a:cubicBezTo>
                    <a:pt x="36" y="122"/>
                    <a:pt x="38" y="122"/>
                    <a:pt x="41" y="122"/>
                  </a:cubicBezTo>
                  <a:cubicBezTo>
                    <a:pt x="51" y="128"/>
                    <a:pt x="64" y="136"/>
                    <a:pt x="80" y="129"/>
                  </a:cubicBezTo>
                  <a:cubicBezTo>
                    <a:pt x="83" y="126"/>
                    <a:pt x="85" y="123"/>
                    <a:pt x="88" y="120"/>
                  </a:cubicBezTo>
                  <a:cubicBezTo>
                    <a:pt x="89" y="116"/>
                    <a:pt x="90" y="113"/>
                    <a:pt x="91" y="109"/>
                  </a:cubicBezTo>
                  <a:cubicBezTo>
                    <a:pt x="93" y="109"/>
                    <a:pt x="94" y="109"/>
                    <a:pt x="97" y="109"/>
                  </a:cubicBezTo>
                  <a:cubicBezTo>
                    <a:pt x="102" y="114"/>
                    <a:pt x="126" y="114"/>
                    <a:pt x="140" y="114"/>
                  </a:cubicBezTo>
                  <a:cubicBezTo>
                    <a:pt x="151" y="103"/>
                    <a:pt x="149" y="92"/>
                    <a:pt x="149" y="81"/>
                  </a:cubicBezTo>
                  <a:cubicBezTo>
                    <a:pt x="134" y="66"/>
                    <a:pt x="123" y="66"/>
                    <a:pt x="110" y="60"/>
                  </a:cubicBezTo>
                  <a:cubicBezTo>
                    <a:pt x="104" y="47"/>
                    <a:pt x="109" y="44"/>
                    <a:pt x="120" y="44"/>
                  </a:cubicBezTo>
                  <a:cubicBezTo>
                    <a:pt x="125" y="46"/>
                    <a:pt x="129" y="49"/>
                    <a:pt x="133" y="52"/>
                  </a:cubicBezTo>
                  <a:cubicBezTo>
                    <a:pt x="140" y="53"/>
                    <a:pt x="148" y="55"/>
                    <a:pt x="156" y="57"/>
                  </a:cubicBezTo>
                  <a:cubicBezTo>
                    <a:pt x="178" y="57"/>
                    <a:pt x="206" y="37"/>
                    <a:pt x="216" y="17"/>
                  </a:cubicBezTo>
                  <a:cubicBezTo>
                    <a:pt x="216" y="1"/>
                    <a:pt x="228" y="0"/>
                    <a:pt x="241" y="0"/>
                  </a:cubicBezTo>
                  <a:cubicBezTo>
                    <a:pt x="252" y="5"/>
                    <a:pt x="260" y="19"/>
                    <a:pt x="262" y="37"/>
                  </a:cubicBezTo>
                  <a:cubicBezTo>
                    <a:pt x="271" y="48"/>
                    <a:pt x="280" y="60"/>
                    <a:pt x="295" y="73"/>
                  </a:cubicBezTo>
                  <a:cubicBezTo>
                    <a:pt x="301" y="75"/>
                    <a:pt x="307" y="77"/>
                    <a:pt x="313" y="79"/>
                  </a:cubicBezTo>
                  <a:cubicBezTo>
                    <a:pt x="314" y="88"/>
                    <a:pt x="322" y="102"/>
                    <a:pt x="313" y="114"/>
                  </a:cubicBezTo>
                  <a:cubicBezTo>
                    <a:pt x="293" y="127"/>
                    <a:pt x="280" y="118"/>
                    <a:pt x="283" y="147"/>
                  </a:cubicBezTo>
                  <a:cubicBezTo>
                    <a:pt x="287" y="147"/>
                    <a:pt x="293" y="146"/>
                    <a:pt x="298" y="144"/>
                  </a:cubicBezTo>
                  <a:cubicBezTo>
                    <a:pt x="305" y="143"/>
                    <a:pt x="313" y="143"/>
                    <a:pt x="321" y="143"/>
                  </a:cubicBezTo>
                  <a:cubicBezTo>
                    <a:pt x="320" y="156"/>
                    <a:pt x="319" y="169"/>
                    <a:pt x="318" y="183"/>
                  </a:cubicBezTo>
                  <a:cubicBezTo>
                    <a:pt x="321" y="188"/>
                    <a:pt x="324" y="191"/>
                    <a:pt x="332" y="199"/>
                  </a:cubicBezTo>
                  <a:cubicBezTo>
                    <a:pt x="334" y="203"/>
                    <a:pt x="337" y="207"/>
                    <a:pt x="339" y="211"/>
                  </a:cubicBezTo>
                  <a:cubicBezTo>
                    <a:pt x="325" y="211"/>
                    <a:pt x="319" y="218"/>
                    <a:pt x="310" y="223"/>
                  </a:cubicBezTo>
                  <a:cubicBezTo>
                    <a:pt x="300" y="238"/>
                    <a:pt x="282" y="244"/>
                    <a:pt x="269" y="257"/>
                  </a:cubicBezTo>
                  <a:cubicBezTo>
                    <a:pt x="259" y="261"/>
                    <a:pt x="245" y="265"/>
                    <a:pt x="235" y="264"/>
                  </a:cubicBezTo>
                  <a:cubicBezTo>
                    <a:pt x="229" y="261"/>
                    <a:pt x="224" y="258"/>
                    <a:pt x="219" y="255"/>
                  </a:cubicBezTo>
                  <a:cubicBezTo>
                    <a:pt x="204" y="239"/>
                    <a:pt x="206" y="245"/>
                    <a:pt x="192" y="244"/>
                  </a:cubicBezTo>
                  <a:cubicBezTo>
                    <a:pt x="189" y="245"/>
                    <a:pt x="187" y="246"/>
                    <a:pt x="185" y="248"/>
                  </a:cubicBezTo>
                  <a:cubicBezTo>
                    <a:pt x="185" y="252"/>
                    <a:pt x="184" y="256"/>
                    <a:pt x="184" y="260"/>
                  </a:cubicBezTo>
                  <a:cubicBezTo>
                    <a:pt x="174" y="270"/>
                    <a:pt x="163" y="281"/>
                    <a:pt x="156" y="293"/>
                  </a:cubicBezTo>
                  <a:cubicBezTo>
                    <a:pt x="146" y="297"/>
                    <a:pt x="139" y="298"/>
                    <a:pt x="134" y="298"/>
                  </a:cubicBezTo>
                  <a:close/>
                </a:path>
              </a:pathLst>
            </a:custGeom>
            <a:solidFill>
              <a:schemeClr val="bg1">
                <a:lumMod val="75000"/>
              </a:schemeClr>
            </a:solidFill>
            <a:ln w="0">
              <a:noFill/>
              <a:round/>
            </a:ln>
          </p:spPr>
          <p:txBody>
            <a:bodyPr/>
            <a:lstStyle/>
            <a:p>
              <a:pPr fontAlgn="auto">
                <a:spcBef>
                  <a:spcPts val="0"/>
                </a:spcBef>
                <a:spcAft>
                  <a:spcPts val="0"/>
                </a:spcAft>
                <a:defRPr/>
              </a:pPr>
              <a:endParaRPr lang="zh-CN" altLang="en-US" kern="0" noProof="1">
                <a:solidFill>
                  <a:sysClr val="windowText" lastClr="000000"/>
                </a:solidFill>
                <a:latin typeface="+mn-lt"/>
                <a:ea typeface="+mn-ea"/>
              </a:endParaRPr>
            </a:p>
          </p:txBody>
        </p:sp>
        <p:sp>
          <p:nvSpPr>
            <p:cNvPr id="18" name="Freeform 54"/>
            <p:cNvSpPr/>
            <p:nvPr/>
          </p:nvSpPr>
          <p:spPr bwMode="auto">
            <a:xfrm rot="252837">
              <a:off x="3914775" y="4273550"/>
              <a:ext cx="620713" cy="741363"/>
            </a:xfrm>
            <a:custGeom>
              <a:avLst/>
              <a:gdLst/>
              <a:ahLst/>
              <a:cxnLst>
                <a:cxn ang="0">
                  <a:pos x="187" y="362"/>
                </a:cxn>
                <a:cxn ang="0">
                  <a:pos x="159" y="360"/>
                </a:cxn>
                <a:cxn ang="0">
                  <a:pos x="154" y="352"/>
                </a:cxn>
                <a:cxn ang="0">
                  <a:pos x="132" y="337"/>
                </a:cxn>
                <a:cxn ang="0">
                  <a:pos x="132" y="329"/>
                </a:cxn>
                <a:cxn ang="0">
                  <a:pos x="151" y="288"/>
                </a:cxn>
                <a:cxn ang="0">
                  <a:pos x="133" y="263"/>
                </a:cxn>
                <a:cxn ang="0">
                  <a:pos x="115" y="255"/>
                </a:cxn>
                <a:cxn ang="0">
                  <a:pos x="98" y="260"/>
                </a:cxn>
                <a:cxn ang="0">
                  <a:pos x="75" y="276"/>
                </a:cxn>
                <a:cxn ang="0">
                  <a:pos x="56" y="277"/>
                </a:cxn>
                <a:cxn ang="0">
                  <a:pos x="39" y="252"/>
                </a:cxn>
                <a:cxn ang="0">
                  <a:pos x="36" y="247"/>
                </a:cxn>
                <a:cxn ang="0">
                  <a:pos x="37" y="202"/>
                </a:cxn>
                <a:cxn ang="0">
                  <a:pos x="0" y="207"/>
                </a:cxn>
                <a:cxn ang="0">
                  <a:pos x="19" y="192"/>
                </a:cxn>
                <a:cxn ang="0">
                  <a:pos x="36" y="163"/>
                </a:cxn>
                <a:cxn ang="0">
                  <a:pos x="27" y="130"/>
                </a:cxn>
                <a:cxn ang="0">
                  <a:pos x="26" y="90"/>
                </a:cxn>
                <a:cxn ang="0">
                  <a:pos x="23" y="77"/>
                </a:cxn>
                <a:cxn ang="0">
                  <a:pos x="46" y="47"/>
                </a:cxn>
                <a:cxn ang="0">
                  <a:pos x="80" y="36"/>
                </a:cxn>
                <a:cxn ang="0">
                  <a:pos x="95" y="28"/>
                </a:cxn>
                <a:cxn ang="0">
                  <a:pos x="86" y="9"/>
                </a:cxn>
                <a:cxn ang="0">
                  <a:pos x="118" y="11"/>
                </a:cxn>
                <a:cxn ang="0">
                  <a:pos x="135" y="13"/>
                </a:cxn>
                <a:cxn ang="0">
                  <a:pos x="175" y="36"/>
                </a:cxn>
                <a:cxn ang="0">
                  <a:pos x="192" y="42"/>
                </a:cxn>
                <a:cxn ang="0">
                  <a:pos x="209" y="42"/>
                </a:cxn>
                <a:cxn ang="0">
                  <a:pos x="221" y="29"/>
                </a:cxn>
                <a:cxn ang="0">
                  <a:pos x="243" y="44"/>
                </a:cxn>
                <a:cxn ang="0">
                  <a:pos x="254" y="50"/>
                </a:cxn>
                <a:cxn ang="0">
                  <a:pos x="290" y="79"/>
                </a:cxn>
                <a:cxn ang="0">
                  <a:pos x="290" y="123"/>
                </a:cxn>
                <a:cxn ang="0">
                  <a:pos x="278" y="183"/>
                </a:cxn>
                <a:cxn ang="0">
                  <a:pos x="281" y="194"/>
                </a:cxn>
                <a:cxn ang="0">
                  <a:pos x="293" y="237"/>
                </a:cxn>
                <a:cxn ang="0">
                  <a:pos x="297" y="269"/>
                </a:cxn>
                <a:cxn ang="0">
                  <a:pos x="302" y="304"/>
                </a:cxn>
                <a:cxn ang="0">
                  <a:pos x="240" y="307"/>
                </a:cxn>
                <a:cxn ang="0">
                  <a:pos x="251" y="330"/>
                </a:cxn>
                <a:cxn ang="0">
                  <a:pos x="248" y="340"/>
                </a:cxn>
                <a:cxn ang="0">
                  <a:pos x="227" y="322"/>
                </a:cxn>
                <a:cxn ang="0">
                  <a:pos x="208" y="321"/>
                </a:cxn>
                <a:cxn ang="0">
                  <a:pos x="197" y="337"/>
                </a:cxn>
                <a:cxn ang="0">
                  <a:pos x="187" y="362"/>
                </a:cxn>
              </a:cxnLst>
              <a:rect l="0" t="0" r="r" b="b"/>
              <a:pathLst>
                <a:path w="302" h="362">
                  <a:moveTo>
                    <a:pt x="187" y="362"/>
                  </a:moveTo>
                  <a:cubicBezTo>
                    <a:pt x="177" y="352"/>
                    <a:pt x="167" y="359"/>
                    <a:pt x="159" y="360"/>
                  </a:cubicBezTo>
                  <a:cubicBezTo>
                    <a:pt x="158" y="357"/>
                    <a:pt x="156" y="354"/>
                    <a:pt x="154" y="352"/>
                  </a:cubicBezTo>
                  <a:cubicBezTo>
                    <a:pt x="154" y="331"/>
                    <a:pt x="140" y="337"/>
                    <a:pt x="132" y="337"/>
                  </a:cubicBezTo>
                  <a:cubicBezTo>
                    <a:pt x="132" y="334"/>
                    <a:pt x="132" y="331"/>
                    <a:pt x="132" y="329"/>
                  </a:cubicBezTo>
                  <a:cubicBezTo>
                    <a:pt x="139" y="316"/>
                    <a:pt x="149" y="300"/>
                    <a:pt x="151" y="288"/>
                  </a:cubicBezTo>
                  <a:cubicBezTo>
                    <a:pt x="142" y="279"/>
                    <a:pt x="134" y="271"/>
                    <a:pt x="133" y="263"/>
                  </a:cubicBezTo>
                  <a:cubicBezTo>
                    <a:pt x="125" y="253"/>
                    <a:pt x="121" y="255"/>
                    <a:pt x="115" y="255"/>
                  </a:cubicBezTo>
                  <a:cubicBezTo>
                    <a:pt x="109" y="257"/>
                    <a:pt x="103" y="258"/>
                    <a:pt x="98" y="260"/>
                  </a:cubicBezTo>
                  <a:cubicBezTo>
                    <a:pt x="90" y="267"/>
                    <a:pt x="82" y="272"/>
                    <a:pt x="75" y="276"/>
                  </a:cubicBezTo>
                  <a:cubicBezTo>
                    <a:pt x="68" y="276"/>
                    <a:pt x="62" y="277"/>
                    <a:pt x="56" y="277"/>
                  </a:cubicBezTo>
                  <a:cubicBezTo>
                    <a:pt x="54" y="262"/>
                    <a:pt x="44" y="257"/>
                    <a:pt x="39" y="252"/>
                  </a:cubicBezTo>
                  <a:cubicBezTo>
                    <a:pt x="38" y="250"/>
                    <a:pt x="37" y="248"/>
                    <a:pt x="36" y="247"/>
                  </a:cubicBezTo>
                  <a:cubicBezTo>
                    <a:pt x="36" y="232"/>
                    <a:pt x="36" y="217"/>
                    <a:pt x="37" y="202"/>
                  </a:cubicBezTo>
                  <a:cubicBezTo>
                    <a:pt x="22" y="202"/>
                    <a:pt x="11" y="203"/>
                    <a:pt x="0" y="207"/>
                  </a:cubicBezTo>
                  <a:cubicBezTo>
                    <a:pt x="0" y="192"/>
                    <a:pt x="6" y="195"/>
                    <a:pt x="19" y="192"/>
                  </a:cubicBezTo>
                  <a:cubicBezTo>
                    <a:pt x="30" y="187"/>
                    <a:pt x="36" y="174"/>
                    <a:pt x="36" y="163"/>
                  </a:cubicBezTo>
                  <a:cubicBezTo>
                    <a:pt x="33" y="152"/>
                    <a:pt x="30" y="141"/>
                    <a:pt x="27" y="130"/>
                  </a:cubicBezTo>
                  <a:cubicBezTo>
                    <a:pt x="27" y="116"/>
                    <a:pt x="26" y="103"/>
                    <a:pt x="26" y="90"/>
                  </a:cubicBezTo>
                  <a:cubicBezTo>
                    <a:pt x="25" y="86"/>
                    <a:pt x="24" y="81"/>
                    <a:pt x="23" y="77"/>
                  </a:cubicBezTo>
                  <a:cubicBezTo>
                    <a:pt x="35" y="71"/>
                    <a:pt x="40" y="59"/>
                    <a:pt x="46" y="47"/>
                  </a:cubicBezTo>
                  <a:cubicBezTo>
                    <a:pt x="56" y="41"/>
                    <a:pt x="64" y="31"/>
                    <a:pt x="80" y="36"/>
                  </a:cubicBezTo>
                  <a:cubicBezTo>
                    <a:pt x="86" y="36"/>
                    <a:pt x="93" y="35"/>
                    <a:pt x="95" y="28"/>
                  </a:cubicBezTo>
                  <a:cubicBezTo>
                    <a:pt x="95" y="16"/>
                    <a:pt x="91" y="14"/>
                    <a:pt x="86" y="9"/>
                  </a:cubicBezTo>
                  <a:cubicBezTo>
                    <a:pt x="88" y="0"/>
                    <a:pt x="107" y="7"/>
                    <a:pt x="118" y="11"/>
                  </a:cubicBezTo>
                  <a:cubicBezTo>
                    <a:pt x="124" y="11"/>
                    <a:pt x="129" y="12"/>
                    <a:pt x="135" y="13"/>
                  </a:cubicBezTo>
                  <a:cubicBezTo>
                    <a:pt x="145" y="19"/>
                    <a:pt x="162" y="26"/>
                    <a:pt x="175" y="36"/>
                  </a:cubicBezTo>
                  <a:cubicBezTo>
                    <a:pt x="181" y="37"/>
                    <a:pt x="187" y="39"/>
                    <a:pt x="192" y="42"/>
                  </a:cubicBezTo>
                  <a:cubicBezTo>
                    <a:pt x="198" y="42"/>
                    <a:pt x="203" y="42"/>
                    <a:pt x="209" y="42"/>
                  </a:cubicBezTo>
                  <a:cubicBezTo>
                    <a:pt x="212" y="37"/>
                    <a:pt x="217" y="33"/>
                    <a:pt x="221" y="29"/>
                  </a:cubicBezTo>
                  <a:cubicBezTo>
                    <a:pt x="226" y="29"/>
                    <a:pt x="234" y="34"/>
                    <a:pt x="243" y="44"/>
                  </a:cubicBezTo>
                  <a:cubicBezTo>
                    <a:pt x="246" y="46"/>
                    <a:pt x="250" y="48"/>
                    <a:pt x="254" y="50"/>
                  </a:cubicBezTo>
                  <a:cubicBezTo>
                    <a:pt x="263" y="53"/>
                    <a:pt x="279" y="65"/>
                    <a:pt x="290" y="79"/>
                  </a:cubicBezTo>
                  <a:cubicBezTo>
                    <a:pt x="293" y="92"/>
                    <a:pt x="297" y="106"/>
                    <a:pt x="290" y="123"/>
                  </a:cubicBezTo>
                  <a:cubicBezTo>
                    <a:pt x="272" y="143"/>
                    <a:pt x="261" y="154"/>
                    <a:pt x="278" y="183"/>
                  </a:cubicBezTo>
                  <a:cubicBezTo>
                    <a:pt x="278" y="187"/>
                    <a:pt x="280" y="190"/>
                    <a:pt x="281" y="194"/>
                  </a:cubicBezTo>
                  <a:cubicBezTo>
                    <a:pt x="285" y="198"/>
                    <a:pt x="291" y="225"/>
                    <a:pt x="293" y="237"/>
                  </a:cubicBezTo>
                  <a:cubicBezTo>
                    <a:pt x="301" y="247"/>
                    <a:pt x="301" y="254"/>
                    <a:pt x="297" y="269"/>
                  </a:cubicBezTo>
                  <a:cubicBezTo>
                    <a:pt x="297" y="278"/>
                    <a:pt x="296" y="290"/>
                    <a:pt x="302" y="304"/>
                  </a:cubicBezTo>
                  <a:cubicBezTo>
                    <a:pt x="281" y="305"/>
                    <a:pt x="261" y="306"/>
                    <a:pt x="240" y="307"/>
                  </a:cubicBezTo>
                  <a:cubicBezTo>
                    <a:pt x="235" y="311"/>
                    <a:pt x="244" y="321"/>
                    <a:pt x="251" y="330"/>
                  </a:cubicBezTo>
                  <a:cubicBezTo>
                    <a:pt x="250" y="333"/>
                    <a:pt x="249" y="336"/>
                    <a:pt x="248" y="340"/>
                  </a:cubicBezTo>
                  <a:cubicBezTo>
                    <a:pt x="240" y="340"/>
                    <a:pt x="228" y="323"/>
                    <a:pt x="227" y="322"/>
                  </a:cubicBezTo>
                  <a:cubicBezTo>
                    <a:pt x="220" y="321"/>
                    <a:pt x="214" y="321"/>
                    <a:pt x="208" y="321"/>
                  </a:cubicBezTo>
                  <a:cubicBezTo>
                    <a:pt x="204" y="327"/>
                    <a:pt x="201" y="332"/>
                    <a:pt x="197" y="337"/>
                  </a:cubicBezTo>
                  <a:cubicBezTo>
                    <a:pt x="197" y="343"/>
                    <a:pt x="196" y="357"/>
                    <a:pt x="187" y="362"/>
                  </a:cubicBezTo>
                  <a:close/>
                </a:path>
              </a:pathLst>
            </a:custGeom>
            <a:solidFill>
              <a:srgbClr val="C0C0C0"/>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19" name="Freeform 55"/>
            <p:cNvSpPr/>
            <p:nvPr/>
          </p:nvSpPr>
          <p:spPr bwMode="auto">
            <a:xfrm rot="252837">
              <a:off x="4471988" y="4275138"/>
              <a:ext cx="544512" cy="768350"/>
            </a:xfrm>
            <a:custGeom>
              <a:avLst/>
              <a:gdLst/>
              <a:ahLst/>
              <a:cxnLst>
                <a:cxn ang="0">
                  <a:pos x="70" y="374"/>
                </a:cxn>
                <a:cxn ang="0">
                  <a:pos x="57" y="369"/>
                </a:cxn>
                <a:cxn ang="0">
                  <a:pos x="56" y="365"/>
                </a:cxn>
                <a:cxn ang="0">
                  <a:pos x="79" y="337"/>
                </a:cxn>
                <a:cxn ang="0">
                  <a:pos x="75" y="318"/>
                </a:cxn>
                <a:cxn ang="0">
                  <a:pos x="53" y="324"/>
                </a:cxn>
                <a:cxn ang="0">
                  <a:pos x="37" y="324"/>
                </a:cxn>
                <a:cxn ang="0">
                  <a:pos x="31" y="302"/>
                </a:cxn>
                <a:cxn ang="0">
                  <a:pos x="32" y="257"/>
                </a:cxn>
                <a:cxn ang="0">
                  <a:pos x="27" y="251"/>
                </a:cxn>
                <a:cxn ang="0">
                  <a:pos x="13" y="201"/>
                </a:cxn>
                <a:cxn ang="0">
                  <a:pos x="10" y="159"/>
                </a:cxn>
                <a:cxn ang="0">
                  <a:pos x="28" y="136"/>
                </a:cxn>
                <a:cxn ang="0">
                  <a:pos x="28" y="106"/>
                </a:cxn>
                <a:cxn ang="0">
                  <a:pos x="21" y="88"/>
                </a:cxn>
                <a:cxn ang="0">
                  <a:pos x="16" y="83"/>
                </a:cxn>
                <a:cxn ang="0">
                  <a:pos x="29" y="71"/>
                </a:cxn>
                <a:cxn ang="0">
                  <a:pos x="49" y="65"/>
                </a:cxn>
                <a:cxn ang="0">
                  <a:pos x="53" y="64"/>
                </a:cxn>
                <a:cxn ang="0">
                  <a:pos x="94" y="34"/>
                </a:cxn>
                <a:cxn ang="0">
                  <a:pos x="144" y="13"/>
                </a:cxn>
                <a:cxn ang="0">
                  <a:pos x="163" y="0"/>
                </a:cxn>
                <a:cxn ang="0">
                  <a:pos x="164" y="27"/>
                </a:cxn>
                <a:cxn ang="0">
                  <a:pos x="180" y="32"/>
                </a:cxn>
                <a:cxn ang="0">
                  <a:pos x="191" y="9"/>
                </a:cxn>
                <a:cxn ang="0">
                  <a:pos x="212" y="31"/>
                </a:cxn>
                <a:cxn ang="0">
                  <a:pos x="242" y="24"/>
                </a:cxn>
                <a:cxn ang="0">
                  <a:pos x="252" y="24"/>
                </a:cxn>
                <a:cxn ang="0">
                  <a:pos x="236" y="55"/>
                </a:cxn>
                <a:cxn ang="0">
                  <a:pos x="265" y="94"/>
                </a:cxn>
                <a:cxn ang="0">
                  <a:pos x="264" y="108"/>
                </a:cxn>
                <a:cxn ang="0">
                  <a:pos x="256" y="123"/>
                </a:cxn>
                <a:cxn ang="0">
                  <a:pos x="215" y="141"/>
                </a:cxn>
                <a:cxn ang="0">
                  <a:pos x="199" y="171"/>
                </a:cxn>
                <a:cxn ang="0">
                  <a:pos x="200" y="194"/>
                </a:cxn>
                <a:cxn ang="0">
                  <a:pos x="188" y="206"/>
                </a:cxn>
                <a:cxn ang="0">
                  <a:pos x="172" y="247"/>
                </a:cxn>
                <a:cxn ang="0">
                  <a:pos x="168" y="263"/>
                </a:cxn>
                <a:cxn ang="0">
                  <a:pos x="151" y="294"/>
                </a:cxn>
                <a:cxn ang="0">
                  <a:pos x="153" y="307"/>
                </a:cxn>
                <a:cxn ang="0">
                  <a:pos x="146" y="346"/>
                </a:cxn>
                <a:cxn ang="0">
                  <a:pos x="150" y="354"/>
                </a:cxn>
                <a:cxn ang="0">
                  <a:pos x="130" y="365"/>
                </a:cxn>
                <a:cxn ang="0">
                  <a:pos x="87" y="368"/>
                </a:cxn>
                <a:cxn ang="0">
                  <a:pos x="70" y="374"/>
                </a:cxn>
              </a:cxnLst>
              <a:rect l="0" t="0" r="r" b="b"/>
              <a:pathLst>
                <a:path w="265" h="374">
                  <a:moveTo>
                    <a:pt x="70" y="374"/>
                  </a:moveTo>
                  <a:cubicBezTo>
                    <a:pt x="66" y="370"/>
                    <a:pt x="61" y="370"/>
                    <a:pt x="57" y="369"/>
                  </a:cubicBezTo>
                  <a:cubicBezTo>
                    <a:pt x="56" y="367"/>
                    <a:pt x="56" y="366"/>
                    <a:pt x="56" y="365"/>
                  </a:cubicBezTo>
                  <a:cubicBezTo>
                    <a:pt x="64" y="356"/>
                    <a:pt x="71" y="346"/>
                    <a:pt x="79" y="337"/>
                  </a:cubicBezTo>
                  <a:cubicBezTo>
                    <a:pt x="79" y="325"/>
                    <a:pt x="78" y="323"/>
                    <a:pt x="75" y="318"/>
                  </a:cubicBezTo>
                  <a:cubicBezTo>
                    <a:pt x="64" y="318"/>
                    <a:pt x="60" y="320"/>
                    <a:pt x="53" y="324"/>
                  </a:cubicBezTo>
                  <a:cubicBezTo>
                    <a:pt x="48" y="324"/>
                    <a:pt x="42" y="324"/>
                    <a:pt x="37" y="324"/>
                  </a:cubicBezTo>
                  <a:cubicBezTo>
                    <a:pt x="35" y="317"/>
                    <a:pt x="32" y="309"/>
                    <a:pt x="31" y="302"/>
                  </a:cubicBezTo>
                  <a:cubicBezTo>
                    <a:pt x="31" y="284"/>
                    <a:pt x="36" y="270"/>
                    <a:pt x="32" y="257"/>
                  </a:cubicBezTo>
                  <a:cubicBezTo>
                    <a:pt x="31" y="255"/>
                    <a:pt x="29" y="253"/>
                    <a:pt x="27" y="251"/>
                  </a:cubicBezTo>
                  <a:cubicBezTo>
                    <a:pt x="27" y="232"/>
                    <a:pt x="15" y="214"/>
                    <a:pt x="13" y="201"/>
                  </a:cubicBezTo>
                  <a:cubicBezTo>
                    <a:pt x="4" y="182"/>
                    <a:pt x="0" y="173"/>
                    <a:pt x="10" y="159"/>
                  </a:cubicBezTo>
                  <a:cubicBezTo>
                    <a:pt x="16" y="158"/>
                    <a:pt x="25" y="141"/>
                    <a:pt x="28" y="136"/>
                  </a:cubicBezTo>
                  <a:cubicBezTo>
                    <a:pt x="28" y="126"/>
                    <a:pt x="28" y="116"/>
                    <a:pt x="28" y="106"/>
                  </a:cubicBezTo>
                  <a:cubicBezTo>
                    <a:pt x="25" y="100"/>
                    <a:pt x="23" y="94"/>
                    <a:pt x="21" y="88"/>
                  </a:cubicBezTo>
                  <a:cubicBezTo>
                    <a:pt x="19" y="86"/>
                    <a:pt x="17" y="84"/>
                    <a:pt x="16" y="83"/>
                  </a:cubicBezTo>
                  <a:cubicBezTo>
                    <a:pt x="20" y="79"/>
                    <a:pt x="25" y="74"/>
                    <a:pt x="29" y="71"/>
                  </a:cubicBezTo>
                  <a:cubicBezTo>
                    <a:pt x="30" y="71"/>
                    <a:pt x="47" y="69"/>
                    <a:pt x="49" y="65"/>
                  </a:cubicBezTo>
                  <a:cubicBezTo>
                    <a:pt x="50" y="64"/>
                    <a:pt x="51" y="64"/>
                    <a:pt x="53" y="64"/>
                  </a:cubicBezTo>
                  <a:cubicBezTo>
                    <a:pt x="62" y="51"/>
                    <a:pt x="81" y="44"/>
                    <a:pt x="94" y="34"/>
                  </a:cubicBezTo>
                  <a:cubicBezTo>
                    <a:pt x="101" y="19"/>
                    <a:pt x="128" y="24"/>
                    <a:pt x="144" y="13"/>
                  </a:cubicBezTo>
                  <a:cubicBezTo>
                    <a:pt x="149" y="0"/>
                    <a:pt x="149" y="0"/>
                    <a:pt x="163" y="0"/>
                  </a:cubicBezTo>
                  <a:cubicBezTo>
                    <a:pt x="163" y="9"/>
                    <a:pt x="164" y="18"/>
                    <a:pt x="164" y="27"/>
                  </a:cubicBezTo>
                  <a:cubicBezTo>
                    <a:pt x="167" y="32"/>
                    <a:pt x="173" y="31"/>
                    <a:pt x="180" y="32"/>
                  </a:cubicBezTo>
                  <a:cubicBezTo>
                    <a:pt x="189" y="24"/>
                    <a:pt x="186" y="14"/>
                    <a:pt x="191" y="9"/>
                  </a:cubicBezTo>
                  <a:cubicBezTo>
                    <a:pt x="193" y="13"/>
                    <a:pt x="198" y="28"/>
                    <a:pt x="212" y="31"/>
                  </a:cubicBezTo>
                  <a:cubicBezTo>
                    <a:pt x="222" y="31"/>
                    <a:pt x="230" y="30"/>
                    <a:pt x="242" y="24"/>
                  </a:cubicBezTo>
                  <a:cubicBezTo>
                    <a:pt x="245" y="24"/>
                    <a:pt x="248" y="24"/>
                    <a:pt x="252" y="24"/>
                  </a:cubicBezTo>
                  <a:cubicBezTo>
                    <a:pt x="246" y="35"/>
                    <a:pt x="233" y="41"/>
                    <a:pt x="236" y="55"/>
                  </a:cubicBezTo>
                  <a:cubicBezTo>
                    <a:pt x="246" y="66"/>
                    <a:pt x="255" y="77"/>
                    <a:pt x="265" y="94"/>
                  </a:cubicBezTo>
                  <a:cubicBezTo>
                    <a:pt x="264" y="99"/>
                    <a:pt x="264" y="103"/>
                    <a:pt x="264" y="108"/>
                  </a:cubicBezTo>
                  <a:cubicBezTo>
                    <a:pt x="260" y="112"/>
                    <a:pt x="259" y="116"/>
                    <a:pt x="256" y="123"/>
                  </a:cubicBezTo>
                  <a:cubicBezTo>
                    <a:pt x="242" y="141"/>
                    <a:pt x="229" y="134"/>
                    <a:pt x="215" y="141"/>
                  </a:cubicBezTo>
                  <a:cubicBezTo>
                    <a:pt x="200" y="153"/>
                    <a:pt x="197" y="150"/>
                    <a:pt x="199" y="171"/>
                  </a:cubicBezTo>
                  <a:cubicBezTo>
                    <a:pt x="205" y="177"/>
                    <a:pt x="204" y="185"/>
                    <a:pt x="200" y="194"/>
                  </a:cubicBezTo>
                  <a:cubicBezTo>
                    <a:pt x="196" y="198"/>
                    <a:pt x="192" y="202"/>
                    <a:pt x="188" y="206"/>
                  </a:cubicBezTo>
                  <a:cubicBezTo>
                    <a:pt x="167" y="221"/>
                    <a:pt x="169" y="217"/>
                    <a:pt x="172" y="247"/>
                  </a:cubicBezTo>
                  <a:cubicBezTo>
                    <a:pt x="170" y="252"/>
                    <a:pt x="169" y="258"/>
                    <a:pt x="168" y="263"/>
                  </a:cubicBezTo>
                  <a:cubicBezTo>
                    <a:pt x="155" y="274"/>
                    <a:pt x="151" y="275"/>
                    <a:pt x="151" y="294"/>
                  </a:cubicBezTo>
                  <a:cubicBezTo>
                    <a:pt x="152" y="298"/>
                    <a:pt x="153" y="302"/>
                    <a:pt x="153" y="307"/>
                  </a:cubicBezTo>
                  <a:cubicBezTo>
                    <a:pt x="149" y="315"/>
                    <a:pt x="144" y="332"/>
                    <a:pt x="146" y="346"/>
                  </a:cubicBezTo>
                  <a:cubicBezTo>
                    <a:pt x="147" y="348"/>
                    <a:pt x="149" y="351"/>
                    <a:pt x="150" y="354"/>
                  </a:cubicBezTo>
                  <a:cubicBezTo>
                    <a:pt x="143" y="357"/>
                    <a:pt x="136" y="361"/>
                    <a:pt x="130" y="365"/>
                  </a:cubicBezTo>
                  <a:cubicBezTo>
                    <a:pt x="116" y="351"/>
                    <a:pt x="102" y="361"/>
                    <a:pt x="87" y="368"/>
                  </a:cubicBezTo>
                  <a:cubicBezTo>
                    <a:pt x="81" y="370"/>
                    <a:pt x="75" y="371"/>
                    <a:pt x="70" y="374"/>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0" name="Freeform 56"/>
            <p:cNvSpPr/>
            <p:nvPr/>
          </p:nvSpPr>
          <p:spPr bwMode="auto">
            <a:xfrm rot="252837">
              <a:off x="2665413" y="3668713"/>
              <a:ext cx="1122362" cy="1109662"/>
            </a:xfrm>
            <a:custGeom>
              <a:avLst/>
              <a:gdLst/>
              <a:ahLst/>
              <a:cxnLst>
                <a:cxn ang="0">
                  <a:pos x="238" y="540"/>
                </a:cxn>
                <a:cxn ang="0">
                  <a:pos x="200" y="513"/>
                </a:cxn>
                <a:cxn ang="0">
                  <a:pos x="198" y="464"/>
                </a:cxn>
                <a:cxn ang="0">
                  <a:pos x="150" y="410"/>
                </a:cxn>
                <a:cxn ang="0">
                  <a:pos x="127" y="386"/>
                </a:cxn>
                <a:cxn ang="0">
                  <a:pos x="108" y="347"/>
                </a:cxn>
                <a:cxn ang="0">
                  <a:pos x="84" y="382"/>
                </a:cxn>
                <a:cxn ang="0">
                  <a:pos x="79" y="329"/>
                </a:cxn>
                <a:cxn ang="0">
                  <a:pos x="74" y="268"/>
                </a:cxn>
                <a:cxn ang="0">
                  <a:pos x="83" y="228"/>
                </a:cxn>
                <a:cxn ang="0">
                  <a:pos x="59" y="174"/>
                </a:cxn>
                <a:cxn ang="0">
                  <a:pos x="8" y="111"/>
                </a:cxn>
                <a:cxn ang="0">
                  <a:pos x="2" y="106"/>
                </a:cxn>
                <a:cxn ang="0">
                  <a:pos x="15" y="51"/>
                </a:cxn>
                <a:cxn ang="0">
                  <a:pos x="2" y="22"/>
                </a:cxn>
                <a:cxn ang="0">
                  <a:pos x="64" y="42"/>
                </a:cxn>
                <a:cxn ang="0">
                  <a:pos x="113" y="102"/>
                </a:cxn>
                <a:cxn ang="0">
                  <a:pos x="137" y="94"/>
                </a:cxn>
                <a:cxn ang="0">
                  <a:pos x="160" y="106"/>
                </a:cxn>
                <a:cxn ang="0">
                  <a:pos x="175" y="112"/>
                </a:cxn>
                <a:cxn ang="0">
                  <a:pos x="211" y="99"/>
                </a:cxn>
                <a:cxn ang="0">
                  <a:pos x="209" y="43"/>
                </a:cxn>
                <a:cxn ang="0">
                  <a:pos x="233" y="62"/>
                </a:cxn>
                <a:cxn ang="0">
                  <a:pos x="273" y="53"/>
                </a:cxn>
                <a:cxn ang="0">
                  <a:pos x="296" y="8"/>
                </a:cxn>
                <a:cxn ang="0">
                  <a:pos x="330" y="39"/>
                </a:cxn>
                <a:cxn ang="0">
                  <a:pos x="366" y="84"/>
                </a:cxn>
                <a:cxn ang="0">
                  <a:pos x="429" y="109"/>
                </a:cxn>
                <a:cxn ang="0">
                  <a:pos x="482" y="109"/>
                </a:cxn>
                <a:cxn ang="0">
                  <a:pos x="535" y="124"/>
                </a:cxn>
                <a:cxn ang="0">
                  <a:pos x="547" y="162"/>
                </a:cxn>
                <a:cxn ang="0">
                  <a:pos x="495" y="241"/>
                </a:cxn>
                <a:cxn ang="0">
                  <a:pos x="432" y="216"/>
                </a:cxn>
                <a:cxn ang="0">
                  <a:pos x="429" y="242"/>
                </a:cxn>
                <a:cxn ang="0">
                  <a:pos x="432" y="313"/>
                </a:cxn>
                <a:cxn ang="0">
                  <a:pos x="450" y="361"/>
                </a:cxn>
                <a:cxn ang="0">
                  <a:pos x="478" y="409"/>
                </a:cxn>
                <a:cxn ang="0">
                  <a:pos x="429" y="426"/>
                </a:cxn>
                <a:cxn ang="0">
                  <a:pos x="397" y="413"/>
                </a:cxn>
                <a:cxn ang="0">
                  <a:pos x="361" y="371"/>
                </a:cxn>
                <a:cxn ang="0">
                  <a:pos x="322" y="382"/>
                </a:cxn>
                <a:cxn ang="0">
                  <a:pos x="306" y="401"/>
                </a:cxn>
                <a:cxn ang="0">
                  <a:pos x="286" y="455"/>
                </a:cxn>
                <a:cxn ang="0">
                  <a:pos x="282" y="483"/>
                </a:cxn>
                <a:cxn ang="0">
                  <a:pos x="294" y="521"/>
                </a:cxn>
                <a:cxn ang="0">
                  <a:pos x="243" y="542"/>
                </a:cxn>
              </a:cxnLst>
              <a:rect l="0" t="0" r="r" b="b"/>
              <a:pathLst>
                <a:path w="547" h="542">
                  <a:moveTo>
                    <a:pt x="243" y="542"/>
                  </a:moveTo>
                  <a:cubicBezTo>
                    <a:pt x="241" y="542"/>
                    <a:pt x="240" y="541"/>
                    <a:pt x="238" y="540"/>
                  </a:cubicBezTo>
                  <a:cubicBezTo>
                    <a:pt x="225" y="530"/>
                    <a:pt x="217" y="529"/>
                    <a:pt x="208" y="522"/>
                  </a:cubicBezTo>
                  <a:cubicBezTo>
                    <a:pt x="205" y="519"/>
                    <a:pt x="202" y="516"/>
                    <a:pt x="200" y="513"/>
                  </a:cubicBezTo>
                  <a:cubicBezTo>
                    <a:pt x="200" y="510"/>
                    <a:pt x="200" y="507"/>
                    <a:pt x="200" y="504"/>
                  </a:cubicBezTo>
                  <a:cubicBezTo>
                    <a:pt x="215" y="486"/>
                    <a:pt x="207" y="477"/>
                    <a:pt x="198" y="464"/>
                  </a:cubicBezTo>
                  <a:cubicBezTo>
                    <a:pt x="185" y="451"/>
                    <a:pt x="180" y="434"/>
                    <a:pt x="173" y="427"/>
                  </a:cubicBezTo>
                  <a:cubicBezTo>
                    <a:pt x="164" y="406"/>
                    <a:pt x="166" y="411"/>
                    <a:pt x="150" y="410"/>
                  </a:cubicBezTo>
                  <a:cubicBezTo>
                    <a:pt x="147" y="408"/>
                    <a:pt x="143" y="407"/>
                    <a:pt x="140" y="405"/>
                  </a:cubicBezTo>
                  <a:cubicBezTo>
                    <a:pt x="135" y="399"/>
                    <a:pt x="131" y="392"/>
                    <a:pt x="127" y="386"/>
                  </a:cubicBezTo>
                  <a:cubicBezTo>
                    <a:pt x="123" y="377"/>
                    <a:pt x="120" y="367"/>
                    <a:pt x="117" y="358"/>
                  </a:cubicBezTo>
                  <a:cubicBezTo>
                    <a:pt x="114" y="354"/>
                    <a:pt x="111" y="350"/>
                    <a:pt x="108" y="347"/>
                  </a:cubicBezTo>
                  <a:cubicBezTo>
                    <a:pt x="84" y="347"/>
                    <a:pt x="97" y="368"/>
                    <a:pt x="89" y="384"/>
                  </a:cubicBezTo>
                  <a:cubicBezTo>
                    <a:pt x="87" y="383"/>
                    <a:pt x="85" y="382"/>
                    <a:pt x="84" y="382"/>
                  </a:cubicBezTo>
                  <a:cubicBezTo>
                    <a:pt x="84" y="368"/>
                    <a:pt x="76" y="355"/>
                    <a:pt x="74" y="346"/>
                  </a:cubicBezTo>
                  <a:cubicBezTo>
                    <a:pt x="80" y="342"/>
                    <a:pt x="79" y="330"/>
                    <a:pt x="79" y="329"/>
                  </a:cubicBezTo>
                  <a:cubicBezTo>
                    <a:pt x="79" y="322"/>
                    <a:pt x="80" y="315"/>
                    <a:pt x="81" y="308"/>
                  </a:cubicBezTo>
                  <a:cubicBezTo>
                    <a:pt x="74" y="294"/>
                    <a:pt x="71" y="278"/>
                    <a:pt x="74" y="268"/>
                  </a:cubicBezTo>
                  <a:cubicBezTo>
                    <a:pt x="78" y="263"/>
                    <a:pt x="81" y="258"/>
                    <a:pt x="85" y="254"/>
                  </a:cubicBezTo>
                  <a:cubicBezTo>
                    <a:pt x="84" y="245"/>
                    <a:pt x="84" y="236"/>
                    <a:pt x="83" y="228"/>
                  </a:cubicBezTo>
                  <a:cubicBezTo>
                    <a:pt x="79" y="222"/>
                    <a:pt x="75" y="216"/>
                    <a:pt x="71" y="210"/>
                  </a:cubicBezTo>
                  <a:cubicBezTo>
                    <a:pt x="68" y="196"/>
                    <a:pt x="64" y="181"/>
                    <a:pt x="59" y="174"/>
                  </a:cubicBezTo>
                  <a:cubicBezTo>
                    <a:pt x="45" y="157"/>
                    <a:pt x="31" y="139"/>
                    <a:pt x="28" y="125"/>
                  </a:cubicBezTo>
                  <a:cubicBezTo>
                    <a:pt x="21" y="120"/>
                    <a:pt x="14" y="116"/>
                    <a:pt x="8" y="111"/>
                  </a:cubicBezTo>
                  <a:cubicBezTo>
                    <a:pt x="6" y="110"/>
                    <a:pt x="5" y="108"/>
                    <a:pt x="4" y="106"/>
                  </a:cubicBezTo>
                  <a:cubicBezTo>
                    <a:pt x="3" y="106"/>
                    <a:pt x="2" y="106"/>
                    <a:pt x="2" y="106"/>
                  </a:cubicBezTo>
                  <a:cubicBezTo>
                    <a:pt x="2" y="96"/>
                    <a:pt x="0" y="87"/>
                    <a:pt x="2" y="81"/>
                  </a:cubicBezTo>
                  <a:cubicBezTo>
                    <a:pt x="16" y="75"/>
                    <a:pt x="15" y="62"/>
                    <a:pt x="15" y="51"/>
                  </a:cubicBezTo>
                  <a:cubicBezTo>
                    <a:pt x="11" y="45"/>
                    <a:pt x="6" y="39"/>
                    <a:pt x="2" y="34"/>
                  </a:cubicBezTo>
                  <a:cubicBezTo>
                    <a:pt x="2" y="30"/>
                    <a:pt x="2" y="26"/>
                    <a:pt x="2" y="22"/>
                  </a:cubicBezTo>
                  <a:cubicBezTo>
                    <a:pt x="15" y="21"/>
                    <a:pt x="29" y="20"/>
                    <a:pt x="43" y="19"/>
                  </a:cubicBezTo>
                  <a:cubicBezTo>
                    <a:pt x="48" y="21"/>
                    <a:pt x="58" y="31"/>
                    <a:pt x="64" y="42"/>
                  </a:cubicBezTo>
                  <a:cubicBezTo>
                    <a:pt x="64" y="58"/>
                    <a:pt x="78" y="77"/>
                    <a:pt x="95" y="91"/>
                  </a:cubicBezTo>
                  <a:cubicBezTo>
                    <a:pt x="101" y="92"/>
                    <a:pt x="107" y="90"/>
                    <a:pt x="113" y="102"/>
                  </a:cubicBezTo>
                  <a:cubicBezTo>
                    <a:pt x="119" y="102"/>
                    <a:pt x="125" y="101"/>
                    <a:pt x="133" y="95"/>
                  </a:cubicBezTo>
                  <a:cubicBezTo>
                    <a:pt x="134" y="94"/>
                    <a:pt x="135" y="94"/>
                    <a:pt x="137" y="94"/>
                  </a:cubicBezTo>
                  <a:cubicBezTo>
                    <a:pt x="138" y="95"/>
                    <a:pt x="139" y="95"/>
                    <a:pt x="140" y="97"/>
                  </a:cubicBezTo>
                  <a:cubicBezTo>
                    <a:pt x="140" y="104"/>
                    <a:pt x="150" y="105"/>
                    <a:pt x="160" y="106"/>
                  </a:cubicBezTo>
                  <a:cubicBezTo>
                    <a:pt x="161" y="108"/>
                    <a:pt x="163" y="110"/>
                    <a:pt x="164" y="112"/>
                  </a:cubicBezTo>
                  <a:cubicBezTo>
                    <a:pt x="168" y="112"/>
                    <a:pt x="171" y="112"/>
                    <a:pt x="175" y="112"/>
                  </a:cubicBezTo>
                  <a:cubicBezTo>
                    <a:pt x="178" y="109"/>
                    <a:pt x="182" y="106"/>
                    <a:pt x="186" y="104"/>
                  </a:cubicBezTo>
                  <a:cubicBezTo>
                    <a:pt x="194" y="102"/>
                    <a:pt x="203" y="100"/>
                    <a:pt x="211" y="99"/>
                  </a:cubicBezTo>
                  <a:cubicBezTo>
                    <a:pt x="213" y="97"/>
                    <a:pt x="214" y="94"/>
                    <a:pt x="216" y="93"/>
                  </a:cubicBezTo>
                  <a:cubicBezTo>
                    <a:pt x="216" y="74"/>
                    <a:pt x="201" y="51"/>
                    <a:pt x="209" y="43"/>
                  </a:cubicBezTo>
                  <a:cubicBezTo>
                    <a:pt x="213" y="45"/>
                    <a:pt x="217" y="53"/>
                    <a:pt x="229" y="57"/>
                  </a:cubicBezTo>
                  <a:cubicBezTo>
                    <a:pt x="230" y="58"/>
                    <a:pt x="231" y="60"/>
                    <a:pt x="233" y="62"/>
                  </a:cubicBezTo>
                  <a:cubicBezTo>
                    <a:pt x="240" y="65"/>
                    <a:pt x="252" y="66"/>
                    <a:pt x="263" y="62"/>
                  </a:cubicBezTo>
                  <a:cubicBezTo>
                    <a:pt x="266" y="59"/>
                    <a:pt x="269" y="56"/>
                    <a:pt x="273" y="53"/>
                  </a:cubicBezTo>
                  <a:cubicBezTo>
                    <a:pt x="273" y="35"/>
                    <a:pt x="267" y="31"/>
                    <a:pt x="266" y="22"/>
                  </a:cubicBezTo>
                  <a:cubicBezTo>
                    <a:pt x="272" y="17"/>
                    <a:pt x="283" y="0"/>
                    <a:pt x="296" y="8"/>
                  </a:cubicBezTo>
                  <a:cubicBezTo>
                    <a:pt x="300" y="17"/>
                    <a:pt x="302" y="24"/>
                    <a:pt x="317" y="34"/>
                  </a:cubicBezTo>
                  <a:cubicBezTo>
                    <a:pt x="321" y="35"/>
                    <a:pt x="326" y="37"/>
                    <a:pt x="330" y="39"/>
                  </a:cubicBezTo>
                  <a:cubicBezTo>
                    <a:pt x="337" y="49"/>
                    <a:pt x="352" y="55"/>
                    <a:pt x="362" y="72"/>
                  </a:cubicBezTo>
                  <a:cubicBezTo>
                    <a:pt x="363" y="75"/>
                    <a:pt x="364" y="80"/>
                    <a:pt x="366" y="84"/>
                  </a:cubicBezTo>
                  <a:cubicBezTo>
                    <a:pt x="369" y="90"/>
                    <a:pt x="378" y="105"/>
                    <a:pt x="391" y="110"/>
                  </a:cubicBezTo>
                  <a:cubicBezTo>
                    <a:pt x="404" y="109"/>
                    <a:pt x="417" y="109"/>
                    <a:pt x="429" y="109"/>
                  </a:cubicBezTo>
                  <a:cubicBezTo>
                    <a:pt x="438" y="104"/>
                    <a:pt x="444" y="99"/>
                    <a:pt x="457" y="101"/>
                  </a:cubicBezTo>
                  <a:cubicBezTo>
                    <a:pt x="465" y="103"/>
                    <a:pt x="474" y="106"/>
                    <a:pt x="482" y="109"/>
                  </a:cubicBezTo>
                  <a:cubicBezTo>
                    <a:pt x="490" y="109"/>
                    <a:pt x="498" y="109"/>
                    <a:pt x="506" y="110"/>
                  </a:cubicBezTo>
                  <a:cubicBezTo>
                    <a:pt x="515" y="116"/>
                    <a:pt x="518" y="123"/>
                    <a:pt x="535" y="124"/>
                  </a:cubicBezTo>
                  <a:cubicBezTo>
                    <a:pt x="538" y="127"/>
                    <a:pt x="543" y="130"/>
                    <a:pt x="547" y="134"/>
                  </a:cubicBezTo>
                  <a:cubicBezTo>
                    <a:pt x="547" y="143"/>
                    <a:pt x="547" y="153"/>
                    <a:pt x="547" y="162"/>
                  </a:cubicBezTo>
                  <a:cubicBezTo>
                    <a:pt x="535" y="174"/>
                    <a:pt x="527" y="191"/>
                    <a:pt x="523" y="207"/>
                  </a:cubicBezTo>
                  <a:cubicBezTo>
                    <a:pt x="516" y="219"/>
                    <a:pt x="506" y="230"/>
                    <a:pt x="495" y="241"/>
                  </a:cubicBezTo>
                  <a:cubicBezTo>
                    <a:pt x="471" y="247"/>
                    <a:pt x="471" y="237"/>
                    <a:pt x="457" y="227"/>
                  </a:cubicBezTo>
                  <a:cubicBezTo>
                    <a:pt x="448" y="216"/>
                    <a:pt x="438" y="216"/>
                    <a:pt x="432" y="216"/>
                  </a:cubicBezTo>
                  <a:cubicBezTo>
                    <a:pt x="431" y="217"/>
                    <a:pt x="430" y="219"/>
                    <a:pt x="429" y="220"/>
                  </a:cubicBezTo>
                  <a:cubicBezTo>
                    <a:pt x="429" y="227"/>
                    <a:pt x="429" y="235"/>
                    <a:pt x="429" y="242"/>
                  </a:cubicBezTo>
                  <a:cubicBezTo>
                    <a:pt x="434" y="252"/>
                    <a:pt x="435" y="260"/>
                    <a:pt x="435" y="274"/>
                  </a:cubicBezTo>
                  <a:cubicBezTo>
                    <a:pt x="432" y="284"/>
                    <a:pt x="429" y="299"/>
                    <a:pt x="432" y="313"/>
                  </a:cubicBezTo>
                  <a:cubicBezTo>
                    <a:pt x="435" y="316"/>
                    <a:pt x="438" y="319"/>
                    <a:pt x="441" y="323"/>
                  </a:cubicBezTo>
                  <a:cubicBezTo>
                    <a:pt x="449" y="326"/>
                    <a:pt x="464" y="347"/>
                    <a:pt x="450" y="361"/>
                  </a:cubicBezTo>
                  <a:cubicBezTo>
                    <a:pt x="437" y="369"/>
                    <a:pt x="437" y="365"/>
                    <a:pt x="437" y="384"/>
                  </a:cubicBezTo>
                  <a:cubicBezTo>
                    <a:pt x="442" y="395"/>
                    <a:pt x="462" y="394"/>
                    <a:pt x="478" y="409"/>
                  </a:cubicBezTo>
                  <a:cubicBezTo>
                    <a:pt x="478" y="414"/>
                    <a:pt x="478" y="427"/>
                    <a:pt x="472" y="433"/>
                  </a:cubicBezTo>
                  <a:cubicBezTo>
                    <a:pt x="455" y="433"/>
                    <a:pt x="438" y="430"/>
                    <a:pt x="429" y="426"/>
                  </a:cubicBezTo>
                  <a:cubicBezTo>
                    <a:pt x="429" y="415"/>
                    <a:pt x="426" y="405"/>
                    <a:pt x="423" y="400"/>
                  </a:cubicBezTo>
                  <a:cubicBezTo>
                    <a:pt x="408" y="400"/>
                    <a:pt x="407" y="408"/>
                    <a:pt x="397" y="413"/>
                  </a:cubicBezTo>
                  <a:cubicBezTo>
                    <a:pt x="392" y="412"/>
                    <a:pt x="387" y="412"/>
                    <a:pt x="382" y="412"/>
                  </a:cubicBezTo>
                  <a:cubicBezTo>
                    <a:pt x="366" y="400"/>
                    <a:pt x="363" y="384"/>
                    <a:pt x="361" y="371"/>
                  </a:cubicBezTo>
                  <a:cubicBezTo>
                    <a:pt x="359" y="368"/>
                    <a:pt x="356" y="365"/>
                    <a:pt x="355" y="363"/>
                  </a:cubicBezTo>
                  <a:cubicBezTo>
                    <a:pt x="331" y="363"/>
                    <a:pt x="325" y="360"/>
                    <a:pt x="322" y="382"/>
                  </a:cubicBezTo>
                  <a:cubicBezTo>
                    <a:pt x="315" y="388"/>
                    <a:pt x="311" y="387"/>
                    <a:pt x="305" y="391"/>
                  </a:cubicBezTo>
                  <a:cubicBezTo>
                    <a:pt x="305" y="394"/>
                    <a:pt x="305" y="397"/>
                    <a:pt x="306" y="401"/>
                  </a:cubicBezTo>
                  <a:cubicBezTo>
                    <a:pt x="310" y="407"/>
                    <a:pt x="320" y="417"/>
                    <a:pt x="316" y="431"/>
                  </a:cubicBezTo>
                  <a:cubicBezTo>
                    <a:pt x="311" y="442"/>
                    <a:pt x="294" y="449"/>
                    <a:pt x="286" y="455"/>
                  </a:cubicBezTo>
                  <a:cubicBezTo>
                    <a:pt x="285" y="457"/>
                    <a:pt x="283" y="458"/>
                    <a:pt x="282" y="460"/>
                  </a:cubicBezTo>
                  <a:cubicBezTo>
                    <a:pt x="282" y="467"/>
                    <a:pt x="282" y="475"/>
                    <a:pt x="282" y="483"/>
                  </a:cubicBezTo>
                  <a:cubicBezTo>
                    <a:pt x="287" y="493"/>
                    <a:pt x="298" y="487"/>
                    <a:pt x="298" y="512"/>
                  </a:cubicBezTo>
                  <a:cubicBezTo>
                    <a:pt x="296" y="514"/>
                    <a:pt x="295" y="517"/>
                    <a:pt x="294" y="521"/>
                  </a:cubicBezTo>
                  <a:cubicBezTo>
                    <a:pt x="289" y="523"/>
                    <a:pt x="285" y="525"/>
                    <a:pt x="281" y="527"/>
                  </a:cubicBezTo>
                  <a:cubicBezTo>
                    <a:pt x="268" y="532"/>
                    <a:pt x="256" y="537"/>
                    <a:pt x="243" y="542"/>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1" name="Freeform 57"/>
            <p:cNvSpPr/>
            <p:nvPr/>
          </p:nvSpPr>
          <p:spPr bwMode="auto">
            <a:xfrm rot="252837">
              <a:off x="601663" y="3089275"/>
              <a:ext cx="2255837" cy="1377950"/>
            </a:xfrm>
            <a:custGeom>
              <a:avLst/>
              <a:gdLst/>
              <a:ahLst/>
              <a:cxnLst>
                <a:cxn ang="0">
                  <a:pos x="711" y="667"/>
                </a:cxn>
                <a:cxn ang="0">
                  <a:pos x="695" y="638"/>
                </a:cxn>
                <a:cxn ang="0">
                  <a:pos x="671" y="599"/>
                </a:cxn>
                <a:cxn ang="0">
                  <a:pos x="639" y="591"/>
                </a:cxn>
                <a:cxn ang="0">
                  <a:pos x="595" y="562"/>
                </a:cxn>
                <a:cxn ang="0">
                  <a:pos x="568" y="559"/>
                </a:cxn>
                <a:cxn ang="0">
                  <a:pos x="535" y="585"/>
                </a:cxn>
                <a:cxn ang="0">
                  <a:pos x="527" y="616"/>
                </a:cxn>
                <a:cxn ang="0">
                  <a:pos x="515" y="564"/>
                </a:cxn>
                <a:cxn ang="0">
                  <a:pos x="445" y="572"/>
                </a:cxn>
                <a:cxn ang="0">
                  <a:pos x="406" y="543"/>
                </a:cxn>
                <a:cxn ang="0">
                  <a:pos x="343" y="510"/>
                </a:cxn>
                <a:cxn ang="0">
                  <a:pos x="317" y="493"/>
                </a:cxn>
                <a:cxn ang="0">
                  <a:pos x="274" y="440"/>
                </a:cxn>
                <a:cxn ang="0">
                  <a:pos x="243" y="430"/>
                </a:cxn>
                <a:cxn ang="0">
                  <a:pos x="207" y="394"/>
                </a:cxn>
                <a:cxn ang="0">
                  <a:pos x="165" y="343"/>
                </a:cxn>
                <a:cxn ang="0">
                  <a:pos x="128" y="354"/>
                </a:cxn>
                <a:cxn ang="0">
                  <a:pos x="85" y="311"/>
                </a:cxn>
                <a:cxn ang="0">
                  <a:pos x="12" y="255"/>
                </a:cxn>
                <a:cxn ang="0">
                  <a:pos x="19" y="219"/>
                </a:cxn>
                <a:cxn ang="0">
                  <a:pos x="26" y="158"/>
                </a:cxn>
                <a:cxn ang="0">
                  <a:pos x="59" y="174"/>
                </a:cxn>
                <a:cxn ang="0">
                  <a:pos x="61" y="122"/>
                </a:cxn>
                <a:cxn ang="0">
                  <a:pos x="61" y="56"/>
                </a:cxn>
                <a:cxn ang="0">
                  <a:pos x="88" y="56"/>
                </a:cxn>
                <a:cxn ang="0">
                  <a:pos x="127" y="41"/>
                </a:cxn>
                <a:cxn ang="0">
                  <a:pos x="177" y="4"/>
                </a:cxn>
                <a:cxn ang="0">
                  <a:pos x="231" y="24"/>
                </a:cxn>
                <a:cxn ang="0">
                  <a:pos x="284" y="13"/>
                </a:cxn>
                <a:cxn ang="0">
                  <a:pos x="322" y="47"/>
                </a:cxn>
                <a:cxn ang="0">
                  <a:pos x="375" y="37"/>
                </a:cxn>
                <a:cxn ang="0">
                  <a:pos x="441" y="39"/>
                </a:cxn>
                <a:cxn ang="0">
                  <a:pos x="510" y="18"/>
                </a:cxn>
                <a:cxn ang="0">
                  <a:pos x="593" y="22"/>
                </a:cxn>
                <a:cxn ang="0">
                  <a:pos x="616" y="51"/>
                </a:cxn>
                <a:cxn ang="0">
                  <a:pos x="619" y="103"/>
                </a:cxn>
                <a:cxn ang="0">
                  <a:pos x="648" y="232"/>
                </a:cxn>
                <a:cxn ang="0">
                  <a:pos x="699" y="251"/>
                </a:cxn>
                <a:cxn ang="0">
                  <a:pos x="802" y="308"/>
                </a:cxn>
                <a:cxn ang="0">
                  <a:pos x="876" y="312"/>
                </a:cxn>
                <a:cxn ang="0">
                  <a:pos x="907" y="350"/>
                </a:cxn>
                <a:cxn ang="0">
                  <a:pos x="940" y="384"/>
                </a:cxn>
                <a:cxn ang="0">
                  <a:pos x="957" y="372"/>
                </a:cxn>
                <a:cxn ang="0">
                  <a:pos x="996" y="371"/>
                </a:cxn>
                <a:cxn ang="0">
                  <a:pos x="1020" y="339"/>
                </a:cxn>
                <a:cxn ang="0">
                  <a:pos x="1075" y="406"/>
                </a:cxn>
                <a:cxn ang="0">
                  <a:pos x="1100" y="478"/>
                </a:cxn>
                <a:cxn ang="0">
                  <a:pos x="1093" y="554"/>
                </a:cxn>
                <a:cxn ang="0">
                  <a:pos x="1090" y="566"/>
                </a:cxn>
                <a:cxn ang="0">
                  <a:pos x="1056" y="565"/>
                </a:cxn>
                <a:cxn ang="0">
                  <a:pos x="1060" y="613"/>
                </a:cxn>
                <a:cxn ang="0">
                  <a:pos x="1039" y="616"/>
                </a:cxn>
                <a:cxn ang="0">
                  <a:pos x="989" y="622"/>
                </a:cxn>
                <a:cxn ang="0">
                  <a:pos x="960" y="622"/>
                </a:cxn>
                <a:cxn ang="0">
                  <a:pos x="921" y="595"/>
                </a:cxn>
                <a:cxn ang="0">
                  <a:pos x="884" y="601"/>
                </a:cxn>
                <a:cxn ang="0">
                  <a:pos x="833" y="635"/>
                </a:cxn>
                <a:cxn ang="0">
                  <a:pos x="791" y="662"/>
                </a:cxn>
              </a:cxnLst>
              <a:rect l="0" t="0" r="r" b="b"/>
              <a:pathLst>
                <a:path w="1100" h="671">
                  <a:moveTo>
                    <a:pt x="758" y="671"/>
                  </a:moveTo>
                  <a:cubicBezTo>
                    <a:pt x="752" y="665"/>
                    <a:pt x="716" y="667"/>
                    <a:pt x="711" y="667"/>
                  </a:cubicBezTo>
                  <a:cubicBezTo>
                    <a:pt x="709" y="667"/>
                    <a:pt x="706" y="668"/>
                    <a:pt x="704" y="669"/>
                  </a:cubicBezTo>
                  <a:cubicBezTo>
                    <a:pt x="670" y="667"/>
                    <a:pt x="689" y="654"/>
                    <a:pt x="695" y="638"/>
                  </a:cubicBezTo>
                  <a:cubicBezTo>
                    <a:pt x="695" y="634"/>
                    <a:pt x="695" y="629"/>
                    <a:pt x="695" y="625"/>
                  </a:cubicBezTo>
                  <a:cubicBezTo>
                    <a:pt x="673" y="618"/>
                    <a:pt x="675" y="612"/>
                    <a:pt x="671" y="599"/>
                  </a:cubicBezTo>
                  <a:cubicBezTo>
                    <a:pt x="670" y="598"/>
                    <a:pt x="669" y="596"/>
                    <a:pt x="668" y="595"/>
                  </a:cubicBezTo>
                  <a:cubicBezTo>
                    <a:pt x="656" y="595"/>
                    <a:pt x="647" y="594"/>
                    <a:pt x="639" y="591"/>
                  </a:cubicBezTo>
                  <a:cubicBezTo>
                    <a:pt x="635" y="586"/>
                    <a:pt x="632" y="582"/>
                    <a:pt x="629" y="578"/>
                  </a:cubicBezTo>
                  <a:cubicBezTo>
                    <a:pt x="614" y="574"/>
                    <a:pt x="601" y="566"/>
                    <a:pt x="595" y="562"/>
                  </a:cubicBezTo>
                  <a:cubicBezTo>
                    <a:pt x="593" y="561"/>
                    <a:pt x="590" y="559"/>
                    <a:pt x="588" y="559"/>
                  </a:cubicBezTo>
                  <a:cubicBezTo>
                    <a:pt x="581" y="559"/>
                    <a:pt x="574" y="559"/>
                    <a:pt x="568" y="559"/>
                  </a:cubicBezTo>
                  <a:cubicBezTo>
                    <a:pt x="559" y="564"/>
                    <a:pt x="554" y="574"/>
                    <a:pt x="543" y="578"/>
                  </a:cubicBezTo>
                  <a:cubicBezTo>
                    <a:pt x="540" y="580"/>
                    <a:pt x="537" y="582"/>
                    <a:pt x="535" y="585"/>
                  </a:cubicBezTo>
                  <a:cubicBezTo>
                    <a:pt x="533" y="588"/>
                    <a:pt x="532" y="591"/>
                    <a:pt x="531" y="594"/>
                  </a:cubicBezTo>
                  <a:cubicBezTo>
                    <a:pt x="529" y="601"/>
                    <a:pt x="528" y="608"/>
                    <a:pt x="527" y="616"/>
                  </a:cubicBezTo>
                  <a:cubicBezTo>
                    <a:pt x="499" y="612"/>
                    <a:pt x="507" y="588"/>
                    <a:pt x="515" y="573"/>
                  </a:cubicBezTo>
                  <a:cubicBezTo>
                    <a:pt x="515" y="570"/>
                    <a:pt x="515" y="567"/>
                    <a:pt x="515" y="564"/>
                  </a:cubicBezTo>
                  <a:cubicBezTo>
                    <a:pt x="503" y="555"/>
                    <a:pt x="503" y="558"/>
                    <a:pt x="495" y="557"/>
                  </a:cubicBezTo>
                  <a:cubicBezTo>
                    <a:pt x="471" y="562"/>
                    <a:pt x="460" y="563"/>
                    <a:pt x="445" y="572"/>
                  </a:cubicBezTo>
                  <a:cubicBezTo>
                    <a:pt x="428" y="572"/>
                    <a:pt x="419" y="560"/>
                    <a:pt x="415" y="551"/>
                  </a:cubicBezTo>
                  <a:cubicBezTo>
                    <a:pt x="412" y="548"/>
                    <a:pt x="409" y="545"/>
                    <a:pt x="406" y="543"/>
                  </a:cubicBezTo>
                  <a:cubicBezTo>
                    <a:pt x="391" y="543"/>
                    <a:pt x="376" y="543"/>
                    <a:pt x="362" y="543"/>
                  </a:cubicBezTo>
                  <a:cubicBezTo>
                    <a:pt x="349" y="535"/>
                    <a:pt x="348" y="519"/>
                    <a:pt x="343" y="510"/>
                  </a:cubicBezTo>
                  <a:cubicBezTo>
                    <a:pt x="333" y="508"/>
                    <a:pt x="333" y="508"/>
                    <a:pt x="329" y="502"/>
                  </a:cubicBezTo>
                  <a:cubicBezTo>
                    <a:pt x="325" y="499"/>
                    <a:pt x="321" y="496"/>
                    <a:pt x="317" y="493"/>
                  </a:cubicBezTo>
                  <a:cubicBezTo>
                    <a:pt x="309" y="490"/>
                    <a:pt x="302" y="487"/>
                    <a:pt x="294" y="485"/>
                  </a:cubicBezTo>
                  <a:cubicBezTo>
                    <a:pt x="271" y="465"/>
                    <a:pt x="277" y="462"/>
                    <a:pt x="274" y="440"/>
                  </a:cubicBezTo>
                  <a:cubicBezTo>
                    <a:pt x="272" y="437"/>
                    <a:pt x="270" y="433"/>
                    <a:pt x="269" y="430"/>
                  </a:cubicBezTo>
                  <a:cubicBezTo>
                    <a:pt x="260" y="430"/>
                    <a:pt x="251" y="430"/>
                    <a:pt x="243" y="430"/>
                  </a:cubicBezTo>
                  <a:cubicBezTo>
                    <a:pt x="226" y="424"/>
                    <a:pt x="227" y="419"/>
                    <a:pt x="224" y="409"/>
                  </a:cubicBezTo>
                  <a:cubicBezTo>
                    <a:pt x="217" y="399"/>
                    <a:pt x="211" y="396"/>
                    <a:pt x="207" y="394"/>
                  </a:cubicBezTo>
                  <a:cubicBezTo>
                    <a:pt x="199" y="387"/>
                    <a:pt x="191" y="381"/>
                    <a:pt x="184" y="374"/>
                  </a:cubicBezTo>
                  <a:cubicBezTo>
                    <a:pt x="178" y="364"/>
                    <a:pt x="171" y="353"/>
                    <a:pt x="165" y="343"/>
                  </a:cubicBezTo>
                  <a:cubicBezTo>
                    <a:pt x="152" y="343"/>
                    <a:pt x="149" y="343"/>
                    <a:pt x="142" y="346"/>
                  </a:cubicBezTo>
                  <a:cubicBezTo>
                    <a:pt x="137" y="348"/>
                    <a:pt x="132" y="351"/>
                    <a:pt x="128" y="354"/>
                  </a:cubicBezTo>
                  <a:cubicBezTo>
                    <a:pt x="121" y="354"/>
                    <a:pt x="114" y="354"/>
                    <a:pt x="108" y="354"/>
                  </a:cubicBezTo>
                  <a:cubicBezTo>
                    <a:pt x="89" y="341"/>
                    <a:pt x="88" y="324"/>
                    <a:pt x="85" y="311"/>
                  </a:cubicBezTo>
                  <a:cubicBezTo>
                    <a:pt x="79" y="302"/>
                    <a:pt x="74" y="293"/>
                    <a:pt x="69" y="284"/>
                  </a:cubicBezTo>
                  <a:cubicBezTo>
                    <a:pt x="51" y="266"/>
                    <a:pt x="29" y="261"/>
                    <a:pt x="12" y="255"/>
                  </a:cubicBezTo>
                  <a:cubicBezTo>
                    <a:pt x="0" y="246"/>
                    <a:pt x="7" y="238"/>
                    <a:pt x="10" y="232"/>
                  </a:cubicBezTo>
                  <a:cubicBezTo>
                    <a:pt x="15" y="229"/>
                    <a:pt x="18" y="221"/>
                    <a:pt x="19" y="219"/>
                  </a:cubicBezTo>
                  <a:cubicBezTo>
                    <a:pt x="19" y="205"/>
                    <a:pt x="19" y="191"/>
                    <a:pt x="20" y="178"/>
                  </a:cubicBezTo>
                  <a:cubicBezTo>
                    <a:pt x="13" y="160"/>
                    <a:pt x="8" y="158"/>
                    <a:pt x="26" y="158"/>
                  </a:cubicBezTo>
                  <a:cubicBezTo>
                    <a:pt x="28" y="159"/>
                    <a:pt x="30" y="161"/>
                    <a:pt x="32" y="163"/>
                  </a:cubicBezTo>
                  <a:cubicBezTo>
                    <a:pt x="35" y="169"/>
                    <a:pt x="46" y="190"/>
                    <a:pt x="59" y="174"/>
                  </a:cubicBezTo>
                  <a:cubicBezTo>
                    <a:pt x="61" y="168"/>
                    <a:pt x="62" y="163"/>
                    <a:pt x="64" y="157"/>
                  </a:cubicBezTo>
                  <a:cubicBezTo>
                    <a:pt x="63" y="145"/>
                    <a:pt x="62" y="133"/>
                    <a:pt x="61" y="122"/>
                  </a:cubicBezTo>
                  <a:cubicBezTo>
                    <a:pt x="58" y="112"/>
                    <a:pt x="54" y="103"/>
                    <a:pt x="51" y="94"/>
                  </a:cubicBezTo>
                  <a:cubicBezTo>
                    <a:pt x="46" y="74"/>
                    <a:pt x="48" y="66"/>
                    <a:pt x="61" y="56"/>
                  </a:cubicBezTo>
                  <a:cubicBezTo>
                    <a:pt x="62" y="53"/>
                    <a:pt x="64" y="50"/>
                    <a:pt x="66" y="47"/>
                  </a:cubicBezTo>
                  <a:cubicBezTo>
                    <a:pt x="74" y="50"/>
                    <a:pt x="81" y="53"/>
                    <a:pt x="88" y="56"/>
                  </a:cubicBezTo>
                  <a:cubicBezTo>
                    <a:pt x="95" y="56"/>
                    <a:pt x="101" y="56"/>
                    <a:pt x="108" y="56"/>
                  </a:cubicBezTo>
                  <a:cubicBezTo>
                    <a:pt x="114" y="51"/>
                    <a:pt x="120" y="48"/>
                    <a:pt x="127" y="41"/>
                  </a:cubicBezTo>
                  <a:cubicBezTo>
                    <a:pt x="134" y="21"/>
                    <a:pt x="141" y="11"/>
                    <a:pt x="160" y="1"/>
                  </a:cubicBezTo>
                  <a:cubicBezTo>
                    <a:pt x="165" y="1"/>
                    <a:pt x="165" y="0"/>
                    <a:pt x="177" y="4"/>
                  </a:cubicBezTo>
                  <a:cubicBezTo>
                    <a:pt x="185" y="9"/>
                    <a:pt x="194" y="14"/>
                    <a:pt x="203" y="20"/>
                  </a:cubicBezTo>
                  <a:cubicBezTo>
                    <a:pt x="203" y="36"/>
                    <a:pt x="220" y="28"/>
                    <a:pt x="231" y="24"/>
                  </a:cubicBezTo>
                  <a:cubicBezTo>
                    <a:pt x="238" y="23"/>
                    <a:pt x="245" y="22"/>
                    <a:pt x="252" y="21"/>
                  </a:cubicBezTo>
                  <a:cubicBezTo>
                    <a:pt x="266" y="7"/>
                    <a:pt x="264" y="0"/>
                    <a:pt x="284" y="13"/>
                  </a:cubicBezTo>
                  <a:cubicBezTo>
                    <a:pt x="284" y="30"/>
                    <a:pt x="284" y="28"/>
                    <a:pt x="302" y="39"/>
                  </a:cubicBezTo>
                  <a:cubicBezTo>
                    <a:pt x="309" y="41"/>
                    <a:pt x="315" y="44"/>
                    <a:pt x="322" y="47"/>
                  </a:cubicBezTo>
                  <a:cubicBezTo>
                    <a:pt x="327" y="47"/>
                    <a:pt x="333" y="47"/>
                    <a:pt x="339" y="47"/>
                  </a:cubicBezTo>
                  <a:cubicBezTo>
                    <a:pt x="349" y="43"/>
                    <a:pt x="360" y="38"/>
                    <a:pt x="375" y="37"/>
                  </a:cubicBezTo>
                  <a:cubicBezTo>
                    <a:pt x="395" y="30"/>
                    <a:pt x="394" y="27"/>
                    <a:pt x="418" y="38"/>
                  </a:cubicBezTo>
                  <a:cubicBezTo>
                    <a:pt x="425" y="38"/>
                    <a:pt x="433" y="38"/>
                    <a:pt x="441" y="39"/>
                  </a:cubicBezTo>
                  <a:cubicBezTo>
                    <a:pt x="449" y="33"/>
                    <a:pt x="447" y="28"/>
                    <a:pt x="457" y="25"/>
                  </a:cubicBezTo>
                  <a:cubicBezTo>
                    <a:pt x="474" y="11"/>
                    <a:pt x="482" y="4"/>
                    <a:pt x="510" y="18"/>
                  </a:cubicBezTo>
                  <a:cubicBezTo>
                    <a:pt x="528" y="18"/>
                    <a:pt x="554" y="14"/>
                    <a:pt x="577" y="14"/>
                  </a:cubicBezTo>
                  <a:cubicBezTo>
                    <a:pt x="582" y="16"/>
                    <a:pt x="587" y="19"/>
                    <a:pt x="593" y="22"/>
                  </a:cubicBezTo>
                  <a:cubicBezTo>
                    <a:pt x="597" y="26"/>
                    <a:pt x="603" y="34"/>
                    <a:pt x="615" y="37"/>
                  </a:cubicBezTo>
                  <a:cubicBezTo>
                    <a:pt x="615" y="41"/>
                    <a:pt x="615" y="46"/>
                    <a:pt x="616" y="51"/>
                  </a:cubicBezTo>
                  <a:cubicBezTo>
                    <a:pt x="620" y="58"/>
                    <a:pt x="634" y="69"/>
                    <a:pt x="629" y="86"/>
                  </a:cubicBezTo>
                  <a:cubicBezTo>
                    <a:pt x="625" y="91"/>
                    <a:pt x="622" y="97"/>
                    <a:pt x="619" y="103"/>
                  </a:cubicBezTo>
                  <a:cubicBezTo>
                    <a:pt x="619" y="110"/>
                    <a:pt x="619" y="117"/>
                    <a:pt x="619" y="124"/>
                  </a:cubicBezTo>
                  <a:cubicBezTo>
                    <a:pt x="623" y="161"/>
                    <a:pt x="615" y="199"/>
                    <a:pt x="648" y="232"/>
                  </a:cubicBezTo>
                  <a:cubicBezTo>
                    <a:pt x="653" y="235"/>
                    <a:pt x="665" y="243"/>
                    <a:pt x="675" y="247"/>
                  </a:cubicBezTo>
                  <a:cubicBezTo>
                    <a:pt x="683" y="248"/>
                    <a:pt x="691" y="249"/>
                    <a:pt x="699" y="251"/>
                  </a:cubicBezTo>
                  <a:cubicBezTo>
                    <a:pt x="711" y="274"/>
                    <a:pt x="729" y="282"/>
                    <a:pt x="760" y="287"/>
                  </a:cubicBezTo>
                  <a:cubicBezTo>
                    <a:pt x="772" y="296"/>
                    <a:pt x="781" y="306"/>
                    <a:pt x="802" y="308"/>
                  </a:cubicBezTo>
                  <a:cubicBezTo>
                    <a:pt x="822" y="308"/>
                    <a:pt x="843" y="307"/>
                    <a:pt x="863" y="307"/>
                  </a:cubicBezTo>
                  <a:cubicBezTo>
                    <a:pt x="867" y="308"/>
                    <a:pt x="871" y="310"/>
                    <a:pt x="876" y="312"/>
                  </a:cubicBezTo>
                  <a:cubicBezTo>
                    <a:pt x="882" y="315"/>
                    <a:pt x="888" y="320"/>
                    <a:pt x="895" y="324"/>
                  </a:cubicBezTo>
                  <a:cubicBezTo>
                    <a:pt x="899" y="332"/>
                    <a:pt x="903" y="341"/>
                    <a:pt x="907" y="350"/>
                  </a:cubicBezTo>
                  <a:cubicBezTo>
                    <a:pt x="911" y="366"/>
                    <a:pt x="910" y="368"/>
                    <a:pt x="928" y="383"/>
                  </a:cubicBezTo>
                  <a:cubicBezTo>
                    <a:pt x="932" y="383"/>
                    <a:pt x="936" y="383"/>
                    <a:pt x="940" y="384"/>
                  </a:cubicBezTo>
                  <a:cubicBezTo>
                    <a:pt x="942" y="380"/>
                    <a:pt x="944" y="377"/>
                    <a:pt x="947" y="373"/>
                  </a:cubicBezTo>
                  <a:cubicBezTo>
                    <a:pt x="950" y="373"/>
                    <a:pt x="954" y="372"/>
                    <a:pt x="957" y="372"/>
                  </a:cubicBezTo>
                  <a:cubicBezTo>
                    <a:pt x="957" y="378"/>
                    <a:pt x="965" y="383"/>
                    <a:pt x="976" y="383"/>
                  </a:cubicBezTo>
                  <a:cubicBezTo>
                    <a:pt x="982" y="379"/>
                    <a:pt x="989" y="375"/>
                    <a:pt x="996" y="371"/>
                  </a:cubicBezTo>
                  <a:cubicBezTo>
                    <a:pt x="1003" y="361"/>
                    <a:pt x="1010" y="348"/>
                    <a:pt x="1018" y="340"/>
                  </a:cubicBezTo>
                  <a:cubicBezTo>
                    <a:pt x="1019" y="339"/>
                    <a:pt x="1019" y="339"/>
                    <a:pt x="1020" y="339"/>
                  </a:cubicBezTo>
                  <a:cubicBezTo>
                    <a:pt x="1023" y="343"/>
                    <a:pt x="1032" y="349"/>
                    <a:pt x="1042" y="355"/>
                  </a:cubicBezTo>
                  <a:cubicBezTo>
                    <a:pt x="1046" y="370"/>
                    <a:pt x="1059" y="388"/>
                    <a:pt x="1075" y="406"/>
                  </a:cubicBezTo>
                  <a:cubicBezTo>
                    <a:pt x="1079" y="418"/>
                    <a:pt x="1082" y="430"/>
                    <a:pt x="1086" y="443"/>
                  </a:cubicBezTo>
                  <a:cubicBezTo>
                    <a:pt x="1092" y="450"/>
                    <a:pt x="1100" y="461"/>
                    <a:pt x="1100" y="478"/>
                  </a:cubicBezTo>
                  <a:cubicBezTo>
                    <a:pt x="1087" y="493"/>
                    <a:pt x="1086" y="492"/>
                    <a:pt x="1087" y="515"/>
                  </a:cubicBezTo>
                  <a:cubicBezTo>
                    <a:pt x="1090" y="525"/>
                    <a:pt x="1099" y="539"/>
                    <a:pt x="1093" y="554"/>
                  </a:cubicBezTo>
                  <a:cubicBezTo>
                    <a:pt x="1093" y="558"/>
                    <a:pt x="1093" y="562"/>
                    <a:pt x="1093" y="566"/>
                  </a:cubicBezTo>
                  <a:cubicBezTo>
                    <a:pt x="1092" y="566"/>
                    <a:pt x="1091" y="566"/>
                    <a:pt x="1090" y="566"/>
                  </a:cubicBezTo>
                  <a:cubicBezTo>
                    <a:pt x="1090" y="561"/>
                    <a:pt x="1081" y="558"/>
                    <a:pt x="1079" y="555"/>
                  </a:cubicBezTo>
                  <a:cubicBezTo>
                    <a:pt x="1064" y="555"/>
                    <a:pt x="1062" y="560"/>
                    <a:pt x="1056" y="565"/>
                  </a:cubicBezTo>
                  <a:cubicBezTo>
                    <a:pt x="1056" y="574"/>
                    <a:pt x="1059" y="584"/>
                    <a:pt x="1062" y="599"/>
                  </a:cubicBezTo>
                  <a:cubicBezTo>
                    <a:pt x="1061" y="604"/>
                    <a:pt x="1061" y="608"/>
                    <a:pt x="1060" y="613"/>
                  </a:cubicBezTo>
                  <a:cubicBezTo>
                    <a:pt x="1058" y="614"/>
                    <a:pt x="1055" y="615"/>
                    <a:pt x="1053" y="616"/>
                  </a:cubicBezTo>
                  <a:cubicBezTo>
                    <a:pt x="1048" y="616"/>
                    <a:pt x="1043" y="616"/>
                    <a:pt x="1039" y="616"/>
                  </a:cubicBezTo>
                  <a:cubicBezTo>
                    <a:pt x="1033" y="608"/>
                    <a:pt x="1027" y="600"/>
                    <a:pt x="1021" y="592"/>
                  </a:cubicBezTo>
                  <a:cubicBezTo>
                    <a:pt x="998" y="581"/>
                    <a:pt x="985" y="599"/>
                    <a:pt x="989" y="622"/>
                  </a:cubicBezTo>
                  <a:cubicBezTo>
                    <a:pt x="987" y="625"/>
                    <a:pt x="986" y="628"/>
                    <a:pt x="985" y="631"/>
                  </a:cubicBezTo>
                  <a:cubicBezTo>
                    <a:pt x="975" y="631"/>
                    <a:pt x="962" y="625"/>
                    <a:pt x="960" y="622"/>
                  </a:cubicBezTo>
                  <a:cubicBezTo>
                    <a:pt x="959" y="618"/>
                    <a:pt x="957" y="614"/>
                    <a:pt x="957" y="609"/>
                  </a:cubicBezTo>
                  <a:cubicBezTo>
                    <a:pt x="943" y="602"/>
                    <a:pt x="930" y="599"/>
                    <a:pt x="921" y="595"/>
                  </a:cubicBezTo>
                  <a:cubicBezTo>
                    <a:pt x="919" y="592"/>
                    <a:pt x="917" y="589"/>
                    <a:pt x="915" y="587"/>
                  </a:cubicBezTo>
                  <a:cubicBezTo>
                    <a:pt x="896" y="587"/>
                    <a:pt x="897" y="591"/>
                    <a:pt x="884" y="601"/>
                  </a:cubicBezTo>
                  <a:cubicBezTo>
                    <a:pt x="876" y="605"/>
                    <a:pt x="867" y="610"/>
                    <a:pt x="860" y="615"/>
                  </a:cubicBezTo>
                  <a:cubicBezTo>
                    <a:pt x="841" y="618"/>
                    <a:pt x="844" y="621"/>
                    <a:pt x="833" y="635"/>
                  </a:cubicBezTo>
                  <a:cubicBezTo>
                    <a:pt x="808" y="638"/>
                    <a:pt x="811" y="638"/>
                    <a:pt x="797" y="657"/>
                  </a:cubicBezTo>
                  <a:cubicBezTo>
                    <a:pt x="795" y="658"/>
                    <a:pt x="793" y="660"/>
                    <a:pt x="791" y="662"/>
                  </a:cubicBezTo>
                  <a:cubicBezTo>
                    <a:pt x="776" y="664"/>
                    <a:pt x="769" y="667"/>
                    <a:pt x="758" y="671"/>
                  </a:cubicBezTo>
                  <a:close/>
                </a:path>
              </a:pathLst>
            </a:custGeom>
            <a:solidFill>
              <a:srgbClr val="D5D5D5"/>
            </a:solidFill>
            <a:ln w="9525" algn="ctr">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2" name="Freeform 58"/>
            <p:cNvSpPr/>
            <p:nvPr/>
          </p:nvSpPr>
          <p:spPr bwMode="auto">
            <a:xfrm rot="252837">
              <a:off x="4987925" y="4217988"/>
              <a:ext cx="422275" cy="427037"/>
            </a:xfrm>
            <a:custGeom>
              <a:avLst/>
              <a:gdLst/>
              <a:ahLst/>
              <a:cxnLst>
                <a:cxn ang="0">
                  <a:pos x="89" y="208"/>
                </a:cxn>
                <a:cxn ang="0">
                  <a:pos x="61" y="197"/>
                </a:cxn>
                <a:cxn ang="0">
                  <a:pos x="49" y="160"/>
                </a:cxn>
                <a:cxn ang="0">
                  <a:pos x="38" y="151"/>
                </a:cxn>
                <a:cxn ang="0">
                  <a:pos x="27" y="150"/>
                </a:cxn>
                <a:cxn ang="0">
                  <a:pos x="0" y="97"/>
                </a:cxn>
                <a:cxn ang="0">
                  <a:pos x="15" y="75"/>
                </a:cxn>
                <a:cxn ang="0">
                  <a:pos x="33" y="56"/>
                </a:cxn>
                <a:cxn ang="0">
                  <a:pos x="40" y="45"/>
                </a:cxn>
                <a:cxn ang="0">
                  <a:pos x="41" y="16"/>
                </a:cxn>
                <a:cxn ang="0">
                  <a:pos x="64" y="12"/>
                </a:cxn>
                <a:cxn ang="0">
                  <a:pos x="79" y="12"/>
                </a:cxn>
                <a:cxn ang="0">
                  <a:pos x="115" y="10"/>
                </a:cxn>
                <a:cxn ang="0">
                  <a:pos x="143" y="19"/>
                </a:cxn>
                <a:cxn ang="0">
                  <a:pos x="169" y="11"/>
                </a:cxn>
                <a:cxn ang="0">
                  <a:pos x="183" y="17"/>
                </a:cxn>
                <a:cxn ang="0">
                  <a:pos x="205" y="19"/>
                </a:cxn>
                <a:cxn ang="0">
                  <a:pos x="180" y="53"/>
                </a:cxn>
                <a:cxn ang="0">
                  <a:pos x="197" y="53"/>
                </a:cxn>
                <a:cxn ang="0">
                  <a:pos x="204" y="46"/>
                </a:cxn>
                <a:cxn ang="0">
                  <a:pos x="202" y="61"/>
                </a:cxn>
                <a:cxn ang="0">
                  <a:pos x="181" y="69"/>
                </a:cxn>
                <a:cxn ang="0">
                  <a:pos x="182" y="80"/>
                </a:cxn>
                <a:cxn ang="0">
                  <a:pos x="193" y="86"/>
                </a:cxn>
                <a:cxn ang="0">
                  <a:pos x="191" y="116"/>
                </a:cxn>
                <a:cxn ang="0">
                  <a:pos x="190" y="139"/>
                </a:cxn>
                <a:cxn ang="0">
                  <a:pos x="185" y="141"/>
                </a:cxn>
                <a:cxn ang="0">
                  <a:pos x="185" y="134"/>
                </a:cxn>
                <a:cxn ang="0">
                  <a:pos x="152" y="157"/>
                </a:cxn>
                <a:cxn ang="0">
                  <a:pos x="148" y="167"/>
                </a:cxn>
                <a:cxn ang="0">
                  <a:pos x="147" y="200"/>
                </a:cxn>
                <a:cxn ang="0">
                  <a:pos x="141" y="198"/>
                </a:cxn>
                <a:cxn ang="0">
                  <a:pos x="89" y="208"/>
                </a:cxn>
              </a:cxnLst>
              <a:rect l="0" t="0" r="r" b="b"/>
              <a:pathLst>
                <a:path w="206" h="208">
                  <a:moveTo>
                    <a:pt x="89" y="208"/>
                  </a:moveTo>
                  <a:cubicBezTo>
                    <a:pt x="72" y="205"/>
                    <a:pt x="67" y="203"/>
                    <a:pt x="61" y="197"/>
                  </a:cubicBezTo>
                  <a:cubicBezTo>
                    <a:pt x="57" y="184"/>
                    <a:pt x="53" y="172"/>
                    <a:pt x="49" y="160"/>
                  </a:cubicBezTo>
                  <a:cubicBezTo>
                    <a:pt x="45" y="157"/>
                    <a:pt x="41" y="154"/>
                    <a:pt x="38" y="151"/>
                  </a:cubicBezTo>
                  <a:cubicBezTo>
                    <a:pt x="34" y="150"/>
                    <a:pt x="31" y="150"/>
                    <a:pt x="27" y="150"/>
                  </a:cubicBezTo>
                  <a:cubicBezTo>
                    <a:pt x="33" y="128"/>
                    <a:pt x="9" y="106"/>
                    <a:pt x="0" y="97"/>
                  </a:cubicBezTo>
                  <a:cubicBezTo>
                    <a:pt x="0" y="88"/>
                    <a:pt x="11" y="81"/>
                    <a:pt x="15" y="75"/>
                  </a:cubicBezTo>
                  <a:cubicBezTo>
                    <a:pt x="15" y="63"/>
                    <a:pt x="26" y="62"/>
                    <a:pt x="33" y="56"/>
                  </a:cubicBezTo>
                  <a:cubicBezTo>
                    <a:pt x="36" y="52"/>
                    <a:pt x="38" y="48"/>
                    <a:pt x="40" y="45"/>
                  </a:cubicBezTo>
                  <a:cubicBezTo>
                    <a:pt x="40" y="36"/>
                    <a:pt x="39" y="18"/>
                    <a:pt x="41" y="16"/>
                  </a:cubicBezTo>
                  <a:cubicBezTo>
                    <a:pt x="47" y="15"/>
                    <a:pt x="53" y="5"/>
                    <a:pt x="64" y="12"/>
                  </a:cubicBezTo>
                  <a:cubicBezTo>
                    <a:pt x="69" y="12"/>
                    <a:pt x="74" y="12"/>
                    <a:pt x="79" y="12"/>
                  </a:cubicBezTo>
                  <a:cubicBezTo>
                    <a:pt x="86" y="3"/>
                    <a:pt x="102" y="7"/>
                    <a:pt x="115" y="10"/>
                  </a:cubicBezTo>
                  <a:cubicBezTo>
                    <a:pt x="119" y="16"/>
                    <a:pt x="131" y="25"/>
                    <a:pt x="143" y="19"/>
                  </a:cubicBezTo>
                  <a:cubicBezTo>
                    <a:pt x="150" y="14"/>
                    <a:pt x="158" y="0"/>
                    <a:pt x="169" y="11"/>
                  </a:cubicBezTo>
                  <a:cubicBezTo>
                    <a:pt x="173" y="13"/>
                    <a:pt x="178" y="15"/>
                    <a:pt x="183" y="17"/>
                  </a:cubicBezTo>
                  <a:cubicBezTo>
                    <a:pt x="190" y="18"/>
                    <a:pt x="198" y="18"/>
                    <a:pt x="205" y="19"/>
                  </a:cubicBezTo>
                  <a:cubicBezTo>
                    <a:pt x="203" y="25"/>
                    <a:pt x="168" y="42"/>
                    <a:pt x="180" y="53"/>
                  </a:cubicBezTo>
                  <a:cubicBezTo>
                    <a:pt x="185" y="53"/>
                    <a:pt x="191" y="53"/>
                    <a:pt x="197" y="53"/>
                  </a:cubicBezTo>
                  <a:cubicBezTo>
                    <a:pt x="199" y="51"/>
                    <a:pt x="202" y="49"/>
                    <a:pt x="204" y="46"/>
                  </a:cubicBezTo>
                  <a:cubicBezTo>
                    <a:pt x="205" y="49"/>
                    <a:pt x="206" y="56"/>
                    <a:pt x="202" y="61"/>
                  </a:cubicBezTo>
                  <a:cubicBezTo>
                    <a:pt x="191" y="63"/>
                    <a:pt x="187" y="65"/>
                    <a:pt x="181" y="69"/>
                  </a:cubicBezTo>
                  <a:cubicBezTo>
                    <a:pt x="181" y="73"/>
                    <a:pt x="182" y="76"/>
                    <a:pt x="182" y="80"/>
                  </a:cubicBezTo>
                  <a:cubicBezTo>
                    <a:pt x="186" y="82"/>
                    <a:pt x="189" y="84"/>
                    <a:pt x="193" y="86"/>
                  </a:cubicBezTo>
                  <a:cubicBezTo>
                    <a:pt x="191" y="95"/>
                    <a:pt x="191" y="102"/>
                    <a:pt x="191" y="116"/>
                  </a:cubicBezTo>
                  <a:cubicBezTo>
                    <a:pt x="192" y="120"/>
                    <a:pt x="196" y="134"/>
                    <a:pt x="190" y="139"/>
                  </a:cubicBezTo>
                  <a:cubicBezTo>
                    <a:pt x="188" y="139"/>
                    <a:pt x="186" y="140"/>
                    <a:pt x="185" y="141"/>
                  </a:cubicBezTo>
                  <a:cubicBezTo>
                    <a:pt x="185" y="138"/>
                    <a:pt x="185" y="136"/>
                    <a:pt x="185" y="134"/>
                  </a:cubicBezTo>
                  <a:cubicBezTo>
                    <a:pt x="174" y="127"/>
                    <a:pt x="158" y="152"/>
                    <a:pt x="152" y="157"/>
                  </a:cubicBezTo>
                  <a:cubicBezTo>
                    <a:pt x="150" y="160"/>
                    <a:pt x="149" y="164"/>
                    <a:pt x="148" y="167"/>
                  </a:cubicBezTo>
                  <a:cubicBezTo>
                    <a:pt x="148" y="178"/>
                    <a:pt x="147" y="188"/>
                    <a:pt x="147" y="200"/>
                  </a:cubicBezTo>
                  <a:cubicBezTo>
                    <a:pt x="145" y="199"/>
                    <a:pt x="143" y="198"/>
                    <a:pt x="141" y="198"/>
                  </a:cubicBezTo>
                  <a:cubicBezTo>
                    <a:pt x="117" y="198"/>
                    <a:pt x="108" y="201"/>
                    <a:pt x="89" y="208"/>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3" name="Freeform 59"/>
            <p:cNvSpPr/>
            <p:nvPr/>
          </p:nvSpPr>
          <p:spPr bwMode="auto">
            <a:xfrm rot="252837">
              <a:off x="3556000" y="3963988"/>
              <a:ext cx="531813" cy="565150"/>
            </a:xfrm>
            <a:custGeom>
              <a:avLst/>
              <a:gdLst/>
              <a:ahLst/>
              <a:cxnLst>
                <a:cxn ang="0">
                  <a:pos x="211" y="274"/>
                </a:cxn>
                <a:cxn ang="0">
                  <a:pos x="169" y="235"/>
                </a:cxn>
                <a:cxn ang="0">
                  <a:pos x="122" y="198"/>
                </a:cxn>
                <a:cxn ang="0">
                  <a:pos x="112" y="215"/>
                </a:cxn>
                <a:cxn ang="0">
                  <a:pos x="86" y="242"/>
                </a:cxn>
                <a:cxn ang="0">
                  <a:pos x="86" y="244"/>
                </a:cxn>
                <a:cxn ang="0">
                  <a:pos x="80" y="247"/>
                </a:cxn>
                <a:cxn ang="0">
                  <a:pos x="67" y="252"/>
                </a:cxn>
                <a:cxn ang="0">
                  <a:pos x="23" y="238"/>
                </a:cxn>
                <a:cxn ang="0">
                  <a:pos x="24" y="207"/>
                </a:cxn>
                <a:cxn ang="0">
                  <a:pos x="3" y="179"/>
                </a:cxn>
                <a:cxn ang="0">
                  <a:pos x="7" y="132"/>
                </a:cxn>
                <a:cxn ang="0">
                  <a:pos x="1" y="99"/>
                </a:cxn>
                <a:cxn ang="0">
                  <a:pos x="3" y="98"/>
                </a:cxn>
                <a:cxn ang="0">
                  <a:pos x="23" y="110"/>
                </a:cxn>
                <a:cxn ang="0">
                  <a:pos x="37" y="124"/>
                </a:cxn>
                <a:cxn ang="0">
                  <a:pos x="100" y="70"/>
                </a:cxn>
                <a:cxn ang="0">
                  <a:pos x="119" y="39"/>
                </a:cxn>
                <a:cxn ang="0">
                  <a:pos x="119" y="13"/>
                </a:cxn>
                <a:cxn ang="0">
                  <a:pos x="131" y="6"/>
                </a:cxn>
                <a:cxn ang="0">
                  <a:pos x="179" y="14"/>
                </a:cxn>
                <a:cxn ang="0">
                  <a:pos x="199" y="32"/>
                </a:cxn>
                <a:cxn ang="0">
                  <a:pos x="222" y="38"/>
                </a:cxn>
                <a:cxn ang="0">
                  <a:pos x="260" y="79"/>
                </a:cxn>
                <a:cxn ang="0">
                  <a:pos x="226" y="106"/>
                </a:cxn>
                <a:cxn ang="0">
                  <a:pos x="159" y="115"/>
                </a:cxn>
                <a:cxn ang="0">
                  <a:pos x="160" y="127"/>
                </a:cxn>
                <a:cxn ang="0">
                  <a:pos x="172" y="171"/>
                </a:cxn>
                <a:cxn ang="0">
                  <a:pos x="188" y="187"/>
                </a:cxn>
                <a:cxn ang="0">
                  <a:pos x="204" y="208"/>
                </a:cxn>
                <a:cxn ang="0">
                  <a:pos x="210" y="229"/>
                </a:cxn>
                <a:cxn ang="0">
                  <a:pos x="211" y="274"/>
                </a:cxn>
              </a:cxnLst>
              <a:rect l="0" t="0" r="r" b="b"/>
              <a:pathLst>
                <a:path w="260" h="274">
                  <a:moveTo>
                    <a:pt x="211" y="274"/>
                  </a:moveTo>
                  <a:cubicBezTo>
                    <a:pt x="189" y="264"/>
                    <a:pt x="179" y="248"/>
                    <a:pt x="169" y="235"/>
                  </a:cubicBezTo>
                  <a:cubicBezTo>
                    <a:pt x="166" y="207"/>
                    <a:pt x="146" y="184"/>
                    <a:pt x="122" y="198"/>
                  </a:cubicBezTo>
                  <a:cubicBezTo>
                    <a:pt x="115" y="205"/>
                    <a:pt x="113" y="204"/>
                    <a:pt x="112" y="215"/>
                  </a:cubicBezTo>
                  <a:cubicBezTo>
                    <a:pt x="106" y="225"/>
                    <a:pt x="96" y="234"/>
                    <a:pt x="86" y="242"/>
                  </a:cubicBezTo>
                  <a:cubicBezTo>
                    <a:pt x="86" y="243"/>
                    <a:pt x="86" y="243"/>
                    <a:pt x="86" y="244"/>
                  </a:cubicBezTo>
                  <a:cubicBezTo>
                    <a:pt x="82" y="244"/>
                    <a:pt x="81" y="246"/>
                    <a:pt x="80" y="247"/>
                  </a:cubicBezTo>
                  <a:cubicBezTo>
                    <a:pt x="76" y="248"/>
                    <a:pt x="71" y="250"/>
                    <a:pt x="67" y="252"/>
                  </a:cubicBezTo>
                  <a:cubicBezTo>
                    <a:pt x="49" y="252"/>
                    <a:pt x="32" y="247"/>
                    <a:pt x="23" y="238"/>
                  </a:cubicBezTo>
                  <a:cubicBezTo>
                    <a:pt x="30" y="225"/>
                    <a:pt x="28" y="216"/>
                    <a:pt x="24" y="207"/>
                  </a:cubicBezTo>
                  <a:cubicBezTo>
                    <a:pt x="15" y="197"/>
                    <a:pt x="4" y="188"/>
                    <a:pt x="3" y="179"/>
                  </a:cubicBezTo>
                  <a:cubicBezTo>
                    <a:pt x="4" y="164"/>
                    <a:pt x="5" y="148"/>
                    <a:pt x="7" y="132"/>
                  </a:cubicBezTo>
                  <a:cubicBezTo>
                    <a:pt x="3" y="117"/>
                    <a:pt x="0" y="109"/>
                    <a:pt x="1" y="99"/>
                  </a:cubicBezTo>
                  <a:cubicBezTo>
                    <a:pt x="2" y="98"/>
                    <a:pt x="3" y="98"/>
                    <a:pt x="3" y="98"/>
                  </a:cubicBezTo>
                  <a:cubicBezTo>
                    <a:pt x="10" y="102"/>
                    <a:pt x="16" y="106"/>
                    <a:pt x="23" y="110"/>
                  </a:cubicBezTo>
                  <a:cubicBezTo>
                    <a:pt x="27" y="114"/>
                    <a:pt x="32" y="119"/>
                    <a:pt x="37" y="124"/>
                  </a:cubicBezTo>
                  <a:cubicBezTo>
                    <a:pt x="67" y="136"/>
                    <a:pt x="91" y="94"/>
                    <a:pt x="100" y="70"/>
                  </a:cubicBezTo>
                  <a:cubicBezTo>
                    <a:pt x="106" y="59"/>
                    <a:pt x="113" y="49"/>
                    <a:pt x="119" y="39"/>
                  </a:cubicBezTo>
                  <a:cubicBezTo>
                    <a:pt x="119" y="30"/>
                    <a:pt x="119" y="22"/>
                    <a:pt x="119" y="13"/>
                  </a:cubicBezTo>
                  <a:cubicBezTo>
                    <a:pt x="123" y="11"/>
                    <a:pt x="127" y="9"/>
                    <a:pt x="131" y="6"/>
                  </a:cubicBezTo>
                  <a:cubicBezTo>
                    <a:pt x="148" y="5"/>
                    <a:pt x="160" y="0"/>
                    <a:pt x="179" y="14"/>
                  </a:cubicBezTo>
                  <a:cubicBezTo>
                    <a:pt x="186" y="20"/>
                    <a:pt x="192" y="26"/>
                    <a:pt x="199" y="32"/>
                  </a:cubicBezTo>
                  <a:cubicBezTo>
                    <a:pt x="206" y="34"/>
                    <a:pt x="214" y="36"/>
                    <a:pt x="222" y="38"/>
                  </a:cubicBezTo>
                  <a:cubicBezTo>
                    <a:pt x="232" y="43"/>
                    <a:pt x="260" y="60"/>
                    <a:pt x="260" y="79"/>
                  </a:cubicBezTo>
                  <a:cubicBezTo>
                    <a:pt x="247" y="87"/>
                    <a:pt x="237" y="99"/>
                    <a:pt x="226" y="106"/>
                  </a:cubicBezTo>
                  <a:cubicBezTo>
                    <a:pt x="202" y="115"/>
                    <a:pt x="176" y="102"/>
                    <a:pt x="159" y="115"/>
                  </a:cubicBezTo>
                  <a:cubicBezTo>
                    <a:pt x="159" y="119"/>
                    <a:pt x="160" y="123"/>
                    <a:pt x="160" y="127"/>
                  </a:cubicBezTo>
                  <a:cubicBezTo>
                    <a:pt x="169" y="140"/>
                    <a:pt x="147" y="154"/>
                    <a:pt x="172" y="171"/>
                  </a:cubicBezTo>
                  <a:cubicBezTo>
                    <a:pt x="177" y="176"/>
                    <a:pt x="182" y="181"/>
                    <a:pt x="188" y="187"/>
                  </a:cubicBezTo>
                  <a:cubicBezTo>
                    <a:pt x="193" y="194"/>
                    <a:pt x="199" y="201"/>
                    <a:pt x="204" y="208"/>
                  </a:cubicBezTo>
                  <a:cubicBezTo>
                    <a:pt x="206" y="215"/>
                    <a:pt x="208" y="222"/>
                    <a:pt x="210" y="229"/>
                  </a:cubicBezTo>
                  <a:cubicBezTo>
                    <a:pt x="210" y="244"/>
                    <a:pt x="210" y="258"/>
                    <a:pt x="211" y="274"/>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4" name="Freeform 60"/>
            <p:cNvSpPr/>
            <p:nvPr/>
          </p:nvSpPr>
          <p:spPr bwMode="auto">
            <a:xfrm rot="252837">
              <a:off x="3902075" y="3887788"/>
              <a:ext cx="868363" cy="538162"/>
            </a:xfrm>
            <a:custGeom>
              <a:avLst/>
              <a:gdLst/>
              <a:ahLst/>
              <a:cxnLst>
                <a:cxn ang="0">
                  <a:pos x="45" y="262"/>
                </a:cxn>
                <a:cxn ang="0">
                  <a:pos x="3" y="214"/>
                </a:cxn>
                <a:cxn ang="0">
                  <a:pos x="4" y="197"/>
                </a:cxn>
                <a:cxn ang="0">
                  <a:pos x="4" y="185"/>
                </a:cxn>
                <a:cxn ang="0">
                  <a:pos x="0" y="175"/>
                </a:cxn>
                <a:cxn ang="0">
                  <a:pos x="54" y="171"/>
                </a:cxn>
                <a:cxn ang="0">
                  <a:pos x="85" y="149"/>
                </a:cxn>
                <a:cxn ang="0">
                  <a:pos x="100" y="138"/>
                </a:cxn>
                <a:cxn ang="0">
                  <a:pos x="101" y="127"/>
                </a:cxn>
                <a:cxn ang="0">
                  <a:pos x="60" y="88"/>
                </a:cxn>
                <a:cxn ang="0">
                  <a:pos x="57" y="81"/>
                </a:cxn>
                <a:cxn ang="0">
                  <a:pos x="56" y="55"/>
                </a:cxn>
                <a:cxn ang="0">
                  <a:pos x="77" y="38"/>
                </a:cxn>
                <a:cxn ang="0">
                  <a:pos x="75" y="13"/>
                </a:cxn>
                <a:cxn ang="0">
                  <a:pos x="60" y="0"/>
                </a:cxn>
                <a:cxn ang="0">
                  <a:pos x="110" y="0"/>
                </a:cxn>
                <a:cxn ang="0">
                  <a:pos x="131" y="4"/>
                </a:cxn>
                <a:cxn ang="0">
                  <a:pos x="176" y="36"/>
                </a:cxn>
                <a:cxn ang="0">
                  <a:pos x="190" y="42"/>
                </a:cxn>
                <a:cxn ang="0">
                  <a:pos x="256" y="43"/>
                </a:cxn>
                <a:cxn ang="0">
                  <a:pos x="278" y="57"/>
                </a:cxn>
                <a:cxn ang="0">
                  <a:pos x="294" y="77"/>
                </a:cxn>
                <a:cxn ang="0">
                  <a:pos x="325" y="80"/>
                </a:cxn>
                <a:cxn ang="0">
                  <a:pos x="347" y="90"/>
                </a:cxn>
                <a:cxn ang="0">
                  <a:pos x="375" y="96"/>
                </a:cxn>
                <a:cxn ang="0">
                  <a:pos x="384" y="109"/>
                </a:cxn>
                <a:cxn ang="0">
                  <a:pos x="404" y="121"/>
                </a:cxn>
                <a:cxn ang="0">
                  <a:pos x="394" y="141"/>
                </a:cxn>
                <a:cxn ang="0">
                  <a:pos x="410" y="163"/>
                </a:cxn>
                <a:cxn ang="0">
                  <a:pos x="423" y="186"/>
                </a:cxn>
                <a:cxn ang="0">
                  <a:pos x="423" y="188"/>
                </a:cxn>
                <a:cxn ang="0">
                  <a:pos x="360" y="221"/>
                </a:cxn>
                <a:cxn ang="0">
                  <a:pos x="346" y="233"/>
                </a:cxn>
                <a:cxn ang="0">
                  <a:pos x="312" y="249"/>
                </a:cxn>
                <a:cxn ang="0">
                  <a:pos x="305" y="253"/>
                </a:cxn>
                <a:cxn ang="0">
                  <a:pos x="288" y="237"/>
                </a:cxn>
                <a:cxn ang="0">
                  <a:pos x="252" y="214"/>
                </a:cxn>
                <a:cxn ang="0">
                  <a:pos x="231" y="227"/>
                </a:cxn>
                <a:cxn ang="0">
                  <a:pos x="161" y="198"/>
                </a:cxn>
                <a:cxn ang="0">
                  <a:pos x="128" y="190"/>
                </a:cxn>
                <a:cxn ang="0">
                  <a:pos x="114" y="214"/>
                </a:cxn>
                <a:cxn ang="0">
                  <a:pos x="110" y="221"/>
                </a:cxn>
                <a:cxn ang="0">
                  <a:pos x="102" y="220"/>
                </a:cxn>
                <a:cxn ang="0">
                  <a:pos x="54" y="256"/>
                </a:cxn>
                <a:cxn ang="0">
                  <a:pos x="45" y="262"/>
                </a:cxn>
              </a:cxnLst>
              <a:rect l="0" t="0" r="r" b="b"/>
              <a:pathLst>
                <a:path w="423" h="262">
                  <a:moveTo>
                    <a:pt x="45" y="262"/>
                  </a:moveTo>
                  <a:cubicBezTo>
                    <a:pt x="35" y="241"/>
                    <a:pt x="14" y="226"/>
                    <a:pt x="3" y="214"/>
                  </a:cubicBezTo>
                  <a:cubicBezTo>
                    <a:pt x="0" y="204"/>
                    <a:pt x="1" y="202"/>
                    <a:pt x="4" y="197"/>
                  </a:cubicBezTo>
                  <a:cubicBezTo>
                    <a:pt x="4" y="192"/>
                    <a:pt x="4" y="188"/>
                    <a:pt x="4" y="185"/>
                  </a:cubicBezTo>
                  <a:cubicBezTo>
                    <a:pt x="3" y="181"/>
                    <a:pt x="1" y="178"/>
                    <a:pt x="0" y="175"/>
                  </a:cubicBezTo>
                  <a:cubicBezTo>
                    <a:pt x="8" y="168"/>
                    <a:pt x="39" y="171"/>
                    <a:pt x="54" y="171"/>
                  </a:cubicBezTo>
                  <a:cubicBezTo>
                    <a:pt x="66" y="167"/>
                    <a:pt x="76" y="159"/>
                    <a:pt x="85" y="149"/>
                  </a:cubicBezTo>
                  <a:cubicBezTo>
                    <a:pt x="90" y="145"/>
                    <a:pt x="95" y="142"/>
                    <a:pt x="100" y="138"/>
                  </a:cubicBezTo>
                  <a:cubicBezTo>
                    <a:pt x="100" y="134"/>
                    <a:pt x="100" y="131"/>
                    <a:pt x="101" y="127"/>
                  </a:cubicBezTo>
                  <a:cubicBezTo>
                    <a:pt x="89" y="107"/>
                    <a:pt x="74" y="95"/>
                    <a:pt x="60" y="88"/>
                  </a:cubicBezTo>
                  <a:cubicBezTo>
                    <a:pt x="59" y="86"/>
                    <a:pt x="57" y="83"/>
                    <a:pt x="57" y="81"/>
                  </a:cubicBezTo>
                  <a:cubicBezTo>
                    <a:pt x="56" y="72"/>
                    <a:pt x="56" y="63"/>
                    <a:pt x="56" y="55"/>
                  </a:cubicBezTo>
                  <a:cubicBezTo>
                    <a:pt x="63" y="48"/>
                    <a:pt x="66" y="42"/>
                    <a:pt x="77" y="38"/>
                  </a:cubicBezTo>
                  <a:cubicBezTo>
                    <a:pt x="89" y="30"/>
                    <a:pt x="79" y="17"/>
                    <a:pt x="75" y="13"/>
                  </a:cubicBezTo>
                  <a:cubicBezTo>
                    <a:pt x="69" y="8"/>
                    <a:pt x="63" y="6"/>
                    <a:pt x="60" y="0"/>
                  </a:cubicBezTo>
                  <a:cubicBezTo>
                    <a:pt x="77" y="0"/>
                    <a:pt x="93" y="0"/>
                    <a:pt x="110" y="0"/>
                  </a:cubicBezTo>
                  <a:cubicBezTo>
                    <a:pt x="117" y="2"/>
                    <a:pt x="124" y="3"/>
                    <a:pt x="131" y="4"/>
                  </a:cubicBezTo>
                  <a:cubicBezTo>
                    <a:pt x="137" y="16"/>
                    <a:pt x="156" y="31"/>
                    <a:pt x="176" y="36"/>
                  </a:cubicBezTo>
                  <a:cubicBezTo>
                    <a:pt x="181" y="37"/>
                    <a:pt x="185" y="39"/>
                    <a:pt x="190" y="42"/>
                  </a:cubicBezTo>
                  <a:cubicBezTo>
                    <a:pt x="212" y="42"/>
                    <a:pt x="234" y="42"/>
                    <a:pt x="256" y="43"/>
                  </a:cubicBezTo>
                  <a:cubicBezTo>
                    <a:pt x="263" y="48"/>
                    <a:pt x="270" y="52"/>
                    <a:pt x="278" y="57"/>
                  </a:cubicBezTo>
                  <a:cubicBezTo>
                    <a:pt x="279" y="62"/>
                    <a:pt x="284" y="70"/>
                    <a:pt x="294" y="77"/>
                  </a:cubicBezTo>
                  <a:cubicBezTo>
                    <a:pt x="304" y="78"/>
                    <a:pt x="314" y="79"/>
                    <a:pt x="325" y="80"/>
                  </a:cubicBezTo>
                  <a:cubicBezTo>
                    <a:pt x="332" y="83"/>
                    <a:pt x="340" y="86"/>
                    <a:pt x="347" y="90"/>
                  </a:cubicBezTo>
                  <a:cubicBezTo>
                    <a:pt x="350" y="93"/>
                    <a:pt x="364" y="88"/>
                    <a:pt x="375" y="96"/>
                  </a:cubicBezTo>
                  <a:cubicBezTo>
                    <a:pt x="375" y="99"/>
                    <a:pt x="377" y="103"/>
                    <a:pt x="384" y="109"/>
                  </a:cubicBezTo>
                  <a:cubicBezTo>
                    <a:pt x="386" y="109"/>
                    <a:pt x="404" y="111"/>
                    <a:pt x="404" y="121"/>
                  </a:cubicBezTo>
                  <a:cubicBezTo>
                    <a:pt x="397" y="129"/>
                    <a:pt x="396" y="126"/>
                    <a:pt x="394" y="141"/>
                  </a:cubicBezTo>
                  <a:cubicBezTo>
                    <a:pt x="397" y="145"/>
                    <a:pt x="406" y="151"/>
                    <a:pt x="410" y="163"/>
                  </a:cubicBezTo>
                  <a:cubicBezTo>
                    <a:pt x="410" y="169"/>
                    <a:pt x="410" y="180"/>
                    <a:pt x="423" y="186"/>
                  </a:cubicBezTo>
                  <a:cubicBezTo>
                    <a:pt x="423" y="187"/>
                    <a:pt x="423" y="187"/>
                    <a:pt x="423" y="188"/>
                  </a:cubicBezTo>
                  <a:cubicBezTo>
                    <a:pt x="391" y="192"/>
                    <a:pt x="384" y="204"/>
                    <a:pt x="360" y="221"/>
                  </a:cubicBezTo>
                  <a:cubicBezTo>
                    <a:pt x="353" y="223"/>
                    <a:pt x="350" y="227"/>
                    <a:pt x="346" y="233"/>
                  </a:cubicBezTo>
                  <a:cubicBezTo>
                    <a:pt x="330" y="240"/>
                    <a:pt x="323" y="235"/>
                    <a:pt x="312" y="249"/>
                  </a:cubicBezTo>
                  <a:cubicBezTo>
                    <a:pt x="310" y="250"/>
                    <a:pt x="307" y="251"/>
                    <a:pt x="305" y="253"/>
                  </a:cubicBezTo>
                  <a:cubicBezTo>
                    <a:pt x="300" y="247"/>
                    <a:pt x="294" y="242"/>
                    <a:pt x="288" y="237"/>
                  </a:cubicBezTo>
                  <a:cubicBezTo>
                    <a:pt x="268" y="233"/>
                    <a:pt x="262" y="221"/>
                    <a:pt x="252" y="214"/>
                  </a:cubicBezTo>
                  <a:cubicBezTo>
                    <a:pt x="237" y="214"/>
                    <a:pt x="239" y="215"/>
                    <a:pt x="231" y="227"/>
                  </a:cubicBezTo>
                  <a:cubicBezTo>
                    <a:pt x="202" y="226"/>
                    <a:pt x="179" y="208"/>
                    <a:pt x="161" y="198"/>
                  </a:cubicBezTo>
                  <a:cubicBezTo>
                    <a:pt x="146" y="197"/>
                    <a:pt x="135" y="193"/>
                    <a:pt x="128" y="190"/>
                  </a:cubicBezTo>
                  <a:cubicBezTo>
                    <a:pt x="103" y="190"/>
                    <a:pt x="96" y="193"/>
                    <a:pt x="114" y="214"/>
                  </a:cubicBezTo>
                  <a:cubicBezTo>
                    <a:pt x="113" y="216"/>
                    <a:pt x="112" y="218"/>
                    <a:pt x="110" y="221"/>
                  </a:cubicBezTo>
                  <a:cubicBezTo>
                    <a:pt x="107" y="220"/>
                    <a:pt x="104" y="220"/>
                    <a:pt x="102" y="220"/>
                  </a:cubicBezTo>
                  <a:cubicBezTo>
                    <a:pt x="73" y="220"/>
                    <a:pt x="66" y="231"/>
                    <a:pt x="54" y="256"/>
                  </a:cubicBezTo>
                  <a:cubicBezTo>
                    <a:pt x="51" y="257"/>
                    <a:pt x="48" y="260"/>
                    <a:pt x="45" y="262"/>
                  </a:cubicBezTo>
                  <a:close/>
                </a:path>
              </a:pathLst>
            </a:custGeom>
            <a:solidFill>
              <a:srgbClr val="D5D5D5"/>
            </a:solidFill>
            <a:ln w="9525" algn="ctr">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5" name="Freeform 61"/>
            <p:cNvSpPr/>
            <p:nvPr/>
          </p:nvSpPr>
          <p:spPr bwMode="auto">
            <a:xfrm rot="252837">
              <a:off x="4627563" y="3679825"/>
              <a:ext cx="536575" cy="661988"/>
            </a:xfrm>
            <a:custGeom>
              <a:avLst/>
              <a:gdLst/>
              <a:ahLst/>
              <a:cxnLst>
                <a:cxn ang="0">
                  <a:pos x="121" y="321"/>
                </a:cxn>
                <a:cxn ang="0">
                  <a:pos x="118" y="319"/>
                </a:cxn>
                <a:cxn ang="0">
                  <a:pos x="119" y="294"/>
                </a:cxn>
                <a:cxn ang="0">
                  <a:pos x="114" y="289"/>
                </a:cxn>
                <a:cxn ang="0">
                  <a:pos x="86" y="304"/>
                </a:cxn>
                <a:cxn ang="0">
                  <a:pos x="81" y="307"/>
                </a:cxn>
                <a:cxn ang="0">
                  <a:pos x="72" y="298"/>
                </a:cxn>
                <a:cxn ang="0">
                  <a:pos x="69" y="292"/>
                </a:cxn>
                <a:cxn ang="0">
                  <a:pos x="57" y="263"/>
                </a:cxn>
                <a:cxn ang="0">
                  <a:pos x="52" y="259"/>
                </a:cxn>
                <a:cxn ang="0">
                  <a:pos x="62" y="244"/>
                </a:cxn>
                <a:cxn ang="0">
                  <a:pos x="34" y="220"/>
                </a:cxn>
                <a:cxn ang="0">
                  <a:pos x="33" y="213"/>
                </a:cxn>
                <a:cxn ang="0">
                  <a:pos x="30" y="211"/>
                </a:cxn>
                <a:cxn ang="0">
                  <a:pos x="48" y="193"/>
                </a:cxn>
                <a:cxn ang="0">
                  <a:pos x="57" y="182"/>
                </a:cxn>
                <a:cxn ang="0">
                  <a:pos x="44" y="141"/>
                </a:cxn>
                <a:cxn ang="0">
                  <a:pos x="31" y="141"/>
                </a:cxn>
                <a:cxn ang="0">
                  <a:pos x="26" y="147"/>
                </a:cxn>
                <a:cxn ang="0">
                  <a:pos x="22" y="147"/>
                </a:cxn>
                <a:cxn ang="0">
                  <a:pos x="11" y="120"/>
                </a:cxn>
                <a:cxn ang="0">
                  <a:pos x="0" y="113"/>
                </a:cxn>
                <a:cxn ang="0">
                  <a:pos x="24" y="83"/>
                </a:cxn>
                <a:cxn ang="0">
                  <a:pos x="25" y="40"/>
                </a:cxn>
                <a:cxn ang="0">
                  <a:pos x="26" y="39"/>
                </a:cxn>
                <a:cxn ang="0">
                  <a:pos x="32" y="41"/>
                </a:cxn>
                <a:cxn ang="0">
                  <a:pos x="51" y="67"/>
                </a:cxn>
                <a:cxn ang="0">
                  <a:pos x="62" y="67"/>
                </a:cxn>
                <a:cxn ang="0">
                  <a:pos x="74" y="37"/>
                </a:cxn>
                <a:cxn ang="0">
                  <a:pos x="75" y="29"/>
                </a:cxn>
                <a:cxn ang="0">
                  <a:pos x="53" y="9"/>
                </a:cxn>
                <a:cxn ang="0">
                  <a:pos x="63" y="0"/>
                </a:cxn>
                <a:cxn ang="0">
                  <a:pos x="66" y="0"/>
                </a:cxn>
                <a:cxn ang="0">
                  <a:pos x="89" y="33"/>
                </a:cxn>
                <a:cxn ang="0">
                  <a:pos x="99" y="44"/>
                </a:cxn>
                <a:cxn ang="0">
                  <a:pos x="140" y="52"/>
                </a:cxn>
                <a:cxn ang="0">
                  <a:pos x="148" y="59"/>
                </a:cxn>
                <a:cxn ang="0">
                  <a:pos x="176" y="108"/>
                </a:cxn>
                <a:cxn ang="0">
                  <a:pos x="178" y="113"/>
                </a:cxn>
                <a:cxn ang="0">
                  <a:pos x="201" y="108"/>
                </a:cxn>
                <a:cxn ang="0">
                  <a:pos x="213" y="100"/>
                </a:cxn>
                <a:cxn ang="0">
                  <a:pos x="221" y="123"/>
                </a:cxn>
                <a:cxn ang="0">
                  <a:pos x="195" y="126"/>
                </a:cxn>
                <a:cxn ang="0">
                  <a:pos x="189" y="140"/>
                </a:cxn>
                <a:cxn ang="0">
                  <a:pos x="188" y="154"/>
                </a:cxn>
                <a:cxn ang="0">
                  <a:pos x="183" y="169"/>
                </a:cxn>
                <a:cxn ang="0">
                  <a:pos x="206" y="191"/>
                </a:cxn>
                <a:cxn ang="0">
                  <a:pos x="220" y="202"/>
                </a:cxn>
                <a:cxn ang="0">
                  <a:pos x="229" y="209"/>
                </a:cxn>
                <a:cxn ang="0">
                  <a:pos x="256" y="212"/>
                </a:cxn>
                <a:cxn ang="0">
                  <a:pos x="261" y="216"/>
                </a:cxn>
                <a:cxn ang="0">
                  <a:pos x="261" y="224"/>
                </a:cxn>
                <a:cxn ang="0">
                  <a:pos x="234" y="247"/>
                </a:cxn>
                <a:cxn ang="0">
                  <a:pos x="235" y="258"/>
                </a:cxn>
                <a:cxn ang="0">
                  <a:pos x="224" y="264"/>
                </a:cxn>
                <a:cxn ang="0">
                  <a:pos x="224" y="292"/>
                </a:cxn>
                <a:cxn ang="0">
                  <a:pos x="185" y="314"/>
                </a:cxn>
                <a:cxn ang="0">
                  <a:pos x="155" y="318"/>
                </a:cxn>
                <a:cxn ang="0">
                  <a:pos x="140" y="296"/>
                </a:cxn>
                <a:cxn ang="0">
                  <a:pos x="131" y="304"/>
                </a:cxn>
                <a:cxn ang="0">
                  <a:pos x="127" y="321"/>
                </a:cxn>
                <a:cxn ang="0">
                  <a:pos x="121" y="321"/>
                </a:cxn>
              </a:cxnLst>
              <a:rect l="0" t="0" r="r" b="b"/>
              <a:pathLst>
                <a:path w="261" h="322">
                  <a:moveTo>
                    <a:pt x="121" y="321"/>
                  </a:moveTo>
                  <a:cubicBezTo>
                    <a:pt x="120" y="320"/>
                    <a:pt x="119" y="319"/>
                    <a:pt x="118" y="319"/>
                  </a:cubicBezTo>
                  <a:cubicBezTo>
                    <a:pt x="118" y="311"/>
                    <a:pt x="118" y="302"/>
                    <a:pt x="119" y="294"/>
                  </a:cubicBezTo>
                  <a:cubicBezTo>
                    <a:pt x="117" y="292"/>
                    <a:pt x="115" y="290"/>
                    <a:pt x="114" y="289"/>
                  </a:cubicBezTo>
                  <a:cubicBezTo>
                    <a:pt x="94" y="289"/>
                    <a:pt x="94" y="289"/>
                    <a:pt x="86" y="304"/>
                  </a:cubicBezTo>
                  <a:cubicBezTo>
                    <a:pt x="84" y="305"/>
                    <a:pt x="82" y="306"/>
                    <a:pt x="81" y="307"/>
                  </a:cubicBezTo>
                  <a:cubicBezTo>
                    <a:pt x="81" y="302"/>
                    <a:pt x="76" y="301"/>
                    <a:pt x="72" y="298"/>
                  </a:cubicBezTo>
                  <a:cubicBezTo>
                    <a:pt x="71" y="295"/>
                    <a:pt x="70" y="293"/>
                    <a:pt x="69" y="292"/>
                  </a:cubicBezTo>
                  <a:cubicBezTo>
                    <a:pt x="69" y="273"/>
                    <a:pt x="61" y="273"/>
                    <a:pt x="57" y="263"/>
                  </a:cubicBezTo>
                  <a:cubicBezTo>
                    <a:pt x="55" y="262"/>
                    <a:pt x="53" y="260"/>
                    <a:pt x="52" y="259"/>
                  </a:cubicBezTo>
                  <a:cubicBezTo>
                    <a:pt x="52" y="249"/>
                    <a:pt x="58" y="249"/>
                    <a:pt x="62" y="244"/>
                  </a:cubicBezTo>
                  <a:cubicBezTo>
                    <a:pt x="62" y="223"/>
                    <a:pt x="42" y="227"/>
                    <a:pt x="34" y="220"/>
                  </a:cubicBezTo>
                  <a:cubicBezTo>
                    <a:pt x="33" y="217"/>
                    <a:pt x="33" y="215"/>
                    <a:pt x="33" y="213"/>
                  </a:cubicBezTo>
                  <a:cubicBezTo>
                    <a:pt x="32" y="212"/>
                    <a:pt x="31" y="212"/>
                    <a:pt x="30" y="211"/>
                  </a:cubicBezTo>
                  <a:cubicBezTo>
                    <a:pt x="30" y="202"/>
                    <a:pt x="40" y="196"/>
                    <a:pt x="48" y="193"/>
                  </a:cubicBezTo>
                  <a:cubicBezTo>
                    <a:pt x="51" y="189"/>
                    <a:pt x="54" y="186"/>
                    <a:pt x="57" y="182"/>
                  </a:cubicBezTo>
                  <a:cubicBezTo>
                    <a:pt x="57" y="166"/>
                    <a:pt x="53" y="150"/>
                    <a:pt x="44" y="141"/>
                  </a:cubicBezTo>
                  <a:cubicBezTo>
                    <a:pt x="39" y="141"/>
                    <a:pt x="35" y="141"/>
                    <a:pt x="31" y="141"/>
                  </a:cubicBezTo>
                  <a:cubicBezTo>
                    <a:pt x="29" y="143"/>
                    <a:pt x="28" y="145"/>
                    <a:pt x="26" y="147"/>
                  </a:cubicBezTo>
                  <a:cubicBezTo>
                    <a:pt x="25" y="147"/>
                    <a:pt x="23" y="147"/>
                    <a:pt x="22" y="147"/>
                  </a:cubicBezTo>
                  <a:cubicBezTo>
                    <a:pt x="13" y="140"/>
                    <a:pt x="13" y="127"/>
                    <a:pt x="11" y="120"/>
                  </a:cubicBezTo>
                  <a:cubicBezTo>
                    <a:pt x="8" y="117"/>
                    <a:pt x="4" y="115"/>
                    <a:pt x="0" y="113"/>
                  </a:cubicBezTo>
                  <a:cubicBezTo>
                    <a:pt x="0" y="100"/>
                    <a:pt x="16" y="92"/>
                    <a:pt x="24" y="83"/>
                  </a:cubicBezTo>
                  <a:cubicBezTo>
                    <a:pt x="28" y="67"/>
                    <a:pt x="25" y="54"/>
                    <a:pt x="25" y="40"/>
                  </a:cubicBezTo>
                  <a:cubicBezTo>
                    <a:pt x="25" y="39"/>
                    <a:pt x="26" y="39"/>
                    <a:pt x="26" y="39"/>
                  </a:cubicBezTo>
                  <a:cubicBezTo>
                    <a:pt x="28" y="39"/>
                    <a:pt x="30" y="40"/>
                    <a:pt x="32" y="41"/>
                  </a:cubicBezTo>
                  <a:cubicBezTo>
                    <a:pt x="34" y="45"/>
                    <a:pt x="38" y="62"/>
                    <a:pt x="51" y="67"/>
                  </a:cubicBezTo>
                  <a:cubicBezTo>
                    <a:pt x="54" y="67"/>
                    <a:pt x="58" y="67"/>
                    <a:pt x="62" y="67"/>
                  </a:cubicBezTo>
                  <a:cubicBezTo>
                    <a:pt x="70" y="54"/>
                    <a:pt x="68" y="47"/>
                    <a:pt x="74" y="37"/>
                  </a:cubicBezTo>
                  <a:cubicBezTo>
                    <a:pt x="74" y="34"/>
                    <a:pt x="74" y="32"/>
                    <a:pt x="75" y="29"/>
                  </a:cubicBezTo>
                  <a:cubicBezTo>
                    <a:pt x="68" y="22"/>
                    <a:pt x="61" y="16"/>
                    <a:pt x="53" y="9"/>
                  </a:cubicBezTo>
                  <a:cubicBezTo>
                    <a:pt x="53" y="2"/>
                    <a:pt x="59" y="3"/>
                    <a:pt x="63" y="0"/>
                  </a:cubicBezTo>
                  <a:cubicBezTo>
                    <a:pt x="64" y="0"/>
                    <a:pt x="65" y="0"/>
                    <a:pt x="66" y="0"/>
                  </a:cubicBezTo>
                  <a:cubicBezTo>
                    <a:pt x="74" y="8"/>
                    <a:pt x="84" y="17"/>
                    <a:pt x="89" y="33"/>
                  </a:cubicBezTo>
                  <a:cubicBezTo>
                    <a:pt x="92" y="37"/>
                    <a:pt x="95" y="40"/>
                    <a:pt x="99" y="44"/>
                  </a:cubicBezTo>
                  <a:cubicBezTo>
                    <a:pt x="112" y="47"/>
                    <a:pt x="126" y="49"/>
                    <a:pt x="140" y="52"/>
                  </a:cubicBezTo>
                  <a:cubicBezTo>
                    <a:pt x="142" y="54"/>
                    <a:pt x="145" y="57"/>
                    <a:pt x="148" y="59"/>
                  </a:cubicBezTo>
                  <a:cubicBezTo>
                    <a:pt x="154" y="71"/>
                    <a:pt x="158" y="96"/>
                    <a:pt x="176" y="108"/>
                  </a:cubicBezTo>
                  <a:cubicBezTo>
                    <a:pt x="177" y="110"/>
                    <a:pt x="177" y="111"/>
                    <a:pt x="178" y="113"/>
                  </a:cubicBezTo>
                  <a:cubicBezTo>
                    <a:pt x="184" y="113"/>
                    <a:pt x="194" y="113"/>
                    <a:pt x="201" y="108"/>
                  </a:cubicBezTo>
                  <a:cubicBezTo>
                    <a:pt x="202" y="96"/>
                    <a:pt x="200" y="102"/>
                    <a:pt x="213" y="100"/>
                  </a:cubicBezTo>
                  <a:cubicBezTo>
                    <a:pt x="214" y="102"/>
                    <a:pt x="221" y="113"/>
                    <a:pt x="221" y="123"/>
                  </a:cubicBezTo>
                  <a:cubicBezTo>
                    <a:pt x="213" y="127"/>
                    <a:pt x="201" y="126"/>
                    <a:pt x="195" y="126"/>
                  </a:cubicBezTo>
                  <a:cubicBezTo>
                    <a:pt x="193" y="131"/>
                    <a:pt x="191" y="136"/>
                    <a:pt x="189" y="140"/>
                  </a:cubicBezTo>
                  <a:cubicBezTo>
                    <a:pt x="188" y="144"/>
                    <a:pt x="188" y="149"/>
                    <a:pt x="188" y="154"/>
                  </a:cubicBezTo>
                  <a:cubicBezTo>
                    <a:pt x="182" y="158"/>
                    <a:pt x="183" y="158"/>
                    <a:pt x="183" y="169"/>
                  </a:cubicBezTo>
                  <a:cubicBezTo>
                    <a:pt x="190" y="176"/>
                    <a:pt x="198" y="184"/>
                    <a:pt x="206" y="191"/>
                  </a:cubicBezTo>
                  <a:cubicBezTo>
                    <a:pt x="208" y="192"/>
                    <a:pt x="217" y="192"/>
                    <a:pt x="220" y="202"/>
                  </a:cubicBezTo>
                  <a:cubicBezTo>
                    <a:pt x="223" y="204"/>
                    <a:pt x="226" y="206"/>
                    <a:pt x="229" y="209"/>
                  </a:cubicBezTo>
                  <a:cubicBezTo>
                    <a:pt x="238" y="210"/>
                    <a:pt x="247" y="211"/>
                    <a:pt x="256" y="212"/>
                  </a:cubicBezTo>
                  <a:cubicBezTo>
                    <a:pt x="257" y="213"/>
                    <a:pt x="259" y="214"/>
                    <a:pt x="261" y="216"/>
                  </a:cubicBezTo>
                  <a:cubicBezTo>
                    <a:pt x="261" y="219"/>
                    <a:pt x="261" y="222"/>
                    <a:pt x="261" y="224"/>
                  </a:cubicBezTo>
                  <a:cubicBezTo>
                    <a:pt x="249" y="237"/>
                    <a:pt x="234" y="228"/>
                    <a:pt x="234" y="247"/>
                  </a:cubicBezTo>
                  <a:cubicBezTo>
                    <a:pt x="236" y="250"/>
                    <a:pt x="237" y="253"/>
                    <a:pt x="235" y="258"/>
                  </a:cubicBezTo>
                  <a:cubicBezTo>
                    <a:pt x="230" y="259"/>
                    <a:pt x="227" y="262"/>
                    <a:pt x="224" y="264"/>
                  </a:cubicBezTo>
                  <a:cubicBezTo>
                    <a:pt x="224" y="273"/>
                    <a:pt x="224" y="283"/>
                    <a:pt x="224" y="292"/>
                  </a:cubicBezTo>
                  <a:cubicBezTo>
                    <a:pt x="213" y="309"/>
                    <a:pt x="202" y="311"/>
                    <a:pt x="185" y="314"/>
                  </a:cubicBezTo>
                  <a:cubicBezTo>
                    <a:pt x="173" y="318"/>
                    <a:pt x="164" y="322"/>
                    <a:pt x="155" y="318"/>
                  </a:cubicBezTo>
                  <a:cubicBezTo>
                    <a:pt x="147" y="309"/>
                    <a:pt x="145" y="301"/>
                    <a:pt x="140" y="296"/>
                  </a:cubicBezTo>
                  <a:cubicBezTo>
                    <a:pt x="132" y="297"/>
                    <a:pt x="134" y="297"/>
                    <a:pt x="131" y="304"/>
                  </a:cubicBezTo>
                  <a:cubicBezTo>
                    <a:pt x="130" y="309"/>
                    <a:pt x="128" y="315"/>
                    <a:pt x="127" y="321"/>
                  </a:cubicBezTo>
                  <a:cubicBezTo>
                    <a:pt x="125" y="321"/>
                    <a:pt x="123" y="321"/>
                    <a:pt x="121" y="321"/>
                  </a:cubicBezTo>
                  <a:close/>
                </a:path>
              </a:pathLst>
            </a:custGeom>
            <a:solidFill>
              <a:srgbClr val="D5D5D5"/>
            </a:solidFill>
            <a:ln w="9525" algn="ctr">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6" name="Freeform 62"/>
            <p:cNvSpPr/>
            <p:nvPr/>
          </p:nvSpPr>
          <p:spPr bwMode="auto">
            <a:xfrm rot="252837">
              <a:off x="4768850" y="3605213"/>
              <a:ext cx="636588" cy="619125"/>
            </a:xfrm>
            <a:custGeom>
              <a:avLst/>
              <a:gdLst/>
              <a:ahLst/>
              <a:cxnLst>
                <a:cxn ang="0">
                  <a:pos x="196" y="302"/>
                </a:cxn>
                <a:cxn ang="0">
                  <a:pos x="178" y="298"/>
                </a:cxn>
                <a:cxn ang="0">
                  <a:pos x="178" y="291"/>
                </a:cxn>
                <a:cxn ang="0">
                  <a:pos x="198" y="278"/>
                </a:cxn>
                <a:cxn ang="0">
                  <a:pos x="203" y="271"/>
                </a:cxn>
                <a:cxn ang="0">
                  <a:pos x="171" y="248"/>
                </a:cxn>
                <a:cxn ang="0">
                  <a:pos x="157" y="235"/>
                </a:cxn>
                <a:cxn ang="0">
                  <a:pos x="136" y="221"/>
                </a:cxn>
                <a:cxn ang="0">
                  <a:pos x="123" y="206"/>
                </a:cxn>
                <a:cxn ang="0">
                  <a:pos x="130" y="187"/>
                </a:cxn>
                <a:cxn ang="0">
                  <a:pos x="134" y="176"/>
                </a:cxn>
                <a:cxn ang="0">
                  <a:pos x="162" y="170"/>
                </a:cxn>
                <a:cxn ang="0">
                  <a:pos x="151" y="138"/>
                </a:cxn>
                <a:cxn ang="0">
                  <a:pos x="132" y="141"/>
                </a:cxn>
                <a:cxn ang="0">
                  <a:pos x="130" y="150"/>
                </a:cxn>
                <a:cxn ang="0">
                  <a:pos x="118" y="152"/>
                </a:cxn>
                <a:cxn ang="0">
                  <a:pos x="109" y="143"/>
                </a:cxn>
                <a:cxn ang="0">
                  <a:pos x="83" y="94"/>
                </a:cxn>
                <a:cxn ang="0">
                  <a:pos x="58" y="88"/>
                </a:cxn>
                <a:cxn ang="0">
                  <a:pos x="37" y="82"/>
                </a:cxn>
                <a:cxn ang="0">
                  <a:pos x="32" y="76"/>
                </a:cxn>
                <a:cxn ang="0">
                  <a:pos x="4" y="39"/>
                </a:cxn>
                <a:cxn ang="0">
                  <a:pos x="14" y="23"/>
                </a:cxn>
                <a:cxn ang="0">
                  <a:pos x="21" y="29"/>
                </a:cxn>
                <a:cxn ang="0">
                  <a:pos x="21" y="31"/>
                </a:cxn>
                <a:cxn ang="0">
                  <a:pos x="38" y="50"/>
                </a:cxn>
                <a:cxn ang="0">
                  <a:pos x="67" y="55"/>
                </a:cxn>
                <a:cxn ang="0">
                  <a:pos x="95" y="43"/>
                </a:cxn>
                <a:cxn ang="0">
                  <a:pos x="104" y="43"/>
                </a:cxn>
                <a:cxn ang="0">
                  <a:pos x="116" y="28"/>
                </a:cxn>
                <a:cxn ang="0">
                  <a:pos x="136" y="0"/>
                </a:cxn>
                <a:cxn ang="0">
                  <a:pos x="137" y="15"/>
                </a:cxn>
                <a:cxn ang="0">
                  <a:pos x="155" y="29"/>
                </a:cxn>
                <a:cxn ang="0">
                  <a:pos x="194" y="49"/>
                </a:cxn>
                <a:cxn ang="0">
                  <a:pos x="236" y="122"/>
                </a:cxn>
                <a:cxn ang="0">
                  <a:pos x="247" y="153"/>
                </a:cxn>
                <a:cxn ang="0">
                  <a:pos x="300" y="185"/>
                </a:cxn>
                <a:cxn ang="0">
                  <a:pos x="300" y="188"/>
                </a:cxn>
                <a:cxn ang="0">
                  <a:pos x="268" y="191"/>
                </a:cxn>
                <a:cxn ang="0">
                  <a:pos x="268" y="202"/>
                </a:cxn>
                <a:cxn ang="0">
                  <a:pos x="287" y="210"/>
                </a:cxn>
                <a:cxn ang="0">
                  <a:pos x="285" y="224"/>
                </a:cxn>
                <a:cxn ang="0">
                  <a:pos x="308" y="235"/>
                </a:cxn>
                <a:cxn ang="0">
                  <a:pos x="310" y="238"/>
                </a:cxn>
                <a:cxn ang="0">
                  <a:pos x="286" y="262"/>
                </a:cxn>
                <a:cxn ang="0">
                  <a:pos x="286" y="265"/>
                </a:cxn>
                <a:cxn ang="0">
                  <a:pos x="258" y="288"/>
                </a:cxn>
                <a:cxn ang="0">
                  <a:pos x="239" y="294"/>
                </a:cxn>
                <a:cxn ang="0">
                  <a:pos x="238" y="297"/>
                </a:cxn>
                <a:cxn ang="0">
                  <a:pos x="209" y="296"/>
                </a:cxn>
                <a:cxn ang="0">
                  <a:pos x="196" y="302"/>
                </a:cxn>
              </a:cxnLst>
              <a:rect l="0" t="0" r="r" b="b"/>
              <a:pathLst>
                <a:path w="310" h="302">
                  <a:moveTo>
                    <a:pt x="196" y="302"/>
                  </a:moveTo>
                  <a:cubicBezTo>
                    <a:pt x="186" y="298"/>
                    <a:pt x="182" y="299"/>
                    <a:pt x="178" y="298"/>
                  </a:cubicBezTo>
                  <a:cubicBezTo>
                    <a:pt x="178" y="296"/>
                    <a:pt x="178" y="293"/>
                    <a:pt x="178" y="291"/>
                  </a:cubicBezTo>
                  <a:cubicBezTo>
                    <a:pt x="165" y="287"/>
                    <a:pt x="195" y="279"/>
                    <a:pt x="198" y="278"/>
                  </a:cubicBezTo>
                  <a:cubicBezTo>
                    <a:pt x="199" y="276"/>
                    <a:pt x="201" y="273"/>
                    <a:pt x="203" y="271"/>
                  </a:cubicBezTo>
                  <a:cubicBezTo>
                    <a:pt x="203" y="245"/>
                    <a:pt x="186" y="249"/>
                    <a:pt x="171" y="248"/>
                  </a:cubicBezTo>
                  <a:cubicBezTo>
                    <a:pt x="162" y="246"/>
                    <a:pt x="159" y="238"/>
                    <a:pt x="157" y="235"/>
                  </a:cubicBezTo>
                  <a:cubicBezTo>
                    <a:pt x="146" y="231"/>
                    <a:pt x="139" y="225"/>
                    <a:pt x="136" y="221"/>
                  </a:cubicBezTo>
                  <a:cubicBezTo>
                    <a:pt x="125" y="214"/>
                    <a:pt x="125" y="211"/>
                    <a:pt x="123" y="206"/>
                  </a:cubicBezTo>
                  <a:cubicBezTo>
                    <a:pt x="132" y="201"/>
                    <a:pt x="129" y="192"/>
                    <a:pt x="130" y="187"/>
                  </a:cubicBezTo>
                  <a:cubicBezTo>
                    <a:pt x="131" y="183"/>
                    <a:pt x="132" y="180"/>
                    <a:pt x="134" y="176"/>
                  </a:cubicBezTo>
                  <a:cubicBezTo>
                    <a:pt x="142" y="176"/>
                    <a:pt x="151" y="178"/>
                    <a:pt x="162" y="170"/>
                  </a:cubicBezTo>
                  <a:cubicBezTo>
                    <a:pt x="162" y="156"/>
                    <a:pt x="158" y="143"/>
                    <a:pt x="151" y="138"/>
                  </a:cubicBezTo>
                  <a:cubicBezTo>
                    <a:pt x="140" y="138"/>
                    <a:pt x="138" y="138"/>
                    <a:pt x="132" y="141"/>
                  </a:cubicBezTo>
                  <a:cubicBezTo>
                    <a:pt x="132" y="144"/>
                    <a:pt x="131" y="147"/>
                    <a:pt x="130" y="150"/>
                  </a:cubicBezTo>
                  <a:cubicBezTo>
                    <a:pt x="126" y="151"/>
                    <a:pt x="122" y="151"/>
                    <a:pt x="118" y="152"/>
                  </a:cubicBezTo>
                  <a:cubicBezTo>
                    <a:pt x="115" y="145"/>
                    <a:pt x="113" y="146"/>
                    <a:pt x="109" y="143"/>
                  </a:cubicBezTo>
                  <a:cubicBezTo>
                    <a:pt x="98" y="123"/>
                    <a:pt x="93" y="106"/>
                    <a:pt x="83" y="94"/>
                  </a:cubicBezTo>
                  <a:cubicBezTo>
                    <a:pt x="74" y="88"/>
                    <a:pt x="64" y="89"/>
                    <a:pt x="58" y="88"/>
                  </a:cubicBezTo>
                  <a:cubicBezTo>
                    <a:pt x="51" y="86"/>
                    <a:pt x="44" y="83"/>
                    <a:pt x="37" y="82"/>
                  </a:cubicBezTo>
                  <a:cubicBezTo>
                    <a:pt x="35" y="80"/>
                    <a:pt x="33" y="78"/>
                    <a:pt x="32" y="76"/>
                  </a:cubicBezTo>
                  <a:cubicBezTo>
                    <a:pt x="26" y="61"/>
                    <a:pt x="13" y="45"/>
                    <a:pt x="4" y="39"/>
                  </a:cubicBezTo>
                  <a:cubicBezTo>
                    <a:pt x="4" y="29"/>
                    <a:pt x="0" y="13"/>
                    <a:pt x="14" y="23"/>
                  </a:cubicBezTo>
                  <a:cubicBezTo>
                    <a:pt x="16" y="25"/>
                    <a:pt x="17" y="27"/>
                    <a:pt x="21" y="29"/>
                  </a:cubicBezTo>
                  <a:cubicBezTo>
                    <a:pt x="21" y="30"/>
                    <a:pt x="21" y="30"/>
                    <a:pt x="21" y="31"/>
                  </a:cubicBezTo>
                  <a:cubicBezTo>
                    <a:pt x="26" y="35"/>
                    <a:pt x="31" y="39"/>
                    <a:pt x="38" y="50"/>
                  </a:cubicBezTo>
                  <a:cubicBezTo>
                    <a:pt x="44" y="53"/>
                    <a:pt x="54" y="54"/>
                    <a:pt x="67" y="55"/>
                  </a:cubicBezTo>
                  <a:cubicBezTo>
                    <a:pt x="76" y="52"/>
                    <a:pt x="83" y="25"/>
                    <a:pt x="95" y="43"/>
                  </a:cubicBezTo>
                  <a:cubicBezTo>
                    <a:pt x="98" y="43"/>
                    <a:pt x="100" y="43"/>
                    <a:pt x="104" y="43"/>
                  </a:cubicBezTo>
                  <a:cubicBezTo>
                    <a:pt x="108" y="38"/>
                    <a:pt x="112" y="33"/>
                    <a:pt x="116" y="28"/>
                  </a:cubicBezTo>
                  <a:cubicBezTo>
                    <a:pt x="119" y="15"/>
                    <a:pt x="120" y="0"/>
                    <a:pt x="136" y="0"/>
                  </a:cubicBezTo>
                  <a:cubicBezTo>
                    <a:pt x="136" y="4"/>
                    <a:pt x="136" y="9"/>
                    <a:pt x="137" y="15"/>
                  </a:cubicBezTo>
                  <a:cubicBezTo>
                    <a:pt x="143" y="19"/>
                    <a:pt x="149" y="24"/>
                    <a:pt x="155" y="29"/>
                  </a:cubicBezTo>
                  <a:cubicBezTo>
                    <a:pt x="166" y="32"/>
                    <a:pt x="178" y="42"/>
                    <a:pt x="194" y="49"/>
                  </a:cubicBezTo>
                  <a:cubicBezTo>
                    <a:pt x="205" y="72"/>
                    <a:pt x="218" y="96"/>
                    <a:pt x="236" y="122"/>
                  </a:cubicBezTo>
                  <a:cubicBezTo>
                    <a:pt x="236" y="129"/>
                    <a:pt x="239" y="142"/>
                    <a:pt x="247" y="153"/>
                  </a:cubicBezTo>
                  <a:cubicBezTo>
                    <a:pt x="267" y="163"/>
                    <a:pt x="278" y="169"/>
                    <a:pt x="300" y="185"/>
                  </a:cubicBezTo>
                  <a:cubicBezTo>
                    <a:pt x="300" y="186"/>
                    <a:pt x="300" y="187"/>
                    <a:pt x="300" y="188"/>
                  </a:cubicBezTo>
                  <a:cubicBezTo>
                    <a:pt x="294" y="194"/>
                    <a:pt x="270" y="191"/>
                    <a:pt x="268" y="191"/>
                  </a:cubicBezTo>
                  <a:cubicBezTo>
                    <a:pt x="268" y="194"/>
                    <a:pt x="268" y="198"/>
                    <a:pt x="268" y="202"/>
                  </a:cubicBezTo>
                  <a:cubicBezTo>
                    <a:pt x="274" y="205"/>
                    <a:pt x="280" y="207"/>
                    <a:pt x="287" y="210"/>
                  </a:cubicBezTo>
                  <a:cubicBezTo>
                    <a:pt x="284" y="214"/>
                    <a:pt x="283" y="217"/>
                    <a:pt x="285" y="224"/>
                  </a:cubicBezTo>
                  <a:cubicBezTo>
                    <a:pt x="293" y="228"/>
                    <a:pt x="300" y="231"/>
                    <a:pt x="308" y="235"/>
                  </a:cubicBezTo>
                  <a:cubicBezTo>
                    <a:pt x="308" y="236"/>
                    <a:pt x="309" y="237"/>
                    <a:pt x="310" y="238"/>
                  </a:cubicBezTo>
                  <a:cubicBezTo>
                    <a:pt x="310" y="251"/>
                    <a:pt x="297" y="256"/>
                    <a:pt x="286" y="262"/>
                  </a:cubicBezTo>
                  <a:cubicBezTo>
                    <a:pt x="286" y="263"/>
                    <a:pt x="286" y="264"/>
                    <a:pt x="286" y="265"/>
                  </a:cubicBezTo>
                  <a:cubicBezTo>
                    <a:pt x="281" y="265"/>
                    <a:pt x="264" y="284"/>
                    <a:pt x="258" y="288"/>
                  </a:cubicBezTo>
                  <a:cubicBezTo>
                    <a:pt x="252" y="290"/>
                    <a:pt x="245" y="292"/>
                    <a:pt x="239" y="294"/>
                  </a:cubicBezTo>
                  <a:cubicBezTo>
                    <a:pt x="238" y="295"/>
                    <a:pt x="238" y="296"/>
                    <a:pt x="238" y="297"/>
                  </a:cubicBezTo>
                  <a:cubicBezTo>
                    <a:pt x="228" y="297"/>
                    <a:pt x="219" y="296"/>
                    <a:pt x="209" y="296"/>
                  </a:cubicBezTo>
                  <a:cubicBezTo>
                    <a:pt x="205" y="297"/>
                    <a:pt x="201" y="300"/>
                    <a:pt x="196" y="302"/>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7" name="Freeform 63"/>
            <p:cNvSpPr/>
            <p:nvPr/>
          </p:nvSpPr>
          <p:spPr bwMode="auto">
            <a:xfrm rot="252837">
              <a:off x="4143375" y="3452813"/>
              <a:ext cx="641350" cy="622300"/>
            </a:xfrm>
            <a:custGeom>
              <a:avLst/>
              <a:gdLst/>
              <a:ahLst/>
              <a:cxnLst>
                <a:cxn ang="0">
                  <a:pos x="268" y="303"/>
                </a:cxn>
                <a:cxn ang="0">
                  <a:pos x="243" y="299"/>
                </a:cxn>
                <a:cxn ang="0">
                  <a:pos x="224" y="289"/>
                </a:cxn>
                <a:cxn ang="0">
                  <a:pos x="187" y="281"/>
                </a:cxn>
                <a:cxn ang="0">
                  <a:pos x="177" y="266"/>
                </a:cxn>
                <a:cxn ang="0">
                  <a:pos x="158" y="254"/>
                </a:cxn>
                <a:cxn ang="0">
                  <a:pos x="90" y="252"/>
                </a:cxn>
                <a:cxn ang="0">
                  <a:pos x="47" y="231"/>
                </a:cxn>
                <a:cxn ang="0">
                  <a:pos x="33" y="216"/>
                </a:cxn>
                <a:cxn ang="0">
                  <a:pos x="10" y="163"/>
                </a:cxn>
                <a:cxn ang="0">
                  <a:pos x="0" y="137"/>
                </a:cxn>
                <a:cxn ang="0">
                  <a:pos x="0" y="116"/>
                </a:cxn>
                <a:cxn ang="0">
                  <a:pos x="27" y="101"/>
                </a:cxn>
                <a:cxn ang="0">
                  <a:pos x="37" y="96"/>
                </a:cxn>
                <a:cxn ang="0">
                  <a:pos x="76" y="80"/>
                </a:cxn>
                <a:cxn ang="0">
                  <a:pos x="116" y="71"/>
                </a:cxn>
                <a:cxn ang="0">
                  <a:pos x="144" y="45"/>
                </a:cxn>
                <a:cxn ang="0">
                  <a:pos x="159" y="0"/>
                </a:cxn>
                <a:cxn ang="0">
                  <a:pos x="188" y="6"/>
                </a:cxn>
                <a:cxn ang="0">
                  <a:pos x="232" y="6"/>
                </a:cxn>
                <a:cxn ang="0">
                  <a:pos x="239" y="17"/>
                </a:cxn>
                <a:cxn ang="0">
                  <a:pos x="245" y="45"/>
                </a:cxn>
                <a:cxn ang="0">
                  <a:pos x="228" y="66"/>
                </a:cxn>
                <a:cxn ang="0">
                  <a:pos x="221" y="68"/>
                </a:cxn>
                <a:cxn ang="0">
                  <a:pos x="221" y="72"/>
                </a:cxn>
                <a:cxn ang="0">
                  <a:pos x="241" y="87"/>
                </a:cxn>
                <a:cxn ang="0">
                  <a:pos x="243" y="90"/>
                </a:cxn>
                <a:cxn ang="0">
                  <a:pos x="286" y="104"/>
                </a:cxn>
                <a:cxn ang="0">
                  <a:pos x="298" y="114"/>
                </a:cxn>
                <a:cxn ang="0">
                  <a:pos x="313" y="126"/>
                </a:cxn>
                <a:cxn ang="0">
                  <a:pos x="313" y="131"/>
                </a:cxn>
                <a:cxn ang="0">
                  <a:pos x="304" y="157"/>
                </a:cxn>
                <a:cxn ang="0">
                  <a:pos x="295" y="154"/>
                </a:cxn>
                <a:cxn ang="0">
                  <a:pos x="264" y="130"/>
                </a:cxn>
                <a:cxn ang="0">
                  <a:pos x="265" y="169"/>
                </a:cxn>
                <a:cxn ang="0">
                  <a:pos x="240" y="198"/>
                </a:cxn>
                <a:cxn ang="0">
                  <a:pos x="240" y="210"/>
                </a:cxn>
                <a:cxn ang="0">
                  <a:pos x="251" y="219"/>
                </a:cxn>
                <a:cxn ang="0">
                  <a:pos x="257" y="240"/>
                </a:cxn>
                <a:cxn ang="0">
                  <a:pos x="272" y="249"/>
                </a:cxn>
                <a:cxn ang="0">
                  <a:pos x="287" y="243"/>
                </a:cxn>
                <a:cxn ang="0">
                  <a:pos x="294" y="281"/>
                </a:cxn>
                <a:cxn ang="0">
                  <a:pos x="275" y="292"/>
                </a:cxn>
                <a:cxn ang="0">
                  <a:pos x="268" y="303"/>
                </a:cxn>
              </a:cxnLst>
              <a:rect l="0" t="0" r="r" b="b"/>
              <a:pathLst>
                <a:path w="313" h="303">
                  <a:moveTo>
                    <a:pt x="268" y="303"/>
                  </a:moveTo>
                  <a:cubicBezTo>
                    <a:pt x="260" y="302"/>
                    <a:pt x="251" y="301"/>
                    <a:pt x="243" y="299"/>
                  </a:cubicBezTo>
                  <a:cubicBezTo>
                    <a:pt x="237" y="296"/>
                    <a:pt x="230" y="292"/>
                    <a:pt x="224" y="289"/>
                  </a:cubicBezTo>
                  <a:cubicBezTo>
                    <a:pt x="202" y="289"/>
                    <a:pt x="197" y="289"/>
                    <a:pt x="187" y="281"/>
                  </a:cubicBezTo>
                  <a:cubicBezTo>
                    <a:pt x="183" y="276"/>
                    <a:pt x="179" y="271"/>
                    <a:pt x="177" y="266"/>
                  </a:cubicBezTo>
                  <a:cubicBezTo>
                    <a:pt x="170" y="262"/>
                    <a:pt x="164" y="258"/>
                    <a:pt x="158" y="254"/>
                  </a:cubicBezTo>
                  <a:cubicBezTo>
                    <a:pt x="135" y="253"/>
                    <a:pt x="112" y="253"/>
                    <a:pt x="90" y="252"/>
                  </a:cubicBezTo>
                  <a:cubicBezTo>
                    <a:pt x="76" y="246"/>
                    <a:pt x="51" y="239"/>
                    <a:pt x="47" y="231"/>
                  </a:cubicBezTo>
                  <a:cubicBezTo>
                    <a:pt x="37" y="225"/>
                    <a:pt x="36" y="220"/>
                    <a:pt x="33" y="216"/>
                  </a:cubicBezTo>
                  <a:cubicBezTo>
                    <a:pt x="30" y="192"/>
                    <a:pt x="17" y="177"/>
                    <a:pt x="10" y="163"/>
                  </a:cubicBezTo>
                  <a:cubicBezTo>
                    <a:pt x="6" y="154"/>
                    <a:pt x="3" y="146"/>
                    <a:pt x="0" y="137"/>
                  </a:cubicBezTo>
                  <a:cubicBezTo>
                    <a:pt x="0" y="130"/>
                    <a:pt x="0" y="123"/>
                    <a:pt x="0" y="116"/>
                  </a:cubicBezTo>
                  <a:cubicBezTo>
                    <a:pt x="9" y="116"/>
                    <a:pt x="20" y="107"/>
                    <a:pt x="27" y="101"/>
                  </a:cubicBezTo>
                  <a:cubicBezTo>
                    <a:pt x="30" y="99"/>
                    <a:pt x="33" y="97"/>
                    <a:pt x="37" y="96"/>
                  </a:cubicBezTo>
                  <a:cubicBezTo>
                    <a:pt x="52" y="95"/>
                    <a:pt x="64" y="90"/>
                    <a:pt x="76" y="80"/>
                  </a:cubicBezTo>
                  <a:cubicBezTo>
                    <a:pt x="88" y="79"/>
                    <a:pt x="102" y="74"/>
                    <a:pt x="116" y="71"/>
                  </a:cubicBezTo>
                  <a:cubicBezTo>
                    <a:pt x="127" y="64"/>
                    <a:pt x="136" y="54"/>
                    <a:pt x="144" y="45"/>
                  </a:cubicBezTo>
                  <a:cubicBezTo>
                    <a:pt x="159" y="35"/>
                    <a:pt x="158" y="12"/>
                    <a:pt x="159" y="0"/>
                  </a:cubicBezTo>
                  <a:cubicBezTo>
                    <a:pt x="168" y="1"/>
                    <a:pt x="178" y="4"/>
                    <a:pt x="188" y="6"/>
                  </a:cubicBezTo>
                  <a:cubicBezTo>
                    <a:pt x="202" y="6"/>
                    <a:pt x="217" y="6"/>
                    <a:pt x="232" y="6"/>
                  </a:cubicBezTo>
                  <a:cubicBezTo>
                    <a:pt x="234" y="10"/>
                    <a:pt x="237" y="13"/>
                    <a:pt x="239" y="17"/>
                  </a:cubicBezTo>
                  <a:cubicBezTo>
                    <a:pt x="244" y="20"/>
                    <a:pt x="253" y="33"/>
                    <a:pt x="245" y="45"/>
                  </a:cubicBezTo>
                  <a:cubicBezTo>
                    <a:pt x="234" y="51"/>
                    <a:pt x="230" y="53"/>
                    <a:pt x="228" y="66"/>
                  </a:cubicBezTo>
                  <a:cubicBezTo>
                    <a:pt x="225" y="66"/>
                    <a:pt x="223" y="67"/>
                    <a:pt x="221" y="68"/>
                  </a:cubicBezTo>
                  <a:cubicBezTo>
                    <a:pt x="221" y="69"/>
                    <a:pt x="221" y="70"/>
                    <a:pt x="221" y="72"/>
                  </a:cubicBezTo>
                  <a:cubicBezTo>
                    <a:pt x="228" y="77"/>
                    <a:pt x="234" y="81"/>
                    <a:pt x="241" y="87"/>
                  </a:cubicBezTo>
                  <a:cubicBezTo>
                    <a:pt x="241" y="87"/>
                    <a:pt x="242" y="89"/>
                    <a:pt x="243" y="90"/>
                  </a:cubicBezTo>
                  <a:cubicBezTo>
                    <a:pt x="251" y="96"/>
                    <a:pt x="268" y="117"/>
                    <a:pt x="286" y="104"/>
                  </a:cubicBezTo>
                  <a:cubicBezTo>
                    <a:pt x="290" y="104"/>
                    <a:pt x="293" y="107"/>
                    <a:pt x="298" y="114"/>
                  </a:cubicBezTo>
                  <a:cubicBezTo>
                    <a:pt x="303" y="117"/>
                    <a:pt x="308" y="122"/>
                    <a:pt x="313" y="126"/>
                  </a:cubicBezTo>
                  <a:cubicBezTo>
                    <a:pt x="313" y="127"/>
                    <a:pt x="313" y="129"/>
                    <a:pt x="313" y="131"/>
                  </a:cubicBezTo>
                  <a:cubicBezTo>
                    <a:pt x="307" y="136"/>
                    <a:pt x="307" y="149"/>
                    <a:pt x="304" y="157"/>
                  </a:cubicBezTo>
                  <a:cubicBezTo>
                    <a:pt x="301" y="156"/>
                    <a:pt x="298" y="155"/>
                    <a:pt x="295" y="154"/>
                  </a:cubicBezTo>
                  <a:cubicBezTo>
                    <a:pt x="283" y="139"/>
                    <a:pt x="283" y="124"/>
                    <a:pt x="264" y="130"/>
                  </a:cubicBezTo>
                  <a:cubicBezTo>
                    <a:pt x="264" y="143"/>
                    <a:pt x="265" y="156"/>
                    <a:pt x="265" y="169"/>
                  </a:cubicBezTo>
                  <a:cubicBezTo>
                    <a:pt x="261" y="179"/>
                    <a:pt x="248" y="191"/>
                    <a:pt x="240" y="198"/>
                  </a:cubicBezTo>
                  <a:cubicBezTo>
                    <a:pt x="240" y="202"/>
                    <a:pt x="240" y="206"/>
                    <a:pt x="240" y="210"/>
                  </a:cubicBezTo>
                  <a:cubicBezTo>
                    <a:pt x="243" y="213"/>
                    <a:pt x="244" y="216"/>
                    <a:pt x="251" y="219"/>
                  </a:cubicBezTo>
                  <a:cubicBezTo>
                    <a:pt x="253" y="226"/>
                    <a:pt x="255" y="233"/>
                    <a:pt x="257" y="240"/>
                  </a:cubicBezTo>
                  <a:cubicBezTo>
                    <a:pt x="258" y="242"/>
                    <a:pt x="261" y="249"/>
                    <a:pt x="272" y="249"/>
                  </a:cubicBezTo>
                  <a:cubicBezTo>
                    <a:pt x="278" y="243"/>
                    <a:pt x="277" y="242"/>
                    <a:pt x="287" y="243"/>
                  </a:cubicBezTo>
                  <a:cubicBezTo>
                    <a:pt x="290" y="250"/>
                    <a:pt x="301" y="268"/>
                    <a:pt x="294" y="281"/>
                  </a:cubicBezTo>
                  <a:cubicBezTo>
                    <a:pt x="288" y="281"/>
                    <a:pt x="277" y="289"/>
                    <a:pt x="275" y="292"/>
                  </a:cubicBezTo>
                  <a:cubicBezTo>
                    <a:pt x="273" y="295"/>
                    <a:pt x="270" y="299"/>
                    <a:pt x="268" y="303"/>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8" name="Freeform 64"/>
            <p:cNvSpPr/>
            <p:nvPr/>
          </p:nvSpPr>
          <p:spPr bwMode="auto">
            <a:xfrm rot="252837">
              <a:off x="3646488" y="3008313"/>
              <a:ext cx="566737" cy="1022350"/>
            </a:xfrm>
            <a:custGeom>
              <a:avLst/>
              <a:gdLst/>
              <a:ahLst/>
              <a:cxnLst>
                <a:cxn ang="0">
                  <a:pos x="194" y="498"/>
                </a:cxn>
                <a:cxn ang="0">
                  <a:pos x="157" y="472"/>
                </a:cxn>
                <a:cxn ang="0">
                  <a:pos x="143" y="468"/>
                </a:cxn>
                <a:cxn ang="0">
                  <a:pos x="102" y="473"/>
                </a:cxn>
                <a:cxn ang="0">
                  <a:pos x="84" y="463"/>
                </a:cxn>
                <a:cxn ang="0">
                  <a:pos x="56" y="448"/>
                </a:cxn>
                <a:cxn ang="0">
                  <a:pos x="32" y="448"/>
                </a:cxn>
                <a:cxn ang="0">
                  <a:pos x="8" y="440"/>
                </a:cxn>
                <a:cxn ang="0">
                  <a:pos x="12" y="425"/>
                </a:cxn>
                <a:cxn ang="0">
                  <a:pos x="6" y="407"/>
                </a:cxn>
                <a:cxn ang="0">
                  <a:pos x="2" y="396"/>
                </a:cxn>
                <a:cxn ang="0">
                  <a:pos x="33" y="395"/>
                </a:cxn>
                <a:cxn ang="0">
                  <a:pos x="38" y="354"/>
                </a:cxn>
                <a:cxn ang="0">
                  <a:pos x="30" y="338"/>
                </a:cxn>
                <a:cxn ang="0">
                  <a:pos x="60" y="297"/>
                </a:cxn>
                <a:cxn ang="0">
                  <a:pos x="86" y="310"/>
                </a:cxn>
                <a:cxn ang="0">
                  <a:pos x="98" y="306"/>
                </a:cxn>
                <a:cxn ang="0">
                  <a:pos x="98" y="283"/>
                </a:cxn>
                <a:cxn ang="0">
                  <a:pos x="122" y="280"/>
                </a:cxn>
                <a:cxn ang="0">
                  <a:pos x="137" y="280"/>
                </a:cxn>
                <a:cxn ang="0">
                  <a:pos x="139" y="233"/>
                </a:cxn>
                <a:cxn ang="0">
                  <a:pos x="145" y="215"/>
                </a:cxn>
                <a:cxn ang="0">
                  <a:pos x="145" y="204"/>
                </a:cxn>
                <a:cxn ang="0">
                  <a:pos x="135" y="203"/>
                </a:cxn>
                <a:cxn ang="0">
                  <a:pos x="107" y="184"/>
                </a:cxn>
                <a:cxn ang="0">
                  <a:pos x="72" y="171"/>
                </a:cxn>
                <a:cxn ang="0">
                  <a:pos x="77" y="157"/>
                </a:cxn>
                <a:cxn ang="0">
                  <a:pos x="74" y="137"/>
                </a:cxn>
                <a:cxn ang="0">
                  <a:pos x="85" y="124"/>
                </a:cxn>
                <a:cxn ang="0">
                  <a:pos x="104" y="127"/>
                </a:cxn>
                <a:cxn ang="0">
                  <a:pos x="149" y="129"/>
                </a:cxn>
                <a:cxn ang="0">
                  <a:pos x="157" y="80"/>
                </a:cxn>
                <a:cxn ang="0">
                  <a:pos x="171" y="59"/>
                </a:cxn>
                <a:cxn ang="0">
                  <a:pos x="189" y="34"/>
                </a:cxn>
                <a:cxn ang="0">
                  <a:pos x="206" y="22"/>
                </a:cxn>
                <a:cxn ang="0">
                  <a:pos x="216" y="6"/>
                </a:cxn>
                <a:cxn ang="0">
                  <a:pos x="228" y="15"/>
                </a:cxn>
                <a:cxn ang="0">
                  <a:pos x="231" y="15"/>
                </a:cxn>
                <a:cxn ang="0">
                  <a:pos x="243" y="0"/>
                </a:cxn>
                <a:cxn ang="0">
                  <a:pos x="262" y="16"/>
                </a:cxn>
                <a:cxn ang="0">
                  <a:pos x="254" y="29"/>
                </a:cxn>
                <a:cxn ang="0">
                  <a:pos x="239" y="71"/>
                </a:cxn>
                <a:cxn ang="0">
                  <a:pos x="243" y="128"/>
                </a:cxn>
                <a:cxn ang="0">
                  <a:pos x="225" y="168"/>
                </a:cxn>
                <a:cxn ang="0">
                  <a:pos x="225" y="215"/>
                </a:cxn>
                <a:cxn ang="0">
                  <a:pos x="236" y="254"/>
                </a:cxn>
                <a:cxn ang="0">
                  <a:pos x="234" y="301"/>
                </a:cxn>
                <a:cxn ang="0">
                  <a:pos x="245" y="318"/>
                </a:cxn>
                <a:cxn ang="0">
                  <a:pos x="244" y="337"/>
                </a:cxn>
                <a:cxn ang="0">
                  <a:pos x="257" y="370"/>
                </a:cxn>
                <a:cxn ang="0">
                  <a:pos x="276" y="410"/>
                </a:cxn>
                <a:cxn ang="0">
                  <a:pos x="260" y="407"/>
                </a:cxn>
                <a:cxn ang="0">
                  <a:pos x="201" y="410"/>
                </a:cxn>
                <a:cxn ang="0">
                  <a:pos x="200" y="417"/>
                </a:cxn>
                <a:cxn ang="0">
                  <a:pos x="222" y="435"/>
                </a:cxn>
                <a:cxn ang="0">
                  <a:pos x="224" y="444"/>
                </a:cxn>
                <a:cxn ang="0">
                  <a:pos x="197" y="464"/>
                </a:cxn>
                <a:cxn ang="0">
                  <a:pos x="198" y="498"/>
                </a:cxn>
                <a:cxn ang="0">
                  <a:pos x="194" y="498"/>
                </a:cxn>
              </a:cxnLst>
              <a:rect l="0" t="0" r="r" b="b"/>
              <a:pathLst>
                <a:path w="276" h="498">
                  <a:moveTo>
                    <a:pt x="194" y="498"/>
                  </a:moveTo>
                  <a:cubicBezTo>
                    <a:pt x="173" y="491"/>
                    <a:pt x="168" y="482"/>
                    <a:pt x="157" y="472"/>
                  </a:cubicBezTo>
                  <a:cubicBezTo>
                    <a:pt x="152" y="471"/>
                    <a:pt x="148" y="469"/>
                    <a:pt x="143" y="468"/>
                  </a:cubicBezTo>
                  <a:cubicBezTo>
                    <a:pt x="128" y="468"/>
                    <a:pt x="113" y="467"/>
                    <a:pt x="102" y="473"/>
                  </a:cubicBezTo>
                  <a:cubicBezTo>
                    <a:pt x="96" y="473"/>
                    <a:pt x="86" y="465"/>
                    <a:pt x="84" y="463"/>
                  </a:cubicBezTo>
                  <a:cubicBezTo>
                    <a:pt x="66" y="463"/>
                    <a:pt x="62" y="450"/>
                    <a:pt x="56" y="448"/>
                  </a:cubicBezTo>
                  <a:cubicBezTo>
                    <a:pt x="48" y="448"/>
                    <a:pt x="40" y="448"/>
                    <a:pt x="32" y="448"/>
                  </a:cubicBezTo>
                  <a:cubicBezTo>
                    <a:pt x="24" y="445"/>
                    <a:pt x="16" y="442"/>
                    <a:pt x="8" y="440"/>
                  </a:cubicBezTo>
                  <a:cubicBezTo>
                    <a:pt x="8" y="432"/>
                    <a:pt x="10" y="430"/>
                    <a:pt x="12" y="425"/>
                  </a:cubicBezTo>
                  <a:cubicBezTo>
                    <a:pt x="12" y="411"/>
                    <a:pt x="11" y="409"/>
                    <a:pt x="6" y="407"/>
                  </a:cubicBezTo>
                  <a:cubicBezTo>
                    <a:pt x="0" y="402"/>
                    <a:pt x="0" y="397"/>
                    <a:pt x="2" y="396"/>
                  </a:cubicBezTo>
                  <a:cubicBezTo>
                    <a:pt x="12" y="395"/>
                    <a:pt x="23" y="395"/>
                    <a:pt x="33" y="395"/>
                  </a:cubicBezTo>
                  <a:cubicBezTo>
                    <a:pt x="42" y="382"/>
                    <a:pt x="38" y="366"/>
                    <a:pt x="38" y="354"/>
                  </a:cubicBezTo>
                  <a:cubicBezTo>
                    <a:pt x="35" y="349"/>
                    <a:pt x="32" y="343"/>
                    <a:pt x="30" y="338"/>
                  </a:cubicBezTo>
                  <a:cubicBezTo>
                    <a:pt x="24" y="301"/>
                    <a:pt x="23" y="297"/>
                    <a:pt x="60" y="297"/>
                  </a:cubicBezTo>
                  <a:cubicBezTo>
                    <a:pt x="68" y="301"/>
                    <a:pt x="77" y="305"/>
                    <a:pt x="86" y="310"/>
                  </a:cubicBezTo>
                  <a:cubicBezTo>
                    <a:pt x="88" y="310"/>
                    <a:pt x="95" y="308"/>
                    <a:pt x="98" y="306"/>
                  </a:cubicBezTo>
                  <a:cubicBezTo>
                    <a:pt x="98" y="298"/>
                    <a:pt x="98" y="290"/>
                    <a:pt x="98" y="283"/>
                  </a:cubicBezTo>
                  <a:cubicBezTo>
                    <a:pt x="98" y="276"/>
                    <a:pt x="116" y="274"/>
                    <a:pt x="122" y="280"/>
                  </a:cubicBezTo>
                  <a:cubicBezTo>
                    <a:pt x="127" y="280"/>
                    <a:pt x="131" y="280"/>
                    <a:pt x="137" y="280"/>
                  </a:cubicBezTo>
                  <a:cubicBezTo>
                    <a:pt x="143" y="265"/>
                    <a:pt x="144" y="242"/>
                    <a:pt x="139" y="233"/>
                  </a:cubicBezTo>
                  <a:cubicBezTo>
                    <a:pt x="140" y="222"/>
                    <a:pt x="142" y="221"/>
                    <a:pt x="145" y="215"/>
                  </a:cubicBezTo>
                  <a:cubicBezTo>
                    <a:pt x="145" y="211"/>
                    <a:pt x="145" y="208"/>
                    <a:pt x="145" y="204"/>
                  </a:cubicBezTo>
                  <a:cubicBezTo>
                    <a:pt x="142" y="204"/>
                    <a:pt x="138" y="203"/>
                    <a:pt x="135" y="203"/>
                  </a:cubicBezTo>
                  <a:cubicBezTo>
                    <a:pt x="125" y="194"/>
                    <a:pt x="111" y="188"/>
                    <a:pt x="107" y="184"/>
                  </a:cubicBezTo>
                  <a:cubicBezTo>
                    <a:pt x="94" y="181"/>
                    <a:pt x="77" y="176"/>
                    <a:pt x="72" y="171"/>
                  </a:cubicBezTo>
                  <a:cubicBezTo>
                    <a:pt x="72" y="164"/>
                    <a:pt x="74" y="162"/>
                    <a:pt x="77" y="157"/>
                  </a:cubicBezTo>
                  <a:cubicBezTo>
                    <a:pt x="76" y="150"/>
                    <a:pt x="75" y="143"/>
                    <a:pt x="74" y="137"/>
                  </a:cubicBezTo>
                  <a:cubicBezTo>
                    <a:pt x="77" y="137"/>
                    <a:pt x="83" y="128"/>
                    <a:pt x="85" y="124"/>
                  </a:cubicBezTo>
                  <a:cubicBezTo>
                    <a:pt x="89" y="124"/>
                    <a:pt x="95" y="123"/>
                    <a:pt x="104" y="127"/>
                  </a:cubicBezTo>
                  <a:cubicBezTo>
                    <a:pt x="119" y="128"/>
                    <a:pt x="134" y="128"/>
                    <a:pt x="149" y="129"/>
                  </a:cubicBezTo>
                  <a:cubicBezTo>
                    <a:pt x="162" y="116"/>
                    <a:pt x="157" y="92"/>
                    <a:pt x="157" y="80"/>
                  </a:cubicBezTo>
                  <a:cubicBezTo>
                    <a:pt x="157" y="67"/>
                    <a:pt x="164" y="66"/>
                    <a:pt x="171" y="59"/>
                  </a:cubicBezTo>
                  <a:cubicBezTo>
                    <a:pt x="177" y="50"/>
                    <a:pt x="183" y="42"/>
                    <a:pt x="189" y="34"/>
                  </a:cubicBezTo>
                  <a:cubicBezTo>
                    <a:pt x="194" y="30"/>
                    <a:pt x="200" y="26"/>
                    <a:pt x="206" y="22"/>
                  </a:cubicBezTo>
                  <a:cubicBezTo>
                    <a:pt x="209" y="16"/>
                    <a:pt x="213" y="11"/>
                    <a:pt x="216" y="6"/>
                  </a:cubicBezTo>
                  <a:cubicBezTo>
                    <a:pt x="220" y="9"/>
                    <a:pt x="224" y="12"/>
                    <a:pt x="228" y="15"/>
                  </a:cubicBezTo>
                  <a:cubicBezTo>
                    <a:pt x="229" y="15"/>
                    <a:pt x="230" y="15"/>
                    <a:pt x="231" y="15"/>
                  </a:cubicBezTo>
                  <a:cubicBezTo>
                    <a:pt x="236" y="12"/>
                    <a:pt x="240" y="5"/>
                    <a:pt x="243" y="0"/>
                  </a:cubicBezTo>
                  <a:cubicBezTo>
                    <a:pt x="247" y="0"/>
                    <a:pt x="262" y="1"/>
                    <a:pt x="262" y="16"/>
                  </a:cubicBezTo>
                  <a:cubicBezTo>
                    <a:pt x="259" y="20"/>
                    <a:pt x="257" y="24"/>
                    <a:pt x="254" y="29"/>
                  </a:cubicBezTo>
                  <a:cubicBezTo>
                    <a:pt x="254" y="44"/>
                    <a:pt x="253" y="57"/>
                    <a:pt x="239" y="71"/>
                  </a:cubicBezTo>
                  <a:cubicBezTo>
                    <a:pt x="234" y="88"/>
                    <a:pt x="240" y="108"/>
                    <a:pt x="243" y="128"/>
                  </a:cubicBezTo>
                  <a:cubicBezTo>
                    <a:pt x="243" y="142"/>
                    <a:pt x="232" y="157"/>
                    <a:pt x="225" y="168"/>
                  </a:cubicBezTo>
                  <a:cubicBezTo>
                    <a:pt x="225" y="184"/>
                    <a:pt x="225" y="199"/>
                    <a:pt x="225" y="215"/>
                  </a:cubicBezTo>
                  <a:cubicBezTo>
                    <a:pt x="229" y="224"/>
                    <a:pt x="236" y="240"/>
                    <a:pt x="236" y="254"/>
                  </a:cubicBezTo>
                  <a:cubicBezTo>
                    <a:pt x="231" y="268"/>
                    <a:pt x="228" y="283"/>
                    <a:pt x="234" y="301"/>
                  </a:cubicBezTo>
                  <a:cubicBezTo>
                    <a:pt x="237" y="306"/>
                    <a:pt x="240" y="307"/>
                    <a:pt x="245" y="318"/>
                  </a:cubicBezTo>
                  <a:cubicBezTo>
                    <a:pt x="244" y="324"/>
                    <a:pt x="244" y="330"/>
                    <a:pt x="244" y="337"/>
                  </a:cubicBezTo>
                  <a:cubicBezTo>
                    <a:pt x="248" y="347"/>
                    <a:pt x="253" y="359"/>
                    <a:pt x="257" y="370"/>
                  </a:cubicBezTo>
                  <a:cubicBezTo>
                    <a:pt x="265" y="380"/>
                    <a:pt x="272" y="392"/>
                    <a:pt x="276" y="410"/>
                  </a:cubicBezTo>
                  <a:cubicBezTo>
                    <a:pt x="271" y="409"/>
                    <a:pt x="266" y="408"/>
                    <a:pt x="260" y="407"/>
                  </a:cubicBezTo>
                  <a:cubicBezTo>
                    <a:pt x="247" y="407"/>
                    <a:pt x="206" y="405"/>
                    <a:pt x="201" y="410"/>
                  </a:cubicBezTo>
                  <a:cubicBezTo>
                    <a:pt x="200" y="412"/>
                    <a:pt x="200" y="415"/>
                    <a:pt x="200" y="417"/>
                  </a:cubicBezTo>
                  <a:cubicBezTo>
                    <a:pt x="207" y="423"/>
                    <a:pt x="214" y="429"/>
                    <a:pt x="222" y="435"/>
                  </a:cubicBezTo>
                  <a:cubicBezTo>
                    <a:pt x="223" y="438"/>
                    <a:pt x="223" y="441"/>
                    <a:pt x="224" y="444"/>
                  </a:cubicBezTo>
                  <a:cubicBezTo>
                    <a:pt x="210" y="449"/>
                    <a:pt x="206" y="453"/>
                    <a:pt x="197" y="464"/>
                  </a:cubicBezTo>
                  <a:cubicBezTo>
                    <a:pt x="197" y="475"/>
                    <a:pt x="197" y="486"/>
                    <a:pt x="198" y="498"/>
                  </a:cubicBezTo>
                  <a:cubicBezTo>
                    <a:pt x="196" y="498"/>
                    <a:pt x="195" y="498"/>
                    <a:pt x="194" y="498"/>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29" name="Freeform 65"/>
            <p:cNvSpPr/>
            <p:nvPr/>
          </p:nvSpPr>
          <p:spPr bwMode="auto">
            <a:xfrm rot="252837">
              <a:off x="1909763" y="2895600"/>
              <a:ext cx="1433512" cy="1036638"/>
            </a:xfrm>
            <a:custGeom>
              <a:avLst/>
              <a:gdLst/>
              <a:ahLst/>
              <a:cxnLst>
                <a:cxn ang="0">
                  <a:pos x="293" y="490"/>
                </a:cxn>
                <a:cxn ang="0">
                  <a:pos x="241" y="427"/>
                </a:cxn>
                <a:cxn ang="0">
                  <a:pos x="139" y="407"/>
                </a:cxn>
                <a:cxn ang="0">
                  <a:pos x="83" y="376"/>
                </a:cxn>
                <a:cxn ang="0">
                  <a:pos x="39" y="359"/>
                </a:cxn>
                <a:cxn ang="0">
                  <a:pos x="0" y="232"/>
                </a:cxn>
                <a:cxn ang="0">
                  <a:pos x="6" y="184"/>
                </a:cxn>
                <a:cxn ang="0">
                  <a:pos x="24" y="185"/>
                </a:cxn>
                <a:cxn ang="0">
                  <a:pos x="61" y="192"/>
                </a:cxn>
                <a:cxn ang="0">
                  <a:pos x="89" y="183"/>
                </a:cxn>
                <a:cxn ang="0">
                  <a:pos x="78" y="141"/>
                </a:cxn>
                <a:cxn ang="0">
                  <a:pos x="101" y="126"/>
                </a:cxn>
                <a:cxn ang="0">
                  <a:pos x="68" y="70"/>
                </a:cxn>
                <a:cxn ang="0">
                  <a:pos x="59" y="37"/>
                </a:cxn>
                <a:cxn ang="0">
                  <a:pos x="141" y="22"/>
                </a:cxn>
                <a:cxn ang="0">
                  <a:pos x="224" y="5"/>
                </a:cxn>
                <a:cxn ang="0">
                  <a:pos x="339" y="41"/>
                </a:cxn>
                <a:cxn ang="0">
                  <a:pos x="379" y="69"/>
                </a:cxn>
                <a:cxn ang="0">
                  <a:pos x="404" y="61"/>
                </a:cxn>
                <a:cxn ang="0">
                  <a:pos x="427" y="30"/>
                </a:cxn>
                <a:cxn ang="0">
                  <a:pos x="481" y="47"/>
                </a:cxn>
                <a:cxn ang="0">
                  <a:pos x="521" y="72"/>
                </a:cxn>
                <a:cxn ang="0">
                  <a:pos x="527" y="78"/>
                </a:cxn>
                <a:cxn ang="0">
                  <a:pos x="579" y="103"/>
                </a:cxn>
                <a:cxn ang="0">
                  <a:pos x="626" y="134"/>
                </a:cxn>
                <a:cxn ang="0">
                  <a:pos x="669" y="177"/>
                </a:cxn>
                <a:cxn ang="0">
                  <a:pos x="685" y="232"/>
                </a:cxn>
                <a:cxn ang="0">
                  <a:pos x="648" y="304"/>
                </a:cxn>
                <a:cxn ang="0">
                  <a:pos x="628" y="328"/>
                </a:cxn>
                <a:cxn ang="0">
                  <a:pos x="629" y="352"/>
                </a:cxn>
                <a:cxn ang="0">
                  <a:pos x="577" y="341"/>
                </a:cxn>
                <a:cxn ang="0">
                  <a:pos x="597" y="410"/>
                </a:cxn>
                <a:cxn ang="0">
                  <a:pos x="586" y="449"/>
                </a:cxn>
                <a:cxn ang="0">
                  <a:pos x="563" y="459"/>
                </a:cxn>
                <a:cxn ang="0">
                  <a:pos x="543" y="451"/>
                </a:cxn>
                <a:cxn ang="0">
                  <a:pos x="526" y="441"/>
                </a:cxn>
                <a:cxn ang="0">
                  <a:pos x="509" y="441"/>
                </a:cxn>
                <a:cxn ang="0">
                  <a:pos x="469" y="411"/>
                </a:cxn>
                <a:cxn ang="0">
                  <a:pos x="447" y="369"/>
                </a:cxn>
                <a:cxn ang="0">
                  <a:pos x="392" y="390"/>
                </a:cxn>
                <a:cxn ang="0">
                  <a:pos x="405" y="418"/>
                </a:cxn>
                <a:cxn ang="0">
                  <a:pos x="372" y="483"/>
                </a:cxn>
                <a:cxn ang="0">
                  <a:pos x="350" y="503"/>
                </a:cxn>
                <a:cxn ang="0">
                  <a:pos x="319" y="494"/>
                </a:cxn>
              </a:cxnLst>
              <a:rect l="0" t="0" r="r" b="b"/>
              <a:pathLst>
                <a:path w="699" h="505">
                  <a:moveTo>
                    <a:pt x="309" y="505"/>
                  </a:moveTo>
                  <a:cubicBezTo>
                    <a:pt x="304" y="500"/>
                    <a:pt x="299" y="495"/>
                    <a:pt x="293" y="490"/>
                  </a:cubicBezTo>
                  <a:cubicBezTo>
                    <a:pt x="289" y="474"/>
                    <a:pt x="283" y="460"/>
                    <a:pt x="277" y="448"/>
                  </a:cubicBezTo>
                  <a:cubicBezTo>
                    <a:pt x="264" y="433"/>
                    <a:pt x="252" y="431"/>
                    <a:pt x="241" y="427"/>
                  </a:cubicBezTo>
                  <a:cubicBezTo>
                    <a:pt x="221" y="427"/>
                    <a:pt x="201" y="428"/>
                    <a:pt x="181" y="428"/>
                  </a:cubicBezTo>
                  <a:cubicBezTo>
                    <a:pt x="160" y="425"/>
                    <a:pt x="150" y="414"/>
                    <a:pt x="139" y="407"/>
                  </a:cubicBezTo>
                  <a:cubicBezTo>
                    <a:pt x="117" y="404"/>
                    <a:pt x="102" y="398"/>
                    <a:pt x="89" y="388"/>
                  </a:cubicBezTo>
                  <a:cubicBezTo>
                    <a:pt x="89" y="385"/>
                    <a:pt x="83" y="377"/>
                    <a:pt x="83" y="376"/>
                  </a:cubicBezTo>
                  <a:cubicBezTo>
                    <a:pt x="81" y="374"/>
                    <a:pt x="79" y="372"/>
                    <a:pt x="78" y="371"/>
                  </a:cubicBezTo>
                  <a:cubicBezTo>
                    <a:pt x="61" y="369"/>
                    <a:pt x="49" y="366"/>
                    <a:pt x="39" y="359"/>
                  </a:cubicBezTo>
                  <a:cubicBezTo>
                    <a:pt x="16" y="353"/>
                    <a:pt x="7" y="318"/>
                    <a:pt x="3" y="304"/>
                  </a:cubicBezTo>
                  <a:cubicBezTo>
                    <a:pt x="2" y="279"/>
                    <a:pt x="1" y="255"/>
                    <a:pt x="0" y="232"/>
                  </a:cubicBezTo>
                  <a:cubicBezTo>
                    <a:pt x="5" y="223"/>
                    <a:pt x="11" y="212"/>
                    <a:pt x="12" y="205"/>
                  </a:cubicBezTo>
                  <a:cubicBezTo>
                    <a:pt x="12" y="193"/>
                    <a:pt x="6" y="187"/>
                    <a:pt x="6" y="184"/>
                  </a:cubicBezTo>
                  <a:cubicBezTo>
                    <a:pt x="8" y="183"/>
                    <a:pt x="10" y="183"/>
                    <a:pt x="12" y="183"/>
                  </a:cubicBezTo>
                  <a:cubicBezTo>
                    <a:pt x="15" y="186"/>
                    <a:pt x="20" y="185"/>
                    <a:pt x="24" y="185"/>
                  </a:cubicBezTo>
                  <a:cubicBezTo>
                    <a:pt x="28" y="181"/>
                    <a:pt x="29" y="179"/>
                    <a:pt x="29" y="176"/>
                  </a:cubicBezTo>
                  <a:cubicBezTo>
                    <a:pt x="41" y="171"/>
                    <a:pt x="45" y="184"/>
                    <a:pt x="61" y="192"/>
                  </a:cubicBezTo>
                  <a:cubicBezTo>
                    <a:pt x="64" y="192"/>
                    <a:pt x="79" y="192"/>
                    <a:pt x="84" y="189"/>
                  </a:cubicBezTo>
                  <a:cubicBezTo>
                    <a:pt x="85" y="187"/>
                    <a:pt x="87" y="185"/>
                    <a:pt x="89" y="183"/>
                  </a:cubicBezTo>
                  <a:cubicBezTo>
                    <a:pt x="89" y="178"/>
                    <a:pt x="89" y="173"/>
                    <a:pt x="89" y="169"/>
                  </a:cubicBezTo>
                  <a:cubicBezTo>
                    <a:pt x="80" y="157"/>
                    <a:pt x="72" y="151"/>
                    <a:pt x="78" y="141"/>
                  </a:cubicBezTo>
                  <a:cubicBezTo>
                    <a:pt x="84" y="138"/>
                    <a:pt x="89" y="135"/>
                    <a:pt x="95" y="132"/>
                  </a:cubicBezTo>
                  <a:cubicBezTo>
                    <a:pt x="97" y="130"/>
                    <a:pt x="98" y="128"/>
                    <a:pt x="101" y="126"/>
                  </a:cubicBezTo>
                  <a:cubicBezTo>
                    <a:pt x="112" y="104"/>
                    <a:pt x="99" y="99"/>
                    <a:pt x="89" y="92"/>
                  </a:cubicBezTo>
                  <a:cubicBezTo>
                    <a:pt x="84" y="81"/>
                    <a:pt x="75" y="70"/>
                    <a:pt x="68" y="70"/>
                  </a:cubicBezTo>
                  <a:cubicBezTo>
                    <a:pt x="67" y="65"/>
                    <a:pt x="64" y="63"/>
                    <a:pt x="64" y="58"/>
                  </a:cubicBezTo>
                  <a:cubicBezTo>
                    <a:pt x="72" y="50"/>
                    <a:pt x="60" y="38"/>
                    <a:pt x="59" y="37"/>
                  </a:cubicBezTo>
                  <a:cubicBezTo>
                    <a:pt x="59" y="35"/>
                    <a:pt x="59" y="34"/>
                    <a:pt x="59" y="33"/>
                  </a:cubicBezTo>
                  <a:cubicBezTo>
                    <a:pt x="82" y="27"/>
                    <a:pt x="115" y="29"/>
                    <a:pt x="141" y="22"/>
                  </a:cubicBezTo>
                  <a:cubicBezTo>
                    <a:pt x="164" y="10"/>
                    <a:pt x="181" y="0"/>
                    <a:pt x="212" y="0"/>
                  </a:cubicBezTo>
                  <a:cubicBezTo>
                    <a:pt x="216" y="2"/>
                    <a:pt x="220" y="4"/>
                    <a:pt x="224" y="5"/>
                  </a:cubicBezTo>
                  <a:cubicBezTo>
                    <a:pt x="247" y="5"/>
                    <a:pt x="271" y="2"/>
                    <a:pt x="295" y="12"/>
                  </a:cubicBezTo>
                  <a:cubicBezTo>
                    <a:pt x="309" y="21"/>
                    <a:pt x="324" y="31"/>
                    <a:pt x="339" y="41"/>
                  </a:cubicBezTo>
                  <a:cubicBezTo>
                    <a:pt x="340" y="42"/>
                    <a:pt x="341" y="45"/>
                    <a:pt x="343" y="47"/>
                  </a:cubicBezTo>
                  <a:cubicBezTo>
                    <a:pt x="351" y="53"/>
                    <a:pt x="362" y="63"/>
                    <a:pt x="379" y="69"/>
                  </a:cubicBezTo>
                  <a:cubicBezTo>
                    <a:pt x="384" y="69"/>
                    <a:pt x="390" y="69"/>
                    <a:pt x="396" y="69"/>
                  </a:cubicBezTo>
                  <a:cubicBezTo>
                    <a:pt x="398" y="66"/>
                    <a:pt x="401" y="64"/>
                    <a:pt x="404" y="61"/>
                  </a:cubicBezTo>
                  <a:cubicBezTo>
                    <a:pt x="406" y="50"/>
                    <a:pt x="404" y="40"/>
                    <a:pt x="401" y="33"/>
                  </a:cubicBezTo>
                  <a:cubicBezTo>
                    <a:pt x="407" y="27"/>
                    <a:pt x="417" y="29"/>
                    <a:pt x="427" y="30"/>
                  </a:cubicBezTo>
                  <a:cubicBezTo>
                    <a:pt x="432" y="33"/>
                    <a:pt x="438" y="37"/>
                    <a:pt x="444" y="41"/>
                  </a:cubicBezTo>
                  <a:cubicBezTo>
                    <a:pt x="454" y="43"/>
                    <a:pt x="467" y="46"/>
                    <a:pt x="481" y="47"/>
                  </a:cubicBezTo>
                  <a:cubicBezTo>
                    <a:pt x="488" y="51"/>
                    <a:pt x="496" y="54"/>
                    <a:pt x="504" y="58"/>
                  </a:cubicBezTo>
                  <a:cubicBezTo>
                    <a:pt x="510" y="63"/>
                    <a:pt x="516" y="67"/>
                    <a:pt x="521" y="72"/>
                  </a:cubicBezTo>
                  <a:cubicBezTo>
                    <a:pt x="521" y="73"/>
                    <a:pt x="521" y="73"/>
                    <a:pt x="521" y="74"/>
                  </a:cubicBezTo>
                  <a:cubicBezTo>
                    <a:pt x="523" y="75"/>
                    <a:pt x="525" y="77"/>
                    <a:pt x="527" y="78"/>
                  </a:cubicBezTo>
                  <a:cubicBezTo>
                    <a:pt x="536" y="80"/>
                    <a:pt x="545" y="78"/>
                    <a:pt x="556" y="76"/>
                  </a:cubicBezTo>
                  <a:cubicBezTo>
                    <a:pt x="563" y="85"/>
                    <a:pt x="571" y="94"/>
                    <a:pt x="579" y="103"/>
                  </a:cubicBezTo>
                  <a:cubicBezTo>
                    <a:pt x="589" y="111"/>
                    <a:pt x="600" y="118"/>
                    <a:pt x="610" y="126"/>
                  </a:cubicBezTo>
                  <a:cubicBezTo>
                    <a:pt x="615" y="129"/>
                    <a:pt x="620" y="131"/>
                    <a:pt x="626" y="134"/>
                  </a:cubicBezTo>
                  <a:cubicBezTo>
                    <a:pt x="635" y="134"/>
                    <a:pt x="645" y="134"/>
                    <a:pt x="654" y="134"/>
                  </a:cubicBezTo>
                  <a:cubicBezTo>
                    <a:pt x="659" y="139"/>
                    <a:pt x="668" y="163"/>
                    <a:pt x="669" y="177"/>
                  </a:cubicBezTo>
                  <a:cubicBezTo>
                    <a:pt x="673" y="187"/>
                    <a:pt x="678" y="197"/>
                    <a:pt x="682" y="207"/>
                  </a:cubicBezTo>
                  <a:cubicBezTo>
                    <a:pt x="683" y="215"/>
                    <a:pt x="683" y="223"/>
                    <a:pt x="685" y="232"/>
                  </a:cubicBezTo>
                  <a:cubicBezTo>
                    <a:pt x="689" y="238"/>
                    <a:pt x="699" y="250"/>
                    <a:pt x="688" y="262"/>
                  </a:cubicBezTo>
                  <a:cubicBezTo>
                    <a:pt x="662" y="275"/>
                    <a:pt x="664" y="278"/>
                    <a:pt x="648" y="304"/>
                  </a:cubicBezTo>
                  <a:cubicBezTo>
                    <a:pt x="642" y="308"/>
                    <a:pt x="635" y="314"/>
                    <a:pt x="629" y="319"/>
                  </a:cubicBezTo>
                  <a:cubicBezTo>
                    <a:pt x="628" y="322"/>
                    <a:pt x="628" y="325"/>
                    <a:pt x="628" y="328"/>
                  </a:cubicBezTo>
                  <a:cubicBezTo>
                    <a:pt x="634" y="333"/>
                    <a:pt x="640" y="339"/>
                    <a:pt x="647" y="345"/>
                  </a:cubicBezTo>
                  <a:cubicBezTo>
                    <a:pt x="647" y="355"/>
                    <a:pt x="632" y="352"/>
                    <a:pt x="629" y="352"/>
                  </a:cubicBezTo>
                  <a:cubicBezTo>
                    <a:pt x="622" y="348"/>
                    <a:pt x="616" y="344"/>
                    <a:pt x="609" y="339"/>
                  </a:cubicBezTo>
                  <a:cubicBezTo>
                    <a:pt x="599" y="339"/>
                    <a:pt x="580" y="338"/>
                    <a:pt x="577" y="341"/>
                  </a:cubicBezTo>
                  <a:cubicBezTo>
                    <a:pt x="577" y="360"/>
                    <a:pt x="575" y="372"/>
                    <a:pt x="597" y="389"/>
                  </a:cubicBezTo>
                  <a:cubicBezTo>
                    <a:pt x="597" y="395"/>
                    <a:pt x="597" y="403"/>
                    <a:pt x="597" y="410"/>
                  </a:cubicBezTo>
                  <a:cubicBezTo>
                    <a:pt x="600" y="419"/>
                    <a:pt x="603" y="428"/>
                    <a:pt x="606" y="438"/>
                  </a:cubicBezTo>
                  <a:cubicBezTo>
                    <a:pt x="606" y="449"/>
                    <a:pt x="596" y="448"/>
                    <a:pt x="586" y="449"/>
                  </a:cubicBezTo>
                  <a:cubicBezTo>
                    <a:pt x="577" y="451"/>
                    <a:pt x="575" y="454"/>
                    <a:pt x="569" y="459"/>
                  </a:cubicBezTo>
                  <a:cubicBezTo>
                    <a:pt x="567" y="459"/>
                    <a:pt x="564" y="459"/>
                    <a:pt x="563" y="459"/>
                  </a:cubicBezTo>
                  <a:cubicBezTo>
                    <a:pt x="561" y="457"/>
                    <a:pt x="560" y="454"/>
                    <a:pt x="559" y="452"/>
                  </a:cubicBezTo>
                  <a:cubicBezTo>
                    <a:pt x="554" y="451"/>
                    <a:pt x="549" y="451"/>
                    <a:pt x="543" y="451"/>
                  </a:cubicBezTo>
                  <a:cubicBezTo>
                    <a:pt x="543" y="446"/>
                    <a:pt x="539" y="444"/>
                    <a:pt x="536" y="442"/>
                  </a:cubicBezTo>
                  <a:cubicBezTo>
                    <a:pt x="533" y="441"/>
                    <a:pt x="529" y="441"/>
                    <a:pt x="526" y="441"/>
                  </a:cubicBezTo>
                  <a:cubicBezTo>
                    <a:pt x="524" y="444"/>
                    <a:pt x="516" y="450"/>
                    <a:pt x="513" y="449"/>
                  </a:cubicBezTo>
                  <a:cubicBezTo>
                    <a:pt x="511" y="446"/>
                    <a:pt x="510" y="444"/>
                    <a:pt x="509" y="441"/>
                  </a:cubicBezTo>
                  <a:cubicBezTo>
                    <a:pt x="503" y="440"/>
                    <a:pt x="498" y="439"/>
                    <a:pt x="493" y="438"/>
                  </a:cubicBezTo>
                  <a:cubicBezTo>
                    <a:pt x="484" y="428"/>
                    <a:pt x="477" y="420"/>
                    <a:pt x="469" y="411"/>
                  </a:cubicBezTo>
                  <a:cubicBezTo>
                    <a:pt x="468" y="408"/>
                    <a:pt x="467" y="407"/>
                    <a:pt x="466" y="405"/>
                  </a:cubicBezTo>
                  <a:cubicBezTo>
                    <a:pt x="466" y="384"/>
                    <a:pt x="455" y="379"/>
                    <a:pt x="447" y="369"/>
                  </a:cubicBezTo>
                  <a:cubicBezTo>
                    <a:pt x="433" y="365"/>
                    <a:pt x="417" y="367"/>
                    <a:pt x="407" y="367"/>
                  </a:cubicBezTo>
                  <a:cubicBezTo>
                    <a:pt x="387" y="370"/>
                    <a:pt x="394" y="369"/>
                    <a:pt x="392" y="390"/>
                  </a:cubicBezTo>
                  <a:cubicBezTo>
                    <a:pt x="396" y="395"/>
                    <a:pt x="401" y="401"/>
                    <a:pt x="405" y="407"/>
                  </a:cubicBezTo>
                  <a:cubicBezTo>
                    <a:pt x="405" y="411"/>
                    <a:pt x="405" y="414"/>
                    <a:pt x="405" y="418"/>
                  </a:cubicBezTo>
                  <a:cubicBezTo>
                    <a:pt x="399" y="427"/>
                    <a:pt x="382" y="436"/>
                    <a:pt x="392" y="451"/>
                  </a:cubicBezTo>
                  <a:cubicBezTo>
                    <a:pt x="392" y="458"/>
                    <a:pt x="378" y="477"/>
                    <a:pt x="372" y="483"/>
                  </a:cubicBezTo>
                  <a:cubicBezTo>
                    <a:pt x="369" y="491"/>
                    <a:pt x="362" y="494"/>
                    <a:pt x="356" y="497"/>
                  </a:cubicBezTo>
                  <a:cubicBezTo>
                    <a:pt x="353" y="499"/>
                    <a:pt x="352" y="501"/>
                    <a:pt x="350" y="503"/>
                  </a:cubicBezTo>
                  <a:cubicBezTo>
                    <a:pt x="339" y="503"/>
                    <a:pt x="339" y="496"/>
                    <a:pt x="339" y="494"/>
                  </a:cubicBezTo>
                  <a:cubicBezTo>
                    <a:pt x="331" y="489"/>
                    <a:pt x="322" y="493"/>
                    <a:pt x="319" y="494"/>
                  </a:cubicBezTo>
                  <a:cubicBezTo>
                    <a:pt x="315" y="499"/>
                    <a:pt x="314" y="503"/>
                    <a:pt x="309" y="505"/>
                  </a:cubicBezTo>
                  <a:close/>
                </a:path>
              </a:pathLst>
            </a:custGeom>
            <a:solidFill>
              <a:srgbClr val="D5D5D5"/>
            </a:solidFill>
            <a:ln w="9525" algn="ctr">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30" name="Freeform 66"/>
            <p:cNvSpPr/>
            <p:nvPr/>
          </p:nvSpPr>
          <p:spPr bwMode="auto">
            <a:xfrm rot="252837">
              <a:off x="4138613" y="2881313"/>
              <a:ext cx="392112" cy="785812"/>
            </a:xfrm>
            <a:custGeom>
              <a:avLst/>
              <a:gdLst/>
              <a:ahLst/>
              <a:cxnLst>
                <a:cxn ang="0">
                  <a:pos x="19" y="383"/>
                </a:cxn>
                <a:cxn ang="0">
                  <a:pos x="6" y="350"/>
                </a:cxn>
                <a:cxn ang="0">
                  <a:pos x="11" y="333"/>
                </a:cxn>
                <a:cxn ang="0">
                  <a:pos x="10" y="313"/>
                </a:cxn>
                <a:cxn ang="0">
                  <a:pos x="0" y="288"/>
                </a:cxn>
                <a:cxn ang="0">
                  <a:pos x="0" y="247"/>
                </a:cxn>
                <a:cxn ang="0">
                  <a:pos x="17" y="216"/>
                </a:cxn>
                <a:cxn ang="0">
                  <a:pos x="18" y="201"/>
                </a:cxn>
                <a:cxn ang="0">
                  <a:pos x="25" y="139"/>
                </a:cxn>
                <a:cxn ang="0">
                  <a:pos x="29" y="107"/>
                </a:cxn>
                <a:cxn ang="0">
                  <a:pos x="36" y="95"/>
                </a:cxn>
                <a:cxn ang="0">
                  <a:pos x="62" y="62"/>
                </a:cxn>
                <a:cxn ang="0">
                  <a:pos x="85" y="32"/>
                </a:cxn>
                <a:cxn ang="0">
                  <a:pos x="96" y="22"/>
                </a:cxn>
                <a:cxn ang="0">
                  <a:pos x="134" y="18"/>
                </a:cxn>
                <a:cxn ang="0">
                  <a:pos x="158" y="6"/>
                </a:cxn>
                <a:cxn ang="0">
                  <a:pos x="163" y="0"/>
                </a:cxn>
                <a:cxn ang="0">
                  <a:pos x="173" y="7"/>
                </a:cxn>
                <a:cxn ang="0">
                  <a:pos x="156" y="34"/>
                </a:cxn>
                <a:cxn ang="0">
                  <a:pos x="191" y="69"/>
                </a:cxn>
                <a:cxn ang="0">
                  <a:pos x="191" y="79"/>
                </a:cxn>
                <a:cxn ang="0">
                  <a:pos x="163" y="103"/>
                </a:cxn>
                <a:cxn ang="0">
                  <a:pos x="154" y="143"/>
                </a:cxn>
                <a:cxn ang="0">
                  <a:pos x="168" y="155"/>
                </a:cxn>
                <a:cxn ang="0">
                  <a:pos x="184" y="193"/>
                </a:cxn>
                <a:cxn ang="0">
                  <a:pos x="178" y="215"/>
                </a:cxn>
                <a:cxn ang="0">
                  <a:pos x="155" y="244"/>
                </a:cxn>
                <a:cxn ang="0">
                  <a:pos x="154" y="251"/>
                </a:cxn>
                <a:cxn ang="0">
                  <a:pos x="168" y="265"/>
                </a:cxn>
                <a:cxn ang="0">
                  <a:pos x="167" y="304"/>
                </a:cxn>
                <a:cxn ang="0">
                  <a:pos x="132" y="337"/>
                </a:cxn>
                <a:cxn ang="0">
                  <a:pos x="92" y="347"/>
                </a:cxn>
                <a:cxn ang="0">
                  <a:pos x="52" y="363"/>
                </a:cxn>
                <a:cxn ang="0">
                  <a:pos x="37" y="372"/>
                </a:cxn>
                <a:cxn ang="0">
                  <a:pos x="19" y="383"/>
                </a:cxn>
              </a:cxnLst>
              <a:rect l="0" t="0" r="r" b="b"/>
              <a:pathLst>
                <a:path w="191" h="383">
                  <a:moveTo>
                    <a:pt x="19" y="383"/>
                  </a:moveTo>
                  <a:cubicBezTo>
                    <a:pt x="2" y="373"/>
                    <a:pt x="6" y="360"/>
                    <a:pt x="6" y="350"/>
                  </a:cubicBezTo>
                  <a:cubicBezTo>
                    <a:pt x="8" y="344"/>
                    <a:pt x="9" y="339"/>
                    <a:pt x="11" y="333"/>
                  </a:cubicBezTo>
                  <a:cubicBezTo>
                    <a:pt x="10" y="326"/>
                    <a:pt x="10" y="320"/>
                    <a:pt x="10" y="313"/>
                  </a:cubicBezTo>
                  <a:cubicBezTo>
                    <a:pt x="6" y="305"/>
                    <a:pt x="3" y="297"/>
                    <a:pt x="0" y="288"/>
                  </a:cubicBezTo>
                  <a:cubicBezTo>
                    <a:pt x="0" y="274"/>
                    <a:pt x="0" y="260"/>
                    <a:pt x="0" y="247"/>
                  </a:cubicBezTo>
                  <a:cubicBezTo>
                    <a:pt x="8" y="235"/>
                    <a:pt x="11" y="226"/>
                    <a:pt x="17" y="216"/>
                  </a:cubicBezTo>
                  <a:cubicBezTo>
                    <a:pt x="17" y="211"/>
                    <a:pt x="17" y="205"/>
                    <a:pt x="18" y="201"/>
                  </a:cubicBezTo>
                  <a:cubicBezTo>
                    <a:pt x="14" y="175"/>
                    <a:pt x="3" y="153"/>
                    <a:pt x="25" y="139"/>
                  </a:cubicBezTo>
                  <a:cubicBezTo>
                    <a:pt x="29" y="125"/>
                    <a:pt x="29" y="117"/>
                    <a:pt x="29" y="107"/>
                  </a:cubicBezTo>
                  <a:cubicBezTo>
                    <a:pt x="31" y="103"/>
                    <a:pt x="33" y="99"/>
                    <a:pt x="36" y="95"/>
                  </a:cubicBezTo>
                  <a:cubicBezTo>
                    <a:pt x="39" y="77"/>
                    <a:pt x="49" y="70"/>
                    <a:pt x="62" y="62"/>
                  </a:cubicBezTo>
                  <a:cubicBezTo>
                    <a:pt x="68" y="52"/>
                    <a:pt x="75" y="37"/>
                    <a:pt x="85" y="32"/>
                  </a:cubicBezTo>
                  <a:cubicBezTo>
                    <a:pt x="89" y="29"/>
                    <a:pt x="92" y="25"/>
                    <a:pt x="96" y="22"/>
                  </a:cubicBezTo>
                  <a:cubicBezTo>
                    <a:pt x="102" y="22"/>
                    <a:pt x="126" y="26"/>
                    <a:pt x="134" y="18"/>
                  </a:cubicBezTo>
                  <a:cubicBezTo>
                    <a:pt x="142" y="16"/>
                    <a:pt x="150" y="14"/>
                    <a:pt x="158" y="6"/>
                  </a:cubicBezTo>
                  <a:cubicBezTo>
                    <a:pt x="160" y="3"/>
                    <a:pt x="161" y="1"/>
                    <a:pt x="163" y="0"/>
                  </a:cubicBezTo>
                  <a:cubicBezTo>
                    <a:pt x="166" y="2"/>
                    <a:pt x="170" y="4"/>
                    <a:pt x="173" y="7"/>
                  </a:cubicBezTo>
                  <a:cubicBezTo>
                    <a:pt x="173" y="16"/>
                    <a:pt x="152" y="21"/>
                    <a:pt x="156" y="34"/>
                  </a:cubicBezTo>
                  <a:cubicBezTo>
                    <a:pt x="171" y="37"/>
                    <a:pt x="178" y="50"/>
                    <a:pt x="191" y="69"/>
                  </a:cubicBezTo>
                  <a:cubicBezTo>
                    <a:pt x="191" y="72"/>
                    <a:pt x="191" y="76"/>
                    <a:pt x="191" y="79"/>
                  </a:cubicBezTo>
                  <a:cubicBezTo>
                    <a:pt x="182" y="95"/>
                    <a:pt x="176" y="95"/>
                    <a:pt x="163" y="103"/>
                  </a:cubicBezTo>
                  <a:cubicBezTo>
                    <a:pt x="157" y="115"/>
                    <a:pt x="144" y="129"/>
                    <a:pt x="154" y="143"/>
                  </a:cubicBezTo>
                  <a:cubicBezTo>
                    <a:pt x="158" y="147"/>
                    <a:pt x="163" y="151"/>
                    <a:pt x="168" y="155"/>
                  </a:cubicBezTo>
                  <a:cubicBezTo>
                    <a:pt x="173" y="164"/>
                    <a:pt x="184" y="172"/>
                    <a:pt x="184" y="193"/>
                  </a:cubicBezTo>
                  <a:cubicBezTo>
                    <a:pt x="181" y="200"/>
                    <a:pt x="180" y="208"/>
                    <a:pt x="178" y="215"/>
                  </a:cubicBezTo>
                  <a:cubicBezTo>
                    <a:pt x="174" y="223"/>
                    <a:pt x="162" y="239"/>
                    <a:pt x="155" y="244"/>
                  </a:cubicBezTo>
                  <a:cubicBezTo>
                    <a:pt x="154" y="247"/>
                    <a:pt x="154" y="249"/>
                    <a:pt x="154" y="251"/>
                  </a:cubicBezTo>
                  <a:cubicBezTo>
                    <a:pt x="158" y="256"/>
                    <a:pt x="163" y="261"/>
                    <a:pt x="168" y="265"/>
                  </a:cubicBezTo>
                  <a:cubicBezTo>
                    <a:pt x="171" y="274"/>
                    <a:pt x="171" y="291"/>
                    <a:pt x="167" y="304"/>
                  </a:cubicBezTo>
                  <a:cubicBezTo>
                    <a:pt x="157" y="317"/>
                    <a:pt x="145" y="327"/>
                    <a:pt x="132" y="337"/>
                  </a:cubicBezTo>
                  <a:cubicBezTo>
                    <a:pt x="119" y="340"/>
                    <a:pt x="105" y="344"/>
                    <a:pt x="92" y="347"/>
                  </a:cubicBezTo>
                  <a:cubicBezTo>
                    <a:pt x="78" y="359"/>
                    <a:pt x="67" y="360"/>
                    <a:pt x="52" y="363"/>
                  </a:cubicBezTo>
                  <a:cubicBezTo>
                    <a:pt x="47" y="366"/>
                    <a:pt x="42" y="369"/>
                    <a:pt x="37" y="372"/>
                  </a:cubicBezTo>
                  <a:cubicBezTo>
                    <a:pt x="30" y="379"/>
                    <a:pt x="23" y="382"/>
                    <a:pt x="19" y="383"/>
                  </a:cubicBezTo>
                  <a:close/>
                </a:path>
              </a:pathLst>
            </a:custGeom>
            <a:solidFill>
              <a:schemeClr val="bg1">
                <a:lumMod val="75000"/>
              </a:schemeClr>
            </a:solidFill>
            <a:ln w="0">
              <a:noFill/>
              <a:round/>
            </a:ln>
          </p:spPr>
          <p:txBody>
            <a:bodyPr/>
            <a:lstStyle/>
            <a:p>
              <a:pPr fontAlgn="auto">
                <a:spcBef>
                  <a:spcPts val="0"/>
                </a:spcBef>
                <a:spcAft>
                  <a:spcPts val="0"/>
                </a:spcAft>
                <a:defRPr/>
              </a:pPr>
              <a:endParaRPr lang="zh-CN" altLang="en-US" kern="0" noProof="1">
                <a:solidFill>
                  <a:sysClr val="windowText" lastClr="000000"/>
                </a:solidFill>
                <a:latin typeface="+mn-lt"/>
                <a:ea typeface="+mn-ea"/>
              </a:endParaRPr>
            </a:p>
          </p:txBody>
        </p:sp>
        <p:sp>
          <p:nvSpPr>
            <p:cNvPr id="31" name="Freeform 67"/>
            <p:cNvSpPr/>
            <p:nvPr/>
          </p:nvSpPr>
          <p:spPr bwMode="auto">
            <a:xfrm rot="252837">
              <a:off x="4640263" y="3211513"/>
              <a:ext cx="736600" cy="492125"/>
            </a:xfrm>
            <a:custGeom>
              <a:avLst/>
              <a:gdLst/>
              <a:ahLst/>
              <a:cxnLst>
                <a:cxn ang="0">
                  <a:pos x="40" y="240"/>
                </a:cxn>
                <a:cxn ang="0">
                  <a:pos x="24" y="229"/>
                </a:cxn>
                <a:cxn ang="0">
                  <a:pos x="0" y="208"/>
                </a:cxn>
                <a:cxn ang="0">
                  <a:pos x="6" y="197"/>
                </a:cxn>
                <a:cxn ang="0">
                  <a:pos x="22" y="180"/>
                </a:cxn>
                <a:cxn ang="0">
                  <a:pos x="22" y="161"/>
                </a:cxn>
                <a:cxn ang="0">
                  <a:pos x="7" y="116"/>
                </a:cxn>
                <a:cxn ang="0">
                  <a:pos x="12" y="96"/>
                </a:cxn>
                <a:cxn ang="0">
                  <a:pos x="39" y="66"/>
                </a:cxn>
                <a:cxn ang="0">
                  <a:pos x="85" y="29"/>
                </a:cxn>
                <a:cxn ang="0">
                  <a:pos x="113" y="0"/>
                </a:cxn>
                <a:cxn ang="0">
                  <a:pos x="119" y="20"/>
                </a:cxn>
                <a:cxn ang="0">
                  <a:pos x="133" y="20"/>
                </a:cxn>
                <a:cxn ang="0">
                  <a:pos x="140" y="9"/>
                </a:cxn>
                <a:cxn ang="0">
                  <a:pos x="165" y="6"/>
                </a:cxn>
                <a:cxn ang="0">
                  <a:pos x="174" y="19"/>
                </a:cxn>
                <a:cxn ang="0">
                  <a:pos x="173" y="44"/>
                </a:cxn>
                <a:cxn ang="0">
                  <a:pos x="216" y="61"/>
                </a:cxn>
                <a:cxn ang="0">
                  <a:pos x="238" y="26"/>
                </a:cxn>
                <a:cxn ang="0">
                  <a:pos x="248" y="16"/>
                </a:cxn>
                <a:cxn ang="0">
                  <a:pos x="277" y="9"/>
                </a:cxn>
                <a:cxn ang="0">
                  <a:pos x="301" y="19"/>
                </a:cxn>
                <a:cxn ang="0">
                  <a:pos x="355" y="17"/>
                </a:cxn>
                <a:cxn ang="0">
                  <a:pos x="359" y="20"/>
                </a:cxn>
                <a:cxn ang="0">
                  <a:pos x="357" y="25"/>
                </a:cxn>
                <a:cxn ang="0">
                  <a:pos x="355" y="42"/>
                </a:cxn>
                <a:cxn ang="0">
                  <a:pos x="336" y="44"/>
                </a:cxn>
                <a:cxn ang="0">
                  <a:pos x="281" y="89"/>
                </a:cxn>
                <a:cxn ang="0">
                  <a:pos x="269" y="95"/>
                </a:cxn>
                <a:cxn ang="0">
                  <a:pos x="251" y="105"/>
                </a:cxn>
                <a:cxn ang="0">
                  <a:pos x="248" y="108"/>
                </a:cxn>
                <a:cxn ang="0">
                  <a:pos x="246" y="128"/>
                </a:cxn>
                <a:cxn ang="0">
                  <a:pos x="225" y="154"/>
                </a:cxn>
                <a:cxn ang="0">
                  <a:pos x="220" y="181"/>
                </a:cxn>
                <a:cxn ang="0">
                  <a:pos x="192" y="197"/>
                </a:cxn>
                <a:cxn ang="0">
                  <a:pos x="177" y="226"/>
                </a:cxn>
                <a:cxn ang="0">
                  <a:pos x="177" y="224"/>
                </a:cxn>
                <a:cxn ang="0">
                  <a:pos x="171" y="219"/>
                </a:cxn>
                <a:cxn ang="0">
                  <a:pos x="161" y="218"/>
                </a:cxn>
                <a:cxn ang="0">
                  <a:pos x="148" y="235"/>
                </a:cxn>
                <a:cxn ang="0">
                  <a:pos x="121" y="233"/>
                </a:cxn>
                <a:cxn ang="0">
                  <a:pos x="118" y="226"/>
                </a:cxn>
                <a:cxn ang="0">
                  <a:pos x="95" y="203"/>
                </a:cxn>
                <a:cxn ang="0">
                  <a:pos x="80" y="203"/>
                </a:cxn>
                <a:cxn ang="0">
                  <a:pos x="77" y="226"/>
                </a:cxn>
                <a:cxn ang="0">
                  <a:pos x="62" y="234"/>
                </a:cxn>
                <a:cxn ang="0">
                  <a:pos x="40" y="240"/>
                </a:cxn>
              </a:cxnLst>
              <a:rect l="0" t="0" r="r" b="b"/>
              <a:pathLst>
                <a:path w="359" h="240">
                  <a:moveTo>
                    <a:pt x="40" y="240"/>
                  </a:moveTo>
                  <a:cubicBezTo>
                    <a:pt x="34" y="236"/>
                    <a:pt x="29" y="233"/>
                    <a:pt x="24" y="229"/>
                  </a:cubicBezTo>
                  <a:cubicBezTo>
                    <a:pt x="16" y="222"/>
                    <a:pt x="8" y="215"/>
                    <a:pt x="0" y="208"/>
                  </a:cubicBezTo>
                  <a:cubicBezTo>
                    <a:pt x="2" y="204"/>
                    <a:pt x="4" y="200"/>
                    <a:pt x="6" y="197"/>
                  </a:cubicBezTo>
                  <a:cubicBezTo>
                    <a:pt x="12" y="192"/>
                    <a:pt x="19" y="186"/>
                    <a:pt x="22" y="180"/>
                  </a:cubicBezTo>
                  <a:cubicBezTo>
                    <a:pt x="22" y="174"/>
                    <a:pt x="22" y="167"/>
                    <a:pt x="22" y="161"/>
                  </a:cubicBezTo>
                  <a:cubicBezTo>
                    <a:pt x="20" y="151"/>
                    <a:pt x="11" y="119"/>
                    <a:pt x="7" y="116"/>
                  </a:cubicBezTo>
                  <a:cubicBezTo>
                    <a:pt x="7" y="104"/>
                    <a:pt x="6" y="102"/>
                    <a:pt x="12" y="96"/>
                  </a:cubicBezTo>
                  <a:cubicBezTo>
                    <a:pt x="18" y="83"/>
                    <a:pt x="28" y="76"/>
                    <a:pt x="39" y="66"/>
                  </a:cubicBezTo>
                  <a:cubicBezTo>
                    <a:pt x="49" y="46"/>
                    <a:pt x="66" y="40"/>
                    <a:pt x="85" y="29"/>
                  </a:cubicBezTo>
                  <a:cubicBezTo>
                    <a:pt x="94" y="19"/>
                    <a:pt x="103" y="9"/>
                    <a:pt x="113" y="0"/>
                  </a:cubicBezTo>
                  <a:cubicBezTo>
                    <a:pt x="115" y="6"/>
                    <a:pt x="117" y="13"/>
                    <a:pt x="119" y="20"/>
                  </a:cubicBezTo>
                  <a:cubicBezTo>
                    <a:pt x="123" y="20"/>
                    <a:pt x="128" y="20"/>
                    <a:pt x="133" y="20"/>
                  </a:cubicBezTo>
                  <a:cubicBezTo>
                    <a:pt x="135" y="16"/>
                    <a:pt x="138" y="12"/>
                    <a:pt x="140" y="9"/>
                  </a:cubicBezTo>
                  <a:cubicBezTo>
                    <a:pt x="145" y="9"/>
                    <a:pt x="157" y="10"/>
                    <a:pt x="165" y="6"/>
                  </a:cubicBezTo>
                  <a:cubicBezTo>
                    <a:pt x="165" y="8"/>
                    <a:pt x="169" y="13"/>
                    <a:pt x="174" y="19"/>
                  </a:cubicBezTo>
                  <a:cubicBezTo>
                    <a:pt x="173" y="28"/>
                    <a:pt x="173" y="36"/>
                    <a:pt x="173" y="44"/>
                  </a:cubicBezTo>
                  <a:cubicBezTo>
                    <a:pt x="181" y="52"/>
                    <a:pt x="198" y="61"/>
                    <a:pt x="216" y="61"/>
                  </a:cubicBezTo>
                  <a:cubicBezTo>
                    <a:pt x="223" y="49"/>
                    <a:pt x="231" y="38"/>
                    <a:pt x="238" y="26"/>
                  </a:cubicBezTo>
                  <a:cubicBezTo>
                    <a:pt x="241" y="22"/>
                    <a:pt x="244" y="19"/>
                    <a:pt x="248" y="16"/>
                  </a:cubicBezTo>
                  <a:cubicBezTo>
                    <a:pt x="255" y="11"/>
                    <a:pt x="264" y="7"/>
                    <a:pt x="277" y="9"/>
                  </a:cubicBezTo>
                  <a:cubicBezTo>
                    <a:pt x="284" y="12"/>
                    <a:pt x="293" y="15"/>
                    <a:pt x="301" y="19"/>
                  </a:cubicBezTo>
                  <a:cubicBezTo>
                    <a:pt x="319" y="18"/>
                    <a:pt x="337" y="17"/>
                    <a:pt x="355" y="17"/>
                  </a:cubicBezTo>
                  <a:cubicBezTo>
                    <a:pt x="356" y="18"/>
                    <a:pt x="357" y="19"/>
                    <a:pt x="359" y="20"/>
                  </a:cubicBezTo>
                  <a:cubicBezTo>
                    <a:pt x="358" y="21"/>
                    <a:pt x="357" y="23"/>
                    <a:pt x="357" y="25"/>
                  </a:cubicBezTo>
                  <a:cubicBezTo>
                    <a:pt x="356" y="30"/>
                    <a:pt x="356" y="36"/>
                    <a:pt x="355" y="42"/>
                  </a:cubicBezTo>
                  <a:cubicBezTo>
                    <a:pt x="349" y="43"/>
                    <a:pt x="342" y="43"/>
                    <a:pt x="336" y="44"/>
                  </a:cubicBezTo>
                  <a:cubicBezTo>
                    <a:pt x="317" y="56"/>
                    <a:pt x="286" y="69"/>
                    <a:pt x="281" y="89"/>
                  </a:cubicBezTo>
                  <a:cubicBezTo>
                    <a:pt x="277" y="91"/>
                    <a:pt x="273" y="93"/>
                    <a:pt x="269" y="95"/>
                  </a:cubicBezTo>
                  <a:cubicBezTo>
                    <a:pt x="264" y="102"/>
                    <a:pt x="257" y="103"/>
                    <a:pt x="251" y="105"/>
                  </a:cubicBezTo>
                  <a:cubicBezTo>
                    <a:pt x="250" y="106"/>
                    <a:pt x="248" y="107"/>
                    <a:pt x="248" y="108"/>
                  </a:cubicBezTo>
                  <a:cubicBezTo>
                    <a:pt x="247" y="115"/>
                    <a:pt x="247" y="121"/>
                    <a:pt x="246" y="128"/>
                  </a:cubicBezTo>
                  <a:cubicBezTo>
                    <a:pt x="241" y="137"/>
                    <a:pt x="230" y="146"/>
                    <a:pt x="225" y="154"/>
                  </a:cubicBezTo>
                  <a:cubicBezTo>
                    <a:pt x="225" y="161"/>
                    <a:pt x="225" y="172"/>
                    <a:pt x="220" y="181"/>
                  </a:cubicBezTo>
                  <a:cubicBezTo>
                    <a:pt x="205" y="181"/>
                    <a:pt x="199" y="188"/>
                    <a:pt x="192" y="197"/>
                  </a:cubicBezTo>
                  <a:cubicBezTo>
                    <a:pt x="191" y="207"/>
                    <a:pt x="188" y="219"/>
                    <a:pt x="177" y="226"/>
                  </a:cubicBezTo>
                  <a:cubicBezTo>
                    <a:pt x="177" y="225"/>
                    <a:pt x="177" y="224"/>
                    <a:pt x="177" y="224"/>
                  </a:cubicBezTo>
                  <a:cubicBezTo>
                    <a:pt x="174" y="222"/>
                    <a:pt x="172" y="220"/>
                    <a:pt x="171" y="219"/>
                  </a:cubicBezTo>
                  <a:cubicBezTo>
                    <a:pt x="167" y="218"/>
                    <a:pt x="164" y="218"/>
                    <a:pt x="161" y="218"/>
                  </a:cubicBezTo>
                  <a:cubicBezTo>
                    <a:pt x="156" y="224"/>
                    <a:pt x="152" y="229"/>
                    <a:pt x="148" y="235"/>
                  </a:cubicBezTo>
                  <a:cubicBezTo>
                    <a:pt x="139" y="238"/>
                    <a:pt x="125" y="235"/>
                    <a:pt x="121" y="233"/>
                  </a:cubicBezTo>
                  <a:cubicBezTo>
                    <a:pt x="119" y="230"/>
                    <a:pt x="118" y="228"/>
                    <a:pt x="118" y="226"/>
                  </a:cubicBezTo>
                  <a:cubicBezTo>
                    <a:pt x="110" y="218"/>
                    <a:pt x="102" y="210"/>
                    <a:pt x="95" y="203"/>
                  </a:cubicBezTo>
                  <a:cubicBezTo>
                    <a:pt x="90" y="203"/>
                    <a:pt x="85" y="203"/>
                    <a:pt x="80" y="203"/>
                  </a:cubicBezTo>
                  <a:cubicBezTo>
                    <a:pt x="78" y="208"/>
                    <a:pt x="78" y="215"/>
                    <a:pt x="77" y="226"/>
                  </a:cubicBezTo>
                  <a:cubicBezTo>
                    <a:pt x="69" y="226"/>
                    <a:pt x="63" y="231"/>
                    <a:pt x="62" y="234"/>
                  </a:cubicBezTo>
                  <a:cubicBezTo>
                    <a:pt x="52" y="234"/>
                    <a:pt x="44" y="239"/>
                    <a:pt x="40" y="240"/>
                  </a:cubicBezTo>
                  <a:close/>
                </a:path>
              </a:pathLst>
            </a:custGeom>
            <a:solidFill>
              <a:srgbClr val="FF0000"/>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34" name="Freeform 68"/>
            <p:cNvSpPr/>
            <p:nvPr/>
          </p:nvSpPr>
          <p:spPr bwMode="auto">
            <a:xfrm rot="252837">
              <a:off x="3505200" y="3024188"/>
              <a:ext cx="319088" cy="522287"/>
            </a:xfrm>
            <a:custGeom>
              <a:avLst/>
              <a:gdLst/>
              <a:ahLst/>
              <a:cxnLst>
                <a:cxn ang="0">
                  <a:pos x="59" y="229"/>
                </a:cxn>
                <a:cxn ang="0">
                  <a:pos x="55" y="210"/>
                </a:cxn>
                <a:cxn ang="0">
                  <a:pos x="48" y="162"/>
                </a:cxn>
                <a:cxn ang="0">
                  <a:pos x="15" y="125"/>
                </a:cxn>
                <a:cxn ang="0">
                  <a:pos x="0" y="117"/>
                </a:cxn>
                <a:cxn ang="0">
                  <a:pos x="38" y="106"/>
                </a:cxn>
                <a:cxn ang="0">
                  <a:pos x="62" y="95"/>
                </a:cxn>
                <a:cxn ang="0">
                  <a:pos x="72" y="82"/>
                </a:cxn>
                <a:cxn ang="0">
                  <a:pos x="71" y="60"/>
                </a:cxn>
                <a:cxn ang="0">
                  <a:pos x="88" y="29"/>
                </a:cxn>
                <a:cxn ang="0">
                  <a:pos x="91" y="12"/>
                </a:cxn>
                <a:cxn ang="0">
                  <a:pos x="124" y="9"/>
                </a:cxn>
                <a:cxn ang="0">
                  <a:pos x="127" y="18"/>
                </a:cxn>
                <a:cxn ang="0">
                  <a:pos x="118" y="38"/>
                </a:cxn>
                <a:cxn ang="0">
                  <a:pos x="109" y="80"/>
                </a:cxn>
                <a:cxn ang="0">
                  <a:pos x="130" y="82"/>
                </a:cxn>
                <a:cxn ang="0">
                  <a:pos x="155" y="101"/>
                </a:cxn>
                <a:cxn ang="0">
                  <a:pos x="144" y="116"/>
                </a:cxn>
                <a:cxn ang="0">
                  <a:pos x="128" y="133"/>
                </a:cxn>
                <a:cxn ang="0">
                  <a:pos x="111" y="157"/>
                </a:cxn>
                <a:cxn ang="0">
                  <a:pos x="100" y="191"/>
                </a:cxn>
                <a:cxn ang="0">
                  <a:pos x="108" y="199"/>
                </a:cxn>
                <a:cxn ang="0">
                  <a:pos x="125" y="219"/>
                </a:cxn>
                <a:cxn ang="0">
                  <a:pos x="121" y="227"/>
                </a:cxn>
                <a:cxn ang="0">
                  <a:pos x="103" y="233"/>
                </a:cxn>
                <a:cxn ang="0">
                  <a:pos x="59" y="229"/>
                </a:cxn>
              </a:cxnLst>
              <a:rect l="0" t="0" r="r" b="b"/>
              <a:pathLst>
                <a:path w="155" h="253">
                  <a:moveTo>
                    <a:pt x="59" y="229"/>
                  </a:moveTo>
                  <a:cubicBezTo>
                    <a:pt x="58" y="222"/>
                    <a:pt x="56" y="216"/>
                    <a:pt x="55" y="210"/>
                  </a:cubicBezTo>
                  <a:cubicBezTo>
                    <a:pt x="53" y="190"/>
                    <a:pt x="49" y="174"/>
                    <a:pt x="48" y="162"/>
                  </a:cubicBezTo>
                  <a:cubicBezTo>
                    <a:pt x="36" y="145"/>
                    <a:pt x="20" y="134"/>
                    <a:pt x="15" y="125"/>
                  </a:cubicBezTo>
                  <a:cubicBezTo>
                    <a:pt x="9" y="122"/>
                    <a:pt x="5" y="120"/>
                    <a:pt x="0" y="117"/>
                  </a:cubicBezTo>
                  <a:cubicBezTo>
                    <a:pt x="3" y="111"/>
                    <a:pt x="27" y="108"/>
                    <a:pt x="38" y="106"/>
                  </a:cubicBezTo>
                  <a:cubicBezTo>
                    <a:pt x="48" y="98"/>
                    <a:pt x="45" y="97"/>
                    <a:pt x="62" y="95"/>
                  </a:cubicBezTo>
                  <a:cubicBezTo>
                    <a:pt x="65" y="91"/>
                    <a:pt x="69" y="87"/>
                    <a:pt x="72" y="82"/>
                  </a:cubicBezTo>
                  <a:cubicBezTo>
                    <a:pt x="72" y="75"/>
                    <a:pt x="71" y="67"/>
                    <a:pt x="71" y="60"/>
                  </a:cubicBezTo>
                  <a:cubicBezTo>
                    <a:pt x="76" y="49"/>
                    <a:pt x="82" y="39"/>
                    <a:pt x="88" y="29"/>
                  </a:cubicBezTo>
                  <a:cubicBezTo>
                    <a:pt x="89" y="23"/>
                    <a:pt x="90" y="17"/>
                    <a:pt x="91" y="12"/>
                  </a:cubicBezTo>
                  <a:cubicBezTo>
                    <a:pt x="102" y="12"/>
                    <a:pt x="111" y="0"/>
                    <a:pt x="124" y="9"/>
                  </a:cubicBezTo>
                  <a:cubicBezTo>
                    <a:pt x="124" y="12"/>
                    <a:pt x="125" y="15"/>
                    <a:pt x="127" y="18"/>
                  </a:cubicBezTo>
                  <a:cubicBezTo>
                    <a:pt x="124" y="25"/>
                    <a:pt x="121" y="31"/>
                    <a:pt x="118" y="38"/>
                  </a:cubicBezTo>
                  <a:cubicBezTo>
                    <a:pt x="107" y="52"/>
                    <a:pt x="106" y="57"/>
                    <a:pt x="109" y="80"/>
                  </a:cubicBezTo>
                  <a:cubicBezTo>
                    <a:pt x="116" y="80"/>
                    <a:pt x="123" y="81"/>
                    <a:pt x="130" y="82"/>
                  </a:cubicBezTo>
                  <a:cubicBezTo>
                    <a:pt x="134" y="87"/>
                    <a:pt x="141" y="97"/>
                    <a:pt x="155" y="101"/>
                  </a:cubicBezTo>
                  <a:cubicBezTo>
                    <a:pt x="154" y="105"/>
                    <a:pt x="150" y="112"/>
                    <a:pt x="144" y="116"/>
                  </a:cubicBezTo>
                  <a:cubicBezTo>
                    <a:pt x="141" y="123"/>
                    <a:pt x="134" y="128"/>
                    <a:pt x="128" y="133"/>
                  </a:cubicBezTo>
                  <a:cubicBezTo>
                    <a:pt x="103" y="133"/>
                    <a:pt x="117" y="138"/>
                    <a:pt x="111" y="157"/>
                  </a:cubicBezTo>
                  <a:cubicBezTo>
                    <a:pt x="101" y="171"/>
                    <a:pt x="100" y="169"/>
                    <a:pt x="100" y="191"/>
                  </a:cubicBezTo>
                  <a:cubicBezTo>
                    <a:pt x="102" y="194"/>
                    <a:pt x="105" y="196"/>
                    <a:pt x="108" y="199"/>
                  </a:cubicBezTo>
                  <a:cubicBezTo>
                    <a:pt x="113" y="200"/>
                    <a:pt x="128" y="203"/>
                    <a:pt x="125" y="219"/>
                  </a:cubicBezTo>
                  <a:cubicBezTo>
                    <a:pt x="124" y="222"/>
                    <a:pt x="122" y="224"/>
                    <a:pt x="121" y="227"/>
                  </a:cubicBezTo>
                  <a:cubicBezTo>
                    <a:pt x="114" y="229"/>
                    <a:pt x="108" y="230"/>
                    <a:pt x="103" y="233"/>
                  </a:cubicBezTo>
                  <a:cubicBezTo>
                    <a:pt x="79" y="253"/>
                    <a:pt x="89" y="251"/>
                    <a:pt x="59" y="229"/>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36" name="Freeform 69"/>
            <p:cNvSpPr/>
            <p:nvPr/>
          </p:nvSpPr>
          <p:spPr bwMode="auto">
            <a:xfrm rot="252837">
              <a:off x="4471988" y="2589213"/>
              <a:ext cx="615950" cy="900112"/>
            </a:xfrm>
            <a:custGeom>
              <a:avLst/>
              <a:gdLst/>
              <a:ahLst/>
              <a:cxnLst>
                <a:cxn ang="0">
                  <a:pos x="100" y="431"/>
                </a:cxn>
                <a:cxn ang="0">
                  <a:pos x="24" y="423"/>
                </a:cxn>
                <a:cxn ang="0">
                  <a:pos x="29" y="381"/>
                </a:cxn>
                <a:cxn ang="0">
                  <a:pos x="3" y="294"/>
                </a:cxn>
                <a:cxn ang="0">
                  <a:pos x="44" y="240"/>
                </a:cxn>
                <a:cxn ang="0">
                  <a:pos x="15" y="189"/>
                </a:cxn>
                <a:cxn ang="0">
                  <a:pos x="10" y="186"/>
                </a:cxn>
                <a:cxn ang="0">
                  <a:pos x="27" y="164"/>
                </a:cxn>
                <a:cxn ang="0">
                  <a:pos x="13" y="141"/>
                </a:cxn>
                <a:cxn ang="0">
                  <a:pos x="0" y="101"/>
                </a:cxn>
                <a:cxn ang="0">
                  <a:pos x="19" y="86"/>
                </a:cxn>
                <a:cxn ang="0">
                  <a:pos x="32" y="52"/>
                </a:cxn>
                <a:cxn ang="0">
                  <a:pos x="55" y="100"/>
                </a:cxn>
                <a:cxn ang="0">
                  <a:pos x="69" y="95"/>
                </a:cxn>
                <a:cxn ang="0">
                  <a:pos x="141" y="60"/>
                </a:cxn>
                <a:cxn ang="0">
                  <a:pos x="162" y="13"/>
                </a:cxn>
                <a:cxn ang="0">
                  <a:pos x="208" y="65"/>
                </a:cxn>
                <a:cxn ang="0">
                  <a:pos x="257" y="86"/>
                </a:cxn>
                <a:cxn ang="0">
                  <a:pos x="252" y="126"/>
                </a:cxn>
                <a:cxn ang="0">
                  <a:pos x="300" y="157"/>
                </a:cxn>
                <a:cxn ang="0">
                  <a:pos x="244" y="220"/>
                </a:cxn>
                <a:cxn ang="0">
                  <a:pos x="196" y="199"/>
                </a:cxn>
                <a:cxn ang="0">
                  <a:pos x="174" y="161"/>
                </a:cxn>
                <a:cxn ang="0">
                  <a:pos x="144" y="111"/>
                </a:cxn>
                <a:cxn ang="0">
                  <a:pos x="97" y="145"/>
                </a:cxn>
                <a:cxn ang="0">
                  <a:pos x="80" y="185"/>
                </a:cxn>
                <a:cxn ang="0">
                  <a:pos x="115" y="211"/>
                </a:cxn>
                <a:cxn ang="0">
                  <a:pos x="153" y="211"/>
                </a:cxn>
                <a:cxn ang="0">
                  <a:pos x="162" y="245"/>
                </a:cxn>
                <a:cxn ang="0">
                  <a:pos x="209" y="290"/>
                </a:cxn>
                <a:cxn ang="0">
                  <a:pos x="157" y="329"/>
                </a:cxn>
                <a:cxn ang="0">
                  <a:pos x="106" y="432"/>
                </a:cxn>
              </a:cxnLst>
              <a:rect l="0" t="0" r="r" b="b"/>
              <a:pathLst>
                <a:path w="300" h="439">
                  <a:moveTo>
                    <a:pt x="107" y="439"/>
                  </a:moveTo>
                  <a:cubicBezTo>
                    <a:pt x="105" y="436"/>
                    <a:pt x="103" y="433"/>
                    <a:pt x="100" y="431"/>
                  </a:cubicBezTo>
                  <a:cubicBezTo>
                    <a:pt x="87" y="431"/>
                    <a:pt x="74" y="431"/>
                    <a:pt x="61" y="432"/>
                  </a:cubicBezTo>
                  <a:cubicBezTo>
                    <a:pt x="48" y="429"/>
                    <a:pt x="36" y="426"/>
                    <a:pt x="24" y="423"/>
                  </a:cubicBezTo>
                  <a:cubicBezTo>
                    <a:pt x="14" y="417"/>
                    <a:pt x="8" y="408"/>
                    <a:pt x="8" y="405"/>
                  </a:cubicBezTo>
                  <a:cubicBezTo>
                    <a:pt x="15" y="397"/>
                    <a:pt x="22" y="389"/>
                    <a:pt x="29" y="381"/>
                  </a:cubicBezTo>
                  <a:cubicBezTo>
                    <a:pt x="31" y="375"/>
                    <a:pt x="32" y="368"/>
                    <a:pt x="35" y="362"/>
                  </a:cubicBezTo>
                  <a:cubicBezTo>
                    <a:pt x="43" y="326"/>
                    <a:pt x="21" y="311"/>
                    <a:pt x="3" y="294"/>
                  </a:cubicBezTo>
                  <a:cubicBezTo>
                    <a:pt x="3" y="271"/>
                    <a:pt x="18" y="264"/>
                    <a:pt x="35" y="254"/>
                  </a:cubicBezTo>
                  <a:cubicBezTo>
                    <a:pt x="38" y="249"/>
                    <a:pt x="41" y="244"/>
                    <a:pt x="44" y="240"/>
                  </a:cubicBezTo>
                  <a:cubicBezTo>
                    <a:pt x="43" y="234"/>
                    <a:pt x="43" y="228"/>
                    <a:pt x="43" y="223"/>
                  </a:cubicBezTo>
                  <a:cubicBezTo>
                    <a:pt x="33" y="207"/>
                    <a:pt x="25" y="197"/>
                    <a:pt x="15" y="189"/>
                  </a:cubicBezTo>
                  <a:cubicBezTo>
                    <a:pt x="13" y="188"/>
                    <a:pt x="11" y="188"/>
                    <a:pt x="10" y="188"/>
                  </a:cubicBezTo>
                  <a:cubicBezTo>
                    <a:pt x="10" y="187"/>
                    <a:pt x="10" y="187"/>
                    <a:pt x="10" y="186"/>
                  </a:cubicBezTo>
                  <a:cubicBezTo>
                    <a:pt x="14" y="183"/>
                    <a:pt x="17" y="180"/>
                    <a:pt x="21" y="177"/>
                  </a:cubicBezTo>
                  <a:cubicBezTo>
                    <a:pt x="23" y="173"/>
                    <a:pt x="27" y="168"/>
                    <a:pt x="27" y="164"/>
                  </a:cubicBezTo>
                  <a:cubicBezTo>
                    <a:pt x="22" y="159"/>
                    <a:pt x="17" y="156"/>
                    <a:pt x="13" y="152"/>
                  </a:cubicBezTo>
                  <a:cubicBezTo>
                    <a:pt x="13" y="148"/>
                    <a:pt x="13" y="144"/>
                    <a:pt x="13" y="141"/>
                  </a:cubicBezTo>
                  <a:cubicBezTo>
                    <a:pt x="7" y="134"/>
                    <a:pt x="2" y="130"/>
                    <a:pt x="0" y="125"/>
                  </a:cubicBezTo>
                  <a:cubicBezTo>
                    <a:pt x="0" y="117"/>
                    <a:pt x="0" y="109"/>
                    <a:pt x="0" y="101"/>
                  </a:cubicBezTo>
                  <a:cubicBezTo>
                    <a:pt x="2" y="97"/>
                    <a:pt x="5" y="93"/>
                    <a:pt x="8" y="91"/>
                  </a:cubicBezTo>
                  <a:cubicBezTo>
                    <a:pt x="8" y="91"/>
                    <a:pt x="16" y="89"/>
                    <a:pt x="19" y="86"/>
                  </a:cubicBezTo>
                  <a:cubicBezTo>
                    <a:pt x="19" y="78"/>
                    <a:pt x="19" y="69"/>
                    <a:pt x="19" y="61"/>
                  </a:cubicBezTo>
                  <a:cubicBezTo>
                    <a:pt x="24" y="56"/>
                    <a:pt x="24" y="54"/>
                    <a:pt x="32" y="52"/>
                  </a:cubicBezTo>
                  <a:cubicBezTo>
                    <a:pt x="36" y="55"/>
                    <a:pt x="44" y="59"/>
                    <a:pt x="44" y="71"/>
                  </a:cubicBezTo>
                  <a:cubicBezTo>
                    <a:pt x="31" y="79"/>
                    <a:pt x="42" y="90"/>
                    <a:pt x="55" y="100"/>
                  </a:cubicBezTo>
                  <a:cubicBezTo>
                    <a:pt x="57" y="100"/>
                    <a:pt x="58" y="100"/>
                    <a:pt x="61" y="101"/>
                  </a:cubicBezTo>
                  <a:cubicBezTo>
                    <a:pt x="63" y="99"/>
                    <a:pt x="66" y="97"/>
                    <a:pt x="69" y="95"/>
                  </a:cubicBezTo>
                  <a:cubicBezTo>
                    <a:pt x="69" y="83"/>
                    <a:pt x="82" y="82"/>
                    <a:pt x="90" y="75"/>
                  </a:cubicBezTo>
                  <a:cubicBezTo>
                    <a:pt x="102" y="59"/>
                    <a:pt x="124" y="71"/>
                    <a:pt x="141" y="60"/>
                  </a:cubicBezTo>
                  <a:cubicBezTo>
                    <a:pt x="140" y="50"/>
                    <a:pt x="140" y="40"/>
                    <a:pt x="140" y="30"/>
                  </a:cubicBezTo>
                  <a:cubicBezTo>
                    <a:pt x="146" y="22"/>
                    <a:pt x="150" y="20"/>
                    <a:pt x="162" y="13"/>
                  </a:cubicBezTo>
                  <a:cubicBezTo>
                    <a:pt x="175" y="0"/>
                    <a:pt x="179" y="13"/>
                    <a:pt x="186" y="30"/>
                  </a:cubicBezTo>
                  <a:cubicBezTo>
                    <a:pt x="193" y="42"/>
                    <a:pt x="200" y="53"/>
                    <a:pt x="208" y="65"/>
                  </a:cubicBezTo>
                  <a:cubicBezTo>
                    <a:pt x="209" y="75"/>
                    <a:pt x="207" y="80"/>
                    <a:pt x="223" y="87"/>
                  </a:cubicBezTo>
                  <a:cubicBezTo>
                    <a:pt x="230" y="87"/>
                    <a:pt x="245" y="85"/>
                    <a:pt x="257" y="86"/>
                  </a:cubicBezTo>
                  <a:cubicBezTo>
                    <a:pt x="252" y="94"/>
                    <a:pt x="245" y="93"/>
                    <a:pt x="241" y="102"/>
                  </a:cubicBezTo>
                  <a:cubicBezTo>
                    <a:pt x="241" y="111"/>
                    <a:pt x="238" y="116"/>
                    <a:pt x="252" y="126"/>
                  </a:cubicBezTo>
                  <a:cubicBezTo>
                    <a:pt x="265" y="128"/>
                    <a:pt x="276" y="141"/>
                    <a:pt x="292" y="149"/>
                  </a:cubicBezTo>
                  <a:cubicBezTo>
                    <a:pt x="294" y="151"/>
                    <a:pt x="297" y="154"/>
                    <a:pt x="300" y="157"/>
                  </a:cubicBezTo>
                  <a:cubicBezTo>
                    <a:pt x="291" y="168"/>
                    <a:pt x="282" y="181"/>
                    <a:pt x="274" y="193"/>
                  </a:cubicBezTo>
                  <a:cubicBezTo>
                    <a:pt x="274" y="204"/>
                    <a:pt x="252" y="216"/>
                    <a:pt x="244" y="220"/>
                  </a:cubicBezTo>
                  <a:cubicBezTo>
                    <a:pt x="237" y="221"/>
                    <a:pt x="230" y="222"/>
                    <a:pt x="223" y="224"/>
                  </a:cubicBezTo>
                  <a:cubicBezTo>
                    <a:pt x="209" y="215"/>
                    <a:pt x="204" y="203"/>
                    <a:pt x="196" y="199"/>
                  </a:cubicBezTo>
                  <a:cubicBezTo>
                    <a:pt x="191" y="187"/>
                    <a:pt x="196" y="174"/>
                    <a:pt x="192" y="168"/>
                  </a:cubicBezTo>
                  <a:cubicBezTo>
                    <a:pt x="186" y="165"/>
                    <a:pt x="180" y="163"/>
                    <a:pt x="174" y="161"/>
                  </a:cubicBezTo>
                  <a:cubicBezTo>
                    <a:pt x="173" y="147"/>
                    <a:pt x="176" y="129"/>
                    <a:pt x="176" y="121"/>
                  </a:cubicBezTo>
                  <a:cubicBezTo>
                    <a:pt x="161" y="120"/>
                    <a:pt x="147" y="120"/>
                    <a:pt x="144" y="111"/>
                  </a:cubicBezTo>
                  <a:cubicBezTo>
                    <a:pt x="126" y="111"/>
                    <a:pt x="127" y="111"/>
                    <a:pt x="123" y="128"/>
                  </a:cubicBezTo>
                  <a:cubicBezTo>
                    <a:pt x="113" y="132"/>
                    <a:pt x="104" y="140"/>
                    <a:pt x="97" y="145"/>
                  </a:cubicBezTo>
                  <a:cubicBezTo>
                    <a:pt x="97" y="150"/>
                    <a:pt x="97" y="154"/>
                    <a:pt x="103" y="164"/>
                  </a:cubicBezTo>
                  <a:cubicBezTo>
                    <a:pt x="101" y="179"/>
                    <a:pt x="84" y="176"/>
                    <a:pt x="80" y="185"/>
                  </a:cubicBezTo>
                  <a:cubicBezTo>
                    <a:pt x="80" y="192"/>
                    <a:pt x="75" y="204"/>
                    <a:pt x="80" y="211"/>
                  </a:cubicBezTo>
                  <a:cubicBezTo>
                    <a:pt x="91" y="211"/>
                    <a:pt x="103" y="211"/>
                    <a:pt x="115" y="211"/>
                  </a:cubicBezTo>
                  <a:cubicBezTo>
                    <a:pt x="123" y="204"/>
                    <a:pt x="124" y="198"/>
                    <a:pt x="141" y="200"/>
                  </a:cubicBezTo>
                  <a:cubicBezTo>
                    <a:pt x="144" y="205"/>
                    <a:pt x="148" y="205"/>
                    <a:pt x="153" y="211"/>
                  </a:cubicBezTo>
                  <a:cubicBezTo>
                    <a:pt x="155" y="214"/>
                    <a:pt x="157" y="217"/>
                    <a:pt x="159" y="221"/>
                  </a:cubicBezTo>
                  <a:cubicBezTo>
                    <a:pt x="160" y="229"/>
                    <a:pt x="161" y="237"/>
                    <a:pt x="162" y="245"/>
                  </a:cubicBezTo>
                  <a:cubicBezTo>
                    <a:pt x="169" y="254"/>
                    <a:pt x="179" y="266"/>
                    <a:pt x="197" y="271"/>
                  </a:cubicBezTo>
                  <a:cubicBezTo>
                    <a:pt x="201" y="277"/>
                    <a:pt x="205" y="283"/>
                    <a:pt x="209" y="290"/>
                  </a:cubicBezTo>
                  <a:cubicBezTo>
                    <a:pt x="200" y="290"/>
                    <a:pt x="196" y="300"/>
                    <a:pt x="190" y="303"/>
                  </a:cubicBezTo>
                  <a:cubicBezTo>
                    <a:pt x="185" y="314"/>
                    <a:pt x="167" y="326"/>
                    <a:pt x="157" y="329"/>
                  </a:cubicBezTo>
                  <a:cubicBezTo>
                    <a:pt x="146" y="336"/>
                    <a:pt x="137" y="344"/>
                    <a:pt x="131" y="356"/>
                  </a:cubicBezTo>
                  <a:cubicBezTo>
                    <a:pt x="104" y="383"/>
                    <a:pt x="88" y="388"/>
                    <a:pt x="106" y="432"/>
                  </a:cubicBezTo>
                  <a:cubicBezTo>
                    <a:pt x="106" y="435"/>
                    <a:pt x="107" y="437"/>
                    <a:pt x="107" y="439"/>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37" name="Freeform 71"/>
            <p:cNvSpPr/>
            <p:nvPr/>
          </p:nvSpPr>
          <p:spPr bwMode="auto">
            <a:xfrm rot="252837">
              <a:off x="2914650" y="1160463"/>
              <a:ext cx="2511425" cy="2147887"/>
            </a:xfrm>
            <a:custGeom>
              <a:avLst/>
              <a:gdLst/>
              <a:ahLst/>
              <a:cxnLst>
                <a:cxn ang="0">
                  <a:pos x="303" y="960"/>
                </a:cxn>
                <a:cxn ang="0">
                  <a:pos x="284" y="918"/>
                </a:cxn>
                <a:cxn ang="0">
                  <a:pos x="196" y="965"/>
                </a:cxn>
                <a:cxn ang="0">
                  <a:pos x="107" y="886"/>
                </a:cxn>
                <a:cxn ang="0">
                  <a:pos x="121" y="820"/>
                </a:cxn>
                <a:cxn ang="0">
                  <a:pos x="28" y="800"/>
                </a:cxn>
                <a:cxn ang="0">
                  <a:pos x="0" y="716"/>
                </a:cxn>
                <a:cxn ang="0">
                  <a:pos x="193" y="723"/>
                </a:cxn>
                <a:cxn ang="0">
                  <a:pos x="275" y="766"/>
                </a:cxn>
                <a:cxn ang="0">
                  <a:pos x="419" y="756"/>
                </a:cxn>
                <a:cxn ang="0">
                  <a:pos x="567" y="726"/>
                </a:cxn>
                <a:cxn ang="0">
                  <a:pos x="683" y="638"/>
                </a:cxn>
                <a:cxn ang="0">
                  <a:pos x="680" y="549"/>
                </a:cxn>
                <a:cxn ang="0">
                  <a:pos x="785" y="522"/>
                </a:cxn>
                <a:cxn ang="0">
                  <a:pos x="861" y="475"/>
                </a:cxn>
                <a:cxn ang="0">
                  <a:pos x="1005" y="419"/>
                </a:cxn>
                <a:cxn ang="0">
                  <a:pos x="947" y="330"/>
                </a:cxn>
                <a:cxn ang="0">
                  <a:pos x="900" y="361"/>
                </a:cxn>
                <a:cxn ang="0">
                  <a:pos x="808" y="344"/>
                </a:cxn>
                <a:cxn ang="0">
                  <a:pos x="843" y="238"/>
                </a:cxn>
                <a:cxn ang="0">
                  <a:pos x="958" y="135"/>
                </a:cxn>
                <a:cxn ang="0">
                  <a:pos x="963" y="46"/>
                </a:cxn>
                <a:cxn ang="0">
                  <a:pos x="1012" y="8"/>
                </a:cxn>
                <a:cxn ang="0">
                  <a:pos x="1033" y="64"/>
                </a:cxn>
                <a:cxn ang="0">
                  <a:pos x="1081" y="99"/>
                </a:cxn>
                <a:cxn ang="0">
                  <a:pos x="1192" y="81"/>
                </a:cxn>
                <a:cxn ang="0">
                  <a:pos x="1202" y="205"/>
                </a:cxn>
                <a:cxn ang="0">
                  <a:pos x="1189" y="266"/>
                </a:cxn>
                <a:cxn ang="0">
                  <a:pos x="1124" y="339"/>
                </a:cxn>
                <a:cxn ang="0">
                  <a:pos x="1167" y="387"/>
                </a:cxn>
                <a:cxn ang="0">
                  <a:pos x="1170" y="420"/>
                </a:cxn>
                <a:cxn ang="0">
                  <a:pos x="1104" y="431"/>
                </a:cxn>
                <a:cxn ang="0">
                  <a:pos x="1131" y="508"/>
                </a:cxn>
                <a:cxn ang="0">
                  <a:pos x="1170" y="537"/>
                </a:cxn>
                <a:cxn ang="0">
                  <a:pos x="1225" y="595"/>
                </a:cxn>
                <a:cxn ang="0">
                  <a:pos x="1157" y="651"/>
                </a:cxn>
                <a:cxn ang="0">
                  <a:pos x="1087" y="711"/>
                </a:cxn>
                <a:cxn ang="0">
                  <a:pos x="1049" y="730"/>
                </a:cxn>
                <a:cxn ang="0">
                  <a:pos x="972" y="684"/>
                </a:cxn>
                <a:cxn ang="0">
                  <a:pos x="887" y="735"/>
                </a:cxn>
                <a:cxn ang="0">
                  <a:pos x="838" y="747"/>
                </a:cxn>
                <a:cxn ang="0">
                  <a:pos x="786" y="767"/>
                </a:cxn>
                <a:cxn ang="0">
                  <a:pos x="793" y="825"/>
                </a:cxn>
                <a:cxn ang="0">
                  <a:pos x="705" y="866"/>
                </a:cxn>
                <a:cxn ang="0">
                  <a:pos x="633" y="917"/>
                </a:cxn>
                <a:cxn ang="0">
                  <a:pos x="554" y="1003"/>
                </a:cxn>
                <a:cxn ang="0">
                  <a:pos x="470" y="1014"/>
                </a:cxn>
                <a:cxn ang="0">
                  <a:pos x="459" y="940"/>
                </a:cxn>
                <a:cxn ang="0">
                  <a:pos x="403" y="964"/>
                </a:cxn>
                <a:cxn ang="0">
                  <a:pos x="362" y="1026"/>
                </a:cxn>
              </a:cxnLst>
              <a:rect l="0" t="0" r="r" b="b"/>
              <a:pathLst>
                <a:path w="1225" h="1047">
                  <a:moveTo>
                    <a:pt x="313" y="1047"/>
                  </a:moveTo>
                  <a:cubicBezTo>
                    <a:pt x="306" y="1040"/>
                    <a:pt x="299" y="1033"/>
                    <a:pt x="291" y="1027"/>
                  </a:cubicBezTo>
                  <a:cubicBezTo>
                    <a:pt x="287" y="1019"/>
                    <a:pt x="284" y="1011"/>
                    <a:pt x="280" y="1004"/>
                  </a:cubicBezTo>
                  <a:cubicBezTo>
                    <a:pt x="280" y="981"/>
                    <a:pt x="283" y="971"/>
                    <a:pt x="303" y="960"/>
                  </a:cubicBezTo>
                  <a:cubicBezTo>
                    <a:pt x="306" y="957"/>
                    <a:pt x="309" y="954"/>
                    <a:pt x="313" y="951"/>
                  </a:cubicBezTo>
                  <a:cubicBezTo>
                    <a:pt x="315" y="947"/>
                    <a:pt x="318" y="942"/>
                    <a:pt x="321" y="938"/>
                  </a:cubicBezTo>
                  <a:cubicBezTo>
                    <a:pt x="320" y="935"/>
                    <a:pt x="320" y="932"/>
                    <a:pt x="320" y="929"/>
                  </a:cubicBezTo>
                  <a:cubicBezTo>
                    <a:pt x="309" y="909"/>
                    <a:pt x="301" y="912"/>
                    <a:pt x="284" y="918"/>
                  </a:cubicBezTo>
                  <a:cubicBezTo>
                    <a:pt x="279" y="922"/>
                    <a:pt x="275" y="925"/>
                    <a:pt x="271" y="929"/>
                  </a:cubicBezTo>
                  <a:cubicBezTo>
                    <a:pt x="264" y="932"/>
                    <a:pt x="258" y="935"/>
                    <a:pt x="251" y="938"/>
                  </a:cubicBezTo>
                  <a:cubicBezTo>
                    <a:pt x="247" y="932"/>
                    <a:pt x="243" y="932"/>
                    <a:pt x="240" y="930"/>
                  </a:cubicBezTo>
                  <a:cubicBezTo>
                    <a:pt x="198" y="930"/>
                    <a:pt x="199" y="927"/>
                    <a:pt x="196" y="965"/>
                  </a:cubicBezTo>
                  <a:cubicBezTo>
                    <a:pt x="188" y="973"/>
                    <a:pt x="175" y="961"/>
                    <a:pt x="172" y="961"/>
                  </a:cubicBezTo>
                  <a:cubicBezTo>
                    <a:pt x="165" y="951"/>
                    <a:pt x="157" y="942"/>
                    <a:pt x="152" y="938"/>
                  </a:cubicBezTo>
                  <a:cubicBezTo>
                    <a:pt x="146" y="922"/>
                    <a:pt x="140" y="911"/>
                    <a:pt x="128" y="908"/>
                  </a:cubicBezTo>
                  <a:cubicBezTo>
                    <a:pt x="121" y="901"/>
                    <a:pt x="114" y="894"/>
                    <a:pt x="107" y="886"/>
                  </a:cubicBezTo>
                  <a:cubicBezTo>
                    <a:pt x="103" y="885"/>
                    <a:pt x="99" y="884"/>
                    <a:pt x="95" y="884"/>
                  </a:cubicBezTo>
                  <a:cubicBezTo>
                    <a:pt x="95" y="868"/>
                    <a:pt x="111" y="866"/>
                    <a:pt x="119" y="855"/>
                  </a:cubicBezTo>
                  <a:cubicBezTo>
                    <a:pt x="122" y="849"/>
                    <a:pt x="124" y="843"/>
                    <a:pt x="127" y="838"/>
                  </a:cubicBezTo>
                  <a:cubicBezTo>
                    <a:pt x="127" y="828"/>
                    <a:pt x="126" y="823"/>
                    <a:pt x="121" y="820"/>
                  </a:cubicBezTo>
                  <a:cubicBezTo>
                    <a:pt x="97" y="820"/>
                    <a:pt x="72" y="823"/>
                    <a:pt x="52" y="831"/>
                  </a:cubicBezTo>
                  <a:cubicBezTo>
                    <a:pt x="44" y="837"/>
                    <a:pt x="42" y="836"/>
                    <a:pt x="36" y="836"/>
                  </a:cubicBezTo>
                  <a:cubicBezTo>
                    <a:pt x="36" y="828"/>
                    <a:pt x="36" y="820"/>
                    <a:pt x="37" y="812"/>
                  </a:cubicBezTo>
                  <a:cubicBezTo>
                    <a:pt x="34" y="808"/>
                    <a:pt x="31" y="804"/>
                    <a:pt x="28" y="800"/>
                  </a:cubicBezTo>
                  <a:cubicBezTo>
                    <a:pt x="21" y="795"/>
                    <a:pt x="15" y="789"/>
                    <a:pt x="8" y="783"/>
                  </a:cubicBezTo>
                  <a:cubicBezTo>
                    <a:pt x="8" y="772"/>
                    <a:pt x="12" y="770"/>
                    <a:pt x="15" y="760"/>
                  </a:cubicBezTo>
                  <a:cubicBezTo>
                    <a:pt x="15" y="748"/>
                    <a:pt x="15" y="739"/>
                    <a:pt x="12" y="731"/>
                  </a:cubicBezTo>
                  <a:cubicBezTo>
                    <a:pt x="8" y="726"/>
                    <a:pt x="4" y="720"/>
                    <a:pt x="0" y="716"/>
                  </a:cubicBezTo>
                  <a:cubicBezTo>
                    <a:pt x="0" y="709"/>
                    <a:pt x="0" y="703"/>
                    <a:pt x="0" y="697"/>
                  </a:cubicBezTo>
                  <a:cubicBezTo>
                    <a:pt x="19" y="701"/>
                    <a:pt x="38" y="706"/>
                    <a:pt x="56" y="711"/>
                  </a:cubicBezTo>
                  <a:cubicBezTo>
                    <a:pt x="89" y="711"/>
                    <a:pt x="121" y="711"/>
                    <a:pt x="154" y="711"/>
                  </a:cubicBezTo>
                  <a:cubicBezTo>
                    <a:pt x="162" y="714"/>
                    <a:pt x="181" y="717"/>
                    <a:pt x="193" y="723"/>
                  </a:cubicBezTo>
                  <a:cubicBezTo>
                    <a:pt x="203" y="731"/>
                    <a:pt x="214" y="739"/>
                    <a:pt x="224" y="748"/>
                  </a:cubicBezTo>
                  <a:cubicBezTo>
                    <a:pt x="227" y="749"/>
                    <a:pt x="230" y="750"/>
                    <a:pt x="233" y="752"/>
                  </a:cubicBezTo>
                  <a:cubicBezTo>
                    <a:pt x="242" y="753"/>
                    <a:pt x="252" y="755"/>
                    <a:pt x="262" y="757"/>
                  </a:cubicBezTo>
                  <a:cubicBezTo>
                    <a:pt x="266" y="760"/>
                    <a:pt x="270" y="763"/>
                    <a:pt x="275" y="766"/>
                  </a:cubicBezTo>
                  <a:cubicBezTo>
                    <a:pt x="287" y="769"/>
                    <a:pt x="300" y="773"/>
                    <a:pt x="312" y="777"/>
                  </a:cubicBezTo>
                  <a:cubicBezTo>
                    <a:pt x="322" y="782"/>
                    <a:pt x="332" y="806"/>
                    <a:pt x="352" y="791"/>
                  </a:cubicBezTo>
                  <a:cubicBezTo>
                    <a:pt x="359" y="781"/>
                    <a:pt x="370" y="777"/>
                    <a:pt x="382" y="773"/>
                  </a:cubicBezTo>
                  <a:cubicBezTo>
                    <a:pt x="395" y="762"/>
                    <a:pt x="399" y="760"/>
                    <a:pt x="419" y="756"/>
                  </a:cubicBezTo>
                  <a:cubicBezTo>
                    <a:pt x="419" y="750"/>
                    <a:pt x="432" y="750"/>
                    <a:pt x="436" y="747"/>
                  </a:cubicBezTo>
                  <a:cubicBezTo>
                    <a:pt x="448" y="745"/>
                    <a:pt x="458" y="733"/>
                    <a:pt x="469" y="732"/>
                  </a:cubicBezTo>
                  <a:cubicBezTo>
                    <a:pt x="479" y="725"/>
                    <a:pt x="487" y="725"/>
                    <a:pt x="502" y="726"/>
                  </a:cubicBezTo>
                  <a:cubicBezTo>
                    <a:pt x="514" y="729"/>
                    <a:pt x="555" y="739"/>
                    <a:pt x="567" y="726"/>
                  </a:cubicBezTo>
                  <a:cubicBezTo>
                    <a:pt x="594" y="724"/>
                    <a:pt x="613" y="699"/>
                    <a:pt x="630" y="678"/>
                  </a:cubicBezTo>
                  <a:cubicBezTo>
                    <a:pt x="636" y="673"/>
                    <a:pt x="643" y="668"/>
                    <a:pt x="649" y="663"/>
                  </a:cubicBezTo>
                  <a:cubicBezTo>
                    <a:pt x="654" y="658"/>
                    <a:pt x="660" y="653"/>
                    <a:pt x="666" y="649"/>
                  </a:cubicBezTo>
                  <a:cubicBezTo>
                    <a:pt x="670" y="647"/>
                    <a:pt x="678" y="643"/>
                    <a:pt x="683" y="638"/>
                  </a:cubicBezTo>
                  <a:cubicBezTo>
                    <a:pt x="683" y="633"/>
                    <a:pt x="683" y="628"/>
                    <a:pt x="683" y="623"/>
                  </a:cubicBezTo>
                  <a:cubicBezTo>
                    <a:pt x="676" y="617"/>
                    <a:pt x="670" y="611"/>
                    <a:pt x="663" y="605"/>
                  </a:cubicBezTo>
                  <a:cubicBezTo>
                    <a:pt x="662" y="601"/>
                    <a:pt x="661" y="597"/>
                    <a:pt x="660" y="593"/>
                  </a:cubicBezTo>
                  <a:cubicBezTo>
                    <a:pt x="662" y="571"/>
                    <a:pt x="661" y="557"/>
                    <a:pt x="680" y="549"/>
                  </a:cubicBezTo>
                  <a:cubicBezTo>
                    <a:pt x="680" y="542"/>
                    <a:pt x="693" y="553"/>
                    <a:pt x="707" y="564"/>
                  </a:cubicBezTo>
                  <a:cubicBezTo>
                    <a:pt x="712" y="565"/>
                    <a:pt x="716" y="567"/>
                    <a:pt x="722" y="568"/>
                  </a:cubicBezTo>
                  <a:cubicBezTo>
                    <a:pt x="726" y="568"/>
                    <a:pt x="732" y="568"/>
                    <a:pt x="737" y="568"/>
                  </a:cubicBezTo>
                  <a:cubicBezTo>
                    <a:pt x="755" y="563"/>
                    <a:pt x="771" y="538"/>
                    <a:pt x="785" y="522"/>
                  </a:cubicBezTo>
                  <a:cubicBezTo>
                    <a:pt x="794" y="513"/>
                    <a:pt x="802" y="518"/>
                    <a:pt x="817" y="518"/>
                  </a:cubicBezTo>
                  <a:cubicBezTo>
                    <a:pt x="822" y="512"/>
                    <a:pt x="829" y="511"/>
                    <a:pt x="837" y="508"/>
                  </a:cubicBezTo>
                  <a:cubicBezTo>
                    <a:pt x="842" y="503"/>
                    <a:pt x="847" y="498"/>
                    <a:pt x="852" y="493"/>
                  </a:cubicBezTo>
                  <a:cubicBezTo>
                    <a:pt x="857" y="493"/>
                    <a:pt x="861" y="476"/>
                    <a:pt x="861" y="475"/>
                  </a:cubicBezTo>
                  <a:cubicBezTo>
                    <a:pt x="871" y="447"/>
                    <a:pt x="878" y="457"/>
                    <a:pt x="903" y="446"/>
                  </a:cubicBezTo>
                  <a:cubicBezTo>
                    <a:pt x="911" y="436"/>
                    <a:pt x="920" y="431"/>
                    <a:pt x="932" y="425"/>
                  </a:cubicBezTo>
                  <a:cubicBezTo>
                    <a:pt x="941" y="416"/>
                    <a:pt x="977" y="422"/>
                    <a:pt x="997" y="423"/>
                  </a:cubicBezTo>
                  <a:cubicBezTo>
                    <a:pt x="999" y="422"/>
                    <a:pt x="1002" y="420"/>
                    <a:pt x="1005" y="419"/>
                  </a:cubicBezTo>
                  <a:cubicBezTo>
                    <a:pt x="1018" y="406"/>
                    <a:pt x="1011" y="389"/>
                    <a:pt x="1005" y="380"/>
                  </a:cubicBezTo>
                  <a:cubicBezTo>
                    <a:pt x="1000" y="376"/>
                    <a:pt x="995" y="371"/>
                    <a:pt x="990" y="367"/>
                  </a:cubicBezTo>
                  <a:cubicBezTo>
                    <a:pt x="982" y="361"/>
                    <a:pt x="973" y="356"/>
                    <a:pt x="964" y="351"/>
                  </a:cubicBezTo>
                  <a:cubicBezTo>
                    <a:pt x="962" y="341"/>
                    <a:pt x="949" y="331"/>
                    <a:pt x="947" y="330"/>
                  </a:cubicBezTo>
                  <a:cubicBezTo>
                    <a:pt x="941" y="330"/>
                    <a:pt x="935" y="330"/>
                    <a:pt x="929" y="330"/>
                  </a:cubicBezTo>
                  <a:cubicBezTo>
                    <a:pt x="926" y="333"/>
                    <a:pt x="923" y="337"/>
                    <a:pt x="921" y="340"/>
                  </a:cubicBezTo>
                  <a:cubicBezTo>
                    <a:pt x="915" y="340"/>
                    <a:pt x="909" y="340"/>
                    <a:pt x="904" y="340"/>
                  </a:cubicBezTo>
                  <a:cubicBezTo>
                    <a:pt x="903" y="347"/>
                    <a:pt x="901" y="354"/>
                    <a:pt x="900" y="361"/>
                  </a:cubicBezTo>
                  <a:cubicBezTo>
                    <a:pt x="887" y="366"/>
                    <a:pt x="872" y="354"/>
                    <a:pt x="867" y="352"/>
                  </a:cubicBezTo>
                  <a:cubicBezTo>
                    <a:pt x="861" y="352"/>
                    <a:pt x="856" y="352"/>
                    <a:pt x="851" y="352"/>
                  </a:cubicBezTo>
                  <a:cubicBezTo>
                    <a:pt x="840" y="356"/>
                    <a:pt x="835" y="361"/>
                    <a:pt x="828" y="366"/>
                  </a:cubicBezTo>
                  <a:cubicBezTo>
                    <a:pt x="811" y="366"/>
                    <a:pt x="808" y="353"/>
                    <a:pt x="808" y="344"/>
                  </a:cubicBezTo>
                  <a:cubicBezTo>
                    <a:pt x="813" y="339"/>
                    <a:pt x="819" y="334"/>
                    <a:pt x="825" y="328"/>
                  </a:cubicBezTo>
                  <a:cubicBezTo>
                    <a:pt x="825" y="314"/>
                    <a:pt x="824" y="307"/>
                    <a:pt x="825" y="298"/>
                  </a:cubicBezTo>
                  <a:cubicBezTo>
                    <a:pt x="828" y="290"/>
                    <a:pt x="832" y="283"/>
                    <a:pt x="835" y="276"/>
                  </a:cubicBezTo>
                  <a:cubicBezTo>
                    <a:pt x="835" y="258"/>
                    <a:pt x="834" y="249"/>
                    <a:pt x="843" y="238"/>
                  </a:cubicBezTo>
                  <a:cubicBezTo>
                    <a:pt x="847" y="238"/>
                    <a:pt x="850" y="238"/>
                    <a:pt x="854" y="238"/>
                  </a:cubicBezTo>
                  <a:cubicBezTo>
                    <a:pt x="870" y="240"/>
                    <a:pt x="897" y="246"/>
                    <a:pt x="914" y="233"/>
                  </a:cubicBezTo>
                  <a:cubicBezTo>
                    <a:pt x="924" y="222"/>
                    <a:pt x="937" y="214"/>
                    <a:pt x="946" y="202"/>
                  </a:cubicBezTo>
                  <a:cubicBezTo>
                    <a:pt x="946" y="185"/>
                    <a:pt x="944" y="142"/>
                    <a:pt x="958" y="135"/>
                  </a:cubicBezTo>
                  <a:cubicBezTo>
                    <a:pt x="971" y="118"/>
                    <a:pt x="965" y="100"/>
                    <a:pt x="978" y="87"/>
                  </a:cubicBezTo>
                  <a:cubicBezTo>
                    <a:pt x="977" y="80"/>
                    <a:pt x="977" y="72"/>
                    <a:pt x="977" y="64"/>
                  </a:cubicBezTo>
                  <a:cubicBezTo>
                    <a:pt x="976" y="63"/>
                    <a:pt x="976" y="61"/>
                    <a:pt x="975" y="59"/>
                  </a:cubicBezTo>
                  <a:cubicBezTo>
                    <a:pt x="971" y="54"/>
                    <a:pt x="967" y="50"/>
                    <a:pt x="963" y="46"/>
                  </a:cubicBezTo>
                  <a:cubicBezTo>
                    <a:pt x="959" y="43"/>
                    <a:pt x="955" y="41"/>
                    <a:pt x="951" y="40"/>
                  </a:cubicBezTo>
                  <a:cubicBezTo>
                    <a:pt x="951" y="23"/>
                    <a:pt x="960" y="17"/>
                    <a:pt x="974" y="10"/>
                  </a:cubicBezTo>
                  <a:cubicBezTo>
                    <a:pt x="986" y="10"/>
                    <a:pt x="993" y="0"/>
                    <a:pt x="1006" y="0"/>
                  </a:cubicBezTo>
                  <a:cubicBezTo>
                    <a:pt x="1006" y="3"/>
                    <a:pt x="1009" y="5"/>
                    <a:pt x="1012" y="8"/>
                  </a:cubicBezTo>
                  <a:cubicBezTo>
                    <a:pt x="1012" y="13"/>
                    <a:pt x="1011" y="18"/>
                    <a:pt x="1010" y="23"/>
                  </a:cubicBezTo>
                  <a:cubicBezTo>
                    <a:pt x="1003" y="31"/>
                    <a:pt x="999" y="31"/>
                    <a:pt x="999" y="43"/>
                  </a:cubicBezTo>
                  <a:cubicBezTo>
                    <a:pt x="1003" y="46"/>
                    <a:pt x="1007" y="50"/>
                    <a:pt x="1012" y="53"/>
                  </a:cubicBezTo>
                  <a:cubicBezTo>
                    <a:pt x="1017" y="60"/>
                    <a:pt x="1019" y="62"/>
                    <a:pt x="1033" y="64"/>
                  </a:cubicBezTo>
                  <a:cubicBezTo>
                    <a:pt x="1035" y="57"/>
                    <a:pt x="1036" y="51"/>
                    <a:pt x="1037" y="44"/>
                  </a:cubicBezTo>
                  <a:cubicBezTo>
                    <a:pt x="1043" y="44"/>
                    <a:pt x="1050" y="43"/>
                    <a:pt x="1062" y="50"/>
                  </a:cubicBezTo>
                  <a:cubicBezTo>
                    <a:pt x="1063" y="53"/>
                    <a:pt x="1065" y="55"/>
                    <a:pt x="1066" y="57"/>
                  </a:cubicBezTo>
                  <a:cubicBezTo>
                    <a:pt x="1068" y="70"/>
                    <a:pt x="1071" y="86"/>
                    <a:pt x="1081" y="99"/>
                  </a:cubicBezTo>
                  <a:cubicBezTo>
                    <a:pt x="1082" y="100"/>
                    <a:pt x="1085" y="101"/>
                    <a:pt x="1087" y="103"/>
                  </a:cubicBezTo>
                  <a:cubicBezTo>
                    <a:pt x="1092" y="102"/>
                    <a:pt x="1098" y="102"/>
                    <a:pt x="1104" y="101"/>
                  </a:cubicBezTo>
                  <a:cubicBezTo>
                    <a:pt x="1119" y="93"/>
                    <a:pt x="1137" y="99"/>
                    <a:pt x="1152" y="84"/>
                  </a:cubicBezTo>
                  <a:cubicBezTo>
                    <a:pt x="1161" y="62"/>
                    <a:pt x="1177" y="58"/>
                    <a:pt x="1192" y="81"/>
                  </a:cubicBezTo>
                  <a:cubicBezTo>
                    <a:pt x="1196" y="91"/>
                    <a:pt x="1200" y="101"/>
                    <a:pt x="1204" y="111"/>
                  </a:cubicBezTo>
                  <a:cubicBezTo>
                    <a:pt x="1204" y="121"/>
                    <a:pt x="1195" y="154"/>
                    <a:pt x="1189" y="165"/>
                  </a:cubicBezTo>
                  <a:cubicBezTo>
                    <a:pt x="1189" y="169"/>
                    <a:pt x="1189" y="174"/>
                    <a:pt x="1189" y="179"/>
                  </a:cubicBezTo>
                  <a:cubicBezTo>
                    <a:pt x="1193" y="187"/>
                    <a:pt x="1197" y="196"/>
                    <a:pt x="1202" y="205"/>
                  </a:cubicBezTo>
                  <a:cubicBezTo>
                    <a:pt x="1202" y="215"/>
                    <a:pt x="1184" y="237"/>
                    <a:pt x="1205" y="251"/>
                  </a:cubicBezTo>
                  <a:cubicBezTo>
                    <a:pt x="1207" y="258"/>
                    <a:pt x="1206" y="272"/>
                    <a:pt x="1205" y="285"/>
                  </a:cubicBezTo>
                  <a:cubicBezTo>
                    <a:pt x="1201" y="286"/>
                    <a:pt x="1197" y="287"/>
                    <a:pt x="1193" y="287"/>
                  </a:cubicBezTo>
                  <a:cubicBezTo>
                    <a:pt x="1185" y="279"/>
                    <a:pt x="1189" y="271"/>
                    <a:pt x="1189" y="266"/>
                  </a:cubicBezTo>
                  <a:cubicBezTo>
                    <a:pt x="1187" y="260"/>
                    <a:pt x="1187" y="260"/>
                    <a:pt x="1182" y="256"/>
                  </a:cubicBezTo>
                  <a:cubicBezTo>
                    <a:pt x="1158" y="257"/>
                    <a:pt x="1175" y="265"/>
                    <a:pt x="1166" y="280"/>
                  </a:cubicBezTo>
                  <a:cubicBezTo>
                    <a:pt x="1154" y="291"/>
                    <a:pt x="1149" y="298"/>
                    <a:pt x="1145" y="315"/>
                  </a:cubicBezTo>
                  <a:cubicBezTo>
                    <a:pt x="1142" y="323"/>
                    <a:pt x="1131" y="334"/>
                    <a:pt x="1124" y="339"/>
                  </a:cubicBezTo>
                  <a:cubicBezTo>
                    <a:pt x="1123" y="346"/>
                    <a:pt x="1122" y="353"/>
                    <a:pt x="1122" y="360"/>
                  </a:cubicBezTo>
                  <a:cubicBezTo>
                    <a:pt x="1126" y="364"/>
                    <a:pt x="1128" y="367"/>
                    <a:pt x="1134" y="377"/>
                  </a:cubicBezTo>
                  <a:cubicBezTo>
                    <a:pt x="1139" y="380"/>
                    <a:pt x="1146" y="384"/>
                    <a:pt x="1152" y="389"/>
                  </a:cubicBezTo>
                  <a:cubicBezTo>
                    <a:pt x="1157" y="388"/>
                    <a:pt x="1162" y="387"/>
                    <a:pt x="1167" y="387"/>
                  </a:cubicBezTo>
                  <a:cubicBezTo>
                    <a:pt x="1169" y="383"/>
                    <a:pt x="1172" y="378"/>
                    <a:pt x="1175" y="374"/>
                  </a:cubicBezTo>
                  <a:cubicBezTo>
                    <a:pt x="1176" y="376"/>
                    <a:pt x="1181" y="383"/>
                    <a:pt x="1181" y="393"/>
                  </a:cubicBezTo>
                  <a:cubicBezTo>
                    <a:pt x="1174" y="395"/>
                    <a:pt x="1167" y="397"/>
                    <a:pt x="1161" y="400"/>
                  </a:cubicBezTo>
                  <a:cubicBezTo>
                    <a:pt x="1161" y="405"/>
                    <a:pt x="1159" y="415"/>
                    <a:pt x="1170" y="420"/>
                  </a:cubicBezTo>
                  <a:cubicBezTo>
                    <a:pt x="1163" y="430"/>
                    <a:pt x="1154" y="442"/>
                    <a:pt x="1145" y="447"/>
                  </a:cubicBezTo>
                  <a:cubicBezTo>
                    <a:pt x="1142" y="447"/>
                    <a:pt x="1139" y="446"/>
                    <a:pt x="1137" y="446"/>
                  </a:cubicBezTo>
                  <a:cubicBezTo>
                    <a:pt x="1129" y="440"/>
                    <a:pt x="1122" y="436"/>
                    <a:pt x="1114" y="431"/>
                  </a:cubicBezTo>
                  <a:cubicBezTo>
                    <a:pt x="1111" y="431"/>
                    <a:pt x="1107" y="431"/>
                    <a:pt x="1104" y="431"/>
                  </a:cubicBezTo>
                  <a:cubicBezTo>
                    <a:pt x="1102" y="434"/>
                    <a:pt x="1098" y="439"/>
                    <a:pt x="1098" y="443"/>
                  </a:cubicBezTo>
                  <a:cubicBezTo>
                    <a:pt x="1098" y="448"/>
                    <a:pt x="1098" y="453"/>
                    <a:pt x="1098" y="458"/>
                  </a:cubicBezTo>
                  <a:cubicBezTo>
                    <a:pt x="1103" y="466"/>
                    <a:pt x="1121" y="470"/>
                    <a:pt x="1131" y="488"/>
                  </a:cubicBezTo>
                  <a:cubicBezTo>
                    <a:pt x="1131" y="494"/>
                    <a:pt x="1131" y="501"/>
                    <a:pt x="1131" y="508"/>
                  </a:cubicBezTo>
                  <a:cubicBezTo>
                    <a:pt x="1137" y="516"/>
                    <a:pt x="1143" y="532"/>
                    <a:pt x="1148" y="546"/>
                  </a:cubicBezTo>
                  <a:cubicBezTo>
                    <a:pt x="1149" y="548"/>
                    <a:pt x="1151" y="550"/>
                    <a:pt x="1153" y="552"/>
                  </a:cubicBezTo>
                  <a:cubicBezTo>
                    <a:pt x="1155" y="552"/>
                    <a:pt x="1158" y="552"/>
                    <a:pt x="1161" y="552"/>
                  </a:cubicBezTo>
                  <a:cubicBezTo>
                    <a:pt x="1164" y="547"/>
                    <a:pt x="1167" y="542"/>
                    <a:pt x="1170" y="537"/>
                  </a:cubicBezTo>
                  <a:cubicBezTo>
                    <a:pt x="1174" y="533"/>
                    <a:pt x="1179" y="529"/>
                    <a:pt x="1184" y="526"/>
                  </a:cubicBezTo>
                  <a:cubicBezTo>
                    <a:pt x="1188" y="533"/>
                    <a:pt x="1195" y="542"/>
                    <a:pt x="1202" y="557"/>
                  </a:cubicBezTo>
                  <a:cubicBezTo>
                    <a:pt x="1204" y="569"/>
                    <a:pt x="1204" y="581"/>
                    <a:pt x="1223" y="590"/>
                  </a:cubicBezTo>
                  <a:cubicBezTo>
                    <a:pt x="1223" y="592"/>
                    <a:pt x="1224" y="594"/>
                    <a:pt x="1225" y="595"/>
                  </a:cubicBezTo>
                  <a:cubicBezTo>
                    <a:pt x="1222" y="601"/>
                    <a:pt x="1223" y="616"/>
                    <a:pt x="1223" y="627"/>
                  </a:cubicBezTo>
                  <a:cubicBezTo>
                    <a:pt x="1221" y="629"/>
                    <a:pt x="1218" y="631"/>
                    <a:pt x="1217" y="634"/>
                  </a:cubicBezTo>
                  <a:cubicBezTo>
                    <a:pt x="1206" y="634"/>
                    <a:pt x="1204" y="629"/>
                    <a:pt x="1200" y="627"/>
                  </a:cubicBezTo>
                  <a:cubicBezTo>
                    <a:pt x="1171" y="627"/>
                    <a:pt x="1167" y="631"/>
                    <a:pt x="1157" y="651"/>
                  </a:cubicBezTo>
                  <a:cubicBezTo>
                    <a:pt x="1155" y="653"/>
                    <a:pt x="1154" y="654"/>
                    <a:pt x="1152" y="655"/>
                  </a:cubicBezTo>
                  <a:cubicBezTo>
                    <a:pt x="1152" y="661"/>
                    <a:pt x="1124" y="680"/>
                    <a:pt x="1119" y="683"/>
                  </a:cubicBezTo>
                  <a:cubicBezTo>
                    <a:pt x="1116" y="688"/>
                    <a:pt x="1100" y="700"/>
                    <a:pt x="1093" y="704"/>
                  </a:cubicBezTo>
                  <a:cubicBezTo>
                    <a:pt x="1091" y="706"/>
                    <a:pt x="1089" y="709"/>
                    <a:pt x="1087" y="711"/>
                  </a:cubicBezTo>
                  <a:cubicBezTo>
                    <a:pt x="1083" y="711"/>
                    <a:pt x="1081" y="712"/>
                    <a:pt x="1078" y="713"/>
                  </a:cubicBezTo>
                  <a:cubicBezTo>
                    <a:pt x="1074" y="709"/>
                    <a:pt x="1071" y="706"/>
                    <a:pt x="1067" y="703"/>
                  </a:cubicBezTo>
                  <a:cubicBezTo>
                    <a:pt x="1061" y="684"/>
                    <a:pt x="1056" y="684"/>
                    <a:pt x="1044" y="684"/>
                  </a:cubicBezTo>
                  <a:cubicBezTo>
                    <a:pt x="1038" y="695"/>
                    <a:pt x="1034" y="715"/>
                    <a:pt x="1049" y="730"/>
                  </a:cubicBezTo>
                  <a:cubicBezTo>
                    <a:pt x="1049" y="737"/>
                    <a:pt x="1050" y="745"/>
                    <a:pt x="1050" y="753"/>
                  </a:cubicBezTo>
                  <a:cubicBezTo>
                    <a:pt x="1031" y="754"/>
                    <a:pt x="1013" y="757"/>
                    <a:pt x="1002" y="749"/>
                  </a:cubicBezTo>
                  <a:cubicBezTo>
                    <a:pt x="1000" y="731"/>
                    <a:pt x="994" y="726"/>
                    <a:pt x="987" y="717"/>
                  </a:cubicBezTo>
                  <a:cubicBezTo>
                    <a:pt x="982" y="706"/>
                    <a:pt x="976" y="695"/>
                    <a:pt x="972" y="684"/>
                  </a:cubicBezTo>
                  <a:cubicBezTo>
                    <a:pt x="960" y="673"/>
                    <a:pt x="962" y="677"/>
                    <a:pt x="952" y="676"/>
                  </a:cubicBezTo>
                  <a:cubicBezTo>
                    <a:pt x="944" y="684"/>
                    <a:pt x="931" y="690"/>
                    <a:pt x="923" y="697"/>
                  </a:cubicBezTo>
                  <a:cubicBezTo>
                    <a:pt x="920" y="704"/>
                    <a:pt x="919" y="717"/>
                    <a:pt x="923" y="732"/>
                  </a:cubicBezTo>
                  <a:cubicBezTo>
                    <a:pt x="911" y="733"/>
                    <a:pt x="899" y="734"/>
                    <a:pt x="887" y="735"/>
                  </a:cubicBezTo>
                  <a:cubicBezTo>
                    <a:pt x="877" y="742"/>
                    <a:pt x="866" y="748"/>
                    <a:pt x="855" y="754"/>
                  </a:cubicBezTo>
                  <a:cubicBezTo>
                    <a:pt x="852" y="759"/>
                    <a:pt x="850" y="767"/>
                    <a:pt x="844" y="767"/>
                  </a:cubicBezTo>
                  <a:cubicBezTo>
                    <a:pt x="834" y="762"/>
                    <a:pt x="832" y="757"/>
                    <a:pt x="832" y="752"/>
                  </a:cubicBezTo>
                  <a:cubicBezTo>
                    <a:pt x="834" y="750"/>
                    <a:pt x="836" y="749"/>
                    <a:pt x="838" y="747"/>
                  </a:cubicBezTo>
                  <a:cubicBezTo>
                    <a:pt x="838" y="729"/>
                    <a:pt x="826" y="720"/>
                    <a:pt x="814" y="720"/>
                  </a:cubicBezTo>
                  <a:cubicBezTo>
                    <a:pt x="798" y="728"/>
                    <a:pt x="797" y="737"/>
                    <a:pt x="801" y="758"/>
                  </a:cubicBezTo>
                  <a:cubicBezTo>
                    <a:pt x="798" y="758"/>
                    <a:pt x="794" y="759"/>
                    <a:pt x="791" y="759"/>
                  </a:cubicBezTo>
                  <a:cubicBezTo>
                    <a:pt x="789" y="762"/>
                    <a:pt x="788" y="765"/>
                    <a:pt x="786" y="767"/>
                  </a:cubicBezTo>
                  <a:cubicBezTo>
                    <a:pt x="785" y="768"/>
                    <a:pt x="783" y="769"/>
                    <a:pt x="781" y="770"/>
                  </a:cubicBezTo>
                  <a:cubicBezTo>
                    <a:pt x="781" y="780"/>
                    <a:pt x="781" y="791"/>
                    <a:pt x="781" y="802"/>
                  </a:cubicBezTo>
                  <a:cubicBezTo>
                    <a:pt x="785" y="806"/>
                    <a:pt x="788" y="810"/>
                    <a:pt x="792" y="815"/>
                  </a:cubicBezTo>
                  <a:cubicBezTo>
                    <a:pt x="792" y="818"/>
                    <a:pt x="792" y="821"/>
                    <a:pt x="793" y="825"/>
                  </a:cubicBezTo>
                  <a:cubicBezTo>
                    <a:pt x="791" y="828"/>
                    <a:pt x="788" y="832"/>
                    <a:pt x="786" y="835"/>
                  </a:cubicBezTo>
                  <a:cubicBezTo>
                    <a:pt x="770" y="846"/>
                    <a:pt x="753" y="850"/>
                    <a:pt x="738" y="848"/>
                  </a:cubicBezTo>
                  <a:cubicBezTo>
                    <a:pt x="723" y="848"/>
                    <a:pt x="721" y="855"/>
                    <a:pt x="713" y="859"/>
                  </a:cubicBezTo>
                  <a:cubicBezTo>
                    <a:pt x="710" y="862"/>
                    <a:pt x="708" y="864"/>
                    <a:pt x="705" y="866"/>
                  </a:cubicBezTo>
                  <a:cubicBezTo>
                    <a:pt x="698" y="882"/>
                    <a:pt x="682" y="897"/>
                    <a:pt x="669" y="911"/>
                  </a:cubicBezTo>
                  <a:cubicBezTo>
                    <a:pt x="664" y="908"/>
                    <a:pt x="659" y="905"/>
                    <a:pt x="655" y="902"/>
                  </a:cubicBezTo>
                  <a:cubicBezTo>
                    <a:pt x="650" y="902"/>
                    <a:pt x="644" y="902"/>
                    <a:pt x="640" y="903"/>
                  </a:cubicBezTo>
                  <a:cubicBezTo>
                    <a:pt x="639" y="908"/>
                    <a:pt x="637" y="915"/>
                    <a:pt x="633" y="917"/>
                  </a:cubicBezTo>
                  <a:cubicBezTo>
                    <a:pt x="626" y="907"/>
                    <a:pt x="618" y="908"/>
                    <a:pt x="613" y="909"/>
                  </a:cubicBezTo>
                  <a:cubicBezTo>
                    <a:pt x="610" y="916"/>
                    <a:pt x="606" y="924"/>
                    <a:pt x="599" y="929"/>
                  </a:cubicBezTo>
                  <a:cubicBezTo>
                    <a:pt x="581" y="937"/>
                    <a:pt x="574" y="963"/>
                    <a:pt x="558" y="973"/>
                  </a:cubicBezTo>
                  <a:cubicBezTo>
                    <a:pt x="554" y="982"/>
                    <a:pt x="554" y="990"/>
                    <a:pt x="554" y="1003"/>
                  </a:cubicBezTo>
                  <a:cubicBezTo>
                    <a:pt x="555" y="1008"/>
                    <a:pt x="554" y="1021"/>
                    <a:pt x="551" y="1029"/>
                  </a:cubicBezTo>
                  <a:cubicBezTo>
                    <a:pt x="550" y="1030"/>
                    <a:pt x="549" y="1030"/>
                    <a:pt x="548" y="1031"/>
                  </a:cubicBezTo>
                  <a:cubicBezTo>
                    <a:pt x="524" y="1031"/>
                    <a:pt x="507" y="1027"/>
                    <a:pt x="489" y="1024"/>
                  </a:cubicBezTo>
                  <a:cubicBezTo>
                    <a:pt x="482" y="1020"/>
                    <a:pt x="476" y="1017"/>
                    <a:pt x="470" y="1014"/>
                  </a:cubicBezTo>
                  <a:cubicBezTo>
                    <a:pt x="467" y="1010"/>
                    <a:pt x="463" y="1007"/>
                    <a:pt x="460" y="1003"/>
                  </a:cubicBezTo>
                  <a:cubicBezTo>
                    <a:pt x="454" y="1001"/>
                    <a:pt x="447" y="1000"/>
                    <a:pt x="441" y="999"/>
                  </a:cubicBezTo>
                  <a:cubicBezTo>
                    <a:pt x="441" y="993"/>
                    <a:pt x="441" y="987"/>
                    <a:pt x="441" y="981"/>
                  </a:cubicBezTo>
                  <a:cubicBezTo>
                    <a:pt x="449" y="970"/>
                    <a:pt x="459" y="954"/>
                    <a:pt x="459" y="940"/>
                  </a:cubicBezTo>
                  <a:cubicBezTo>
                    <a:pt x="455" y="922"/>
                    <a:pt x="442" y="926"/>
                    <a:pt x="434" y="926"/>
                  </a:cubicBezTo>
                  <a:cubicBezTo>
                    <a:pt x="431" y="927"/>
                    <a:pt x="428" y="929"/>
                    <a:pt x="426" y="931"/>
                  </a:cubicBezTo>
                  <a:cubicBezTo>
                    <a:pt x="405" y="932"/>
                    <a:pt x="413" y="931"/>
                    <a:pt x="409" y="952"/>
                  </a:cubicBezTo>
                  <a:cubicBezTo>
                    <a:pt x="405" y="957"/>
                    <a:pt x="405" y="958"/>
                    <a:pt x="403" y="964"/>
                  </a:cubicBezTo>
                  <a:cubicBezTo>
                    <a:pt x="399" y="970"/>
                    <a:pt x="396" y="977"/>
                    <a:pt x="392" y="984"/>
                  </a:cubicBezTo>
                  <a:cubicBezTo>
                    <a:pt x="392" y="991"/>
                    <a:pt x="393" y="998"/>
                    <a:pt x="393" y="1006"/>
                  </a:cubicBezTo>
                  <a:cubicBezTo>
                    <a:pt x="391" y="1009"/>
                    <a:pt x="389" y="1012"/>
                    <a:pt x="386" y="1015"/>
                  </a:cubicBezTo>
                  <a:cubicBezTo>
                    <a:pt x="371" y="1017"/>
                    <a:pt x="370" y="1018"/>
                    <a:pt x="362" y="1026"/>
                  </a:cubicBezTo>
                  <a:cubicBezTo>
                    <a:pt x="352" y="1028"/>
                    <a:pt x="342" y="1030"/>
                    <a:pt x="332" y="1033"/>
                  </a:cubicBezTo>
                  <a:cubicBezTo>
                    <a:pt x="322" y="1037"/>
                    <a:pt x="320" y="1044"/>
                    <a:pt x="313" y="1047"/>
                  </a:cubicBezTo>
                  <a:close/>
                </a:path>
              </a:pathLst>
            </a:custGeom>
            <a:solidFill>
              <a:srgbClr val="C0C0C0"/>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38" name="Freeform 72"/>
            <p:cNvSpPr/>
            <p:nvPr/>
          </p:nvSpPr>
          <p:spPr bwMode="auto">
            <a:xfrm rot="252837">
              <a:off x="4643438" y="2827338"/>
              <a:ext cx="271462" cy="303212"/>
            </a:xfrm>
            <a:custGeom>
              <a:avLst/>
              <a:gdLst/>
              <a:ahLst/>
              <a:cxnLst>
                <a:cxn ang="0">
                  <a:pos x="112" y="148"/>
                </a:cxn>
                <a:cxn ang="0">
                  <a:pos x="90" y="133"/>
                </a:cxn>
                <a:cxn ang="0">
                  <a:pos x="80" y="99"/>
                </a:cxn>
                <a:cxn ang="0">
                  <a:pos x="78" y="93"/>
                </a:cxn>
                <a:cxn ang="0">
                  <a:pos x="37" y="81"/>
                </a:cxn>
                <a:cxn ang="0">
                  <a:pos x="30" y="89"/>
                </a:cxn>
                <a:cxn ang="0">
                  <a:pos x="2" y="89"/>
                </a:cxn>
                <a:cxn ang="0">
                  <a:pos x="12" y="68"/>
                </a:cxn>
                <a:cxn ang="0">
                  <a:pos x="24" y="59"/>
                </a:cxn>
                <a:cxn ang="0">
                  <a:pos x="21" y="32"/>
                </a:cxn>
                <a:cxn ang="0">
                  <a:pos x="48" y="13"/>
                </a:cxn>
                <a:cxn ang="0">
                  <a:pos x="58" y="0"/>
                </a:cxn>
                <a:cxn ang="0">
                  <a:pos x="68" y="9"/>
                </a:cxn>
                <a:cxn ang="0">
                  <a:pos x="88" y="11"/>
                </a:cxn>
                <a:cxn ang="0">
                  <a:pos x="90" y="52"/>
                </a:cxn>
                <a:cxn ang="0">
                  <a:pos x="100" y="54"/>
                </a:cxn>
                <a:cxn ang="0">
                  <a:pos x="106" y="59"/>
                </a:cxn>
                <a:cxn ang="0">
                  <a:pos x="121" y="96"/>
                </a:cxn>
                <a:cxn ang="0">
                  <a:pos x="132" y="110"/>
                </a:cxn>
                <a:cxn ang="0">
                  <a:pos x="111" y="126"/>
                </a:cxn>
                <a:cxn ang="0">
                  <a:pos x="112" y="148"/>
                </a:cxn>
              </a:cxnLst>
              <a:rect l="0" t="0" r="r" b="b"/>
              <a:pathLst>
                <a:path w="132" h="148">
                  <a:moveTo>
                    <a:pt x="112" y="148"/>
                  </a:moveTo>
                  <a:cubicBezTo>
                    <a:pt x="102" y="144"/>
                    <a:pt x="91" y="133"/>
                    <a:pt x="90" y="133"/>
                  </a:cubicBezTo>
                  <a:cubicBezTo>
                    <a:pt x="81" y="119"/>
                    <a:pt x="85" y="104"/>
                    <a:pt x="80" y="99"/>
                  </a:cubicBezTo>
                  <a:cubicBezTo>
                    <a:pt x="80" y="97"/>
                    <a:pt x="79" y="95"/>
                    <a:pt x="78" y="93"/>
                  </a:cubicBezTo>
                  <a:cubicBezTo>
                    <a:pt x="61" y="76"/>
                    <a:pt x="55" y="75"/>
                    <a:pt x="37" y="81"/>
                  </a:cubicBezTo>
                  <a:cubicBezTo>
                    <a:pt x="34" y="84"/>
                    <a:pt x="32" y="86"/>
                    <a:pt x="30" y="89"/>
                  </a:cubicBezTo>
                  <a:cubicBezTo>
                    <a:pt x="21" y="89"/>
                    <a:pt x="11" y="89"/>
                    <a:pt x="2" y="89"/>
                  </a:cubicBezTo>
                  <a:cubicBezTo>
                    <a:pt x="2" y="78"/>
                    <a:pt x="0" y="70"/>
                    <a:pt x="12" y="68"/>
                  </a:cubicBezTo>
                  <a:cubicBezTo>
                    <a:pt x="16" y="65"/>
                    <a:pt x="20" y="62"/>
                    <a:pt x="24" y="59"/>
                  </a:cubicBezTo>
                  <a:cubicBezTo>
                    <a:pt x="31" y="45"/>
                    <a:pt x="21" y="38"/>
                    <a:pt x="21" y="32"/>
                  </a:cubicBezTo>
                  <a:cubicBezTo>
                    <a:pt x="29" y="27"/>
                    <a:pt x="41" y="20"/>
                    <a:pt x="48" y="13"/>
                  </a:cubicBezTo>
                  <a:cubicBezTo>
                    <a:pt x="49" y="3"/>
                    <a:pt x="48" y="0"/>
                    <a:pt x="58" y="0"/>
                  </a:cubicBezTo>
                  <a:cubicBezTo>
                    <a:pt x="61" y="3"/>
                    <a:pt x="64" y="6"/>
                    <a:pt x="68" y="9"/>
                  </a:cubicBezTo>
                  <a:cubicBezTo>
                    <a:pt x="74" y="10"/>
                    <a:pt x="81" y="10"/>
                    <a:pt x="88" y="11"/>
                  </a:cubicBezTo>
                  <a:cubicBezTo>
                    <a:pt x="85" y="17"/>
                    <a:pt x="82" y="41"/>
                    <a:pt x="90" y="52"/>
                  </a:cubicBezTo>
                  <a:cubicBezTo>
                    <a:pt x="93" y="53"/>
                    <a:pt x="97" y="53"/>
                    <a:pt x="100" y="54"/>
                  </a:cubicBezTo>
                  <a:cubicBezTo>
                    <a:pt x="102" y="55"/>
                    <a:pt x="104" y="57"/>
                    <a:pt x="106" y="59"/>
                  </a:cubicBezTo>
                  <a:cubicBezTo>
                    <a:pt x="106" y="74"/>
                    <a:pt x="101" y="83"/>
                    <a:pt x="121" y="96"/>
                  </a:cubicBezTo>
                  <a:cubicBezTo>
                    <a:pt x="124" y="101"/>
                    <a:pt x="128" y="105"/>
                    <a:pt x="132" y="110"/>
                  </a:cubicBezTo>
                  <a:cubicBezTo>
                    <a:pt x="117" y="117"/>
                    <a:pt x="117" y="115"/>
                    <a:pt x="111" y="126"/>
                  </a:cubicBezTo>
                  <a:cubicBezTo>
                    <a:pt x="111" y="133"/>
                    <a:pt x="111" y="141"/>
                    <a:pt x="112" y="148"/>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39" name="Freeform 73"/>
            <p:cNvSpPr/>
            <p:nvPr/>
          </p:nvSpPr>
          <p:spPr bwMode="auto">
            <a:xfrm rot="252837">
              <a:off x="4995863" y="2463800"/>
              <a:ext cx="679450" cy="635000"/>
            </a:xfrm>
            <a:custGeom>
              <a:avLst/>
              <a:gdLst/>
              <a:ahLst/>
              <a:cxnLst>
                <a:cxn ang="0">
                  <a:pos x="134" y="310"/>
                </a:cxn>
                <a:cxn ang="0">
                  <a:pos x="132" y="308"/>
                </a:cxn>
                <a:cxn ang="0">
                  <a:pos x="148" y="289"/>
                </a:cxn>
                <a:cxn ang="0">
                  <a:pos x="154" y="278"/>
                </a:cxn>
                <a:cxn ang="0">
                  <a:pos x="154" y="269"/>
                </a:cxn>
                <a:cxn ang="0">
                  <a:pos x="142" y="262"/>
                </a:cxn>
                <a:cxn ang="0">
                  <a:pos x="158" y="226"/>
                </a:cxn>
                <a:cxn ang="0">
                  <a:pos x="164" y="191"/>
                </a:cxn>
                <a:cxn ang="0">
                  <a:pos x="142" y="168"/>
                </a:cxn>
                <a:cxn ang="0">
                  <a:pos x="132" y="167"/>
                </a:cxn>
                <a:cxn ang="0">
                  <a:pos x="113" y="170"/>
                </a:cxn>
                <a:cxn ang="0">
                  <a:pos x="84" y="202"/>
                </a:cxn>
                <a:cxn ang="0">
                  <a:pos x="62" y="233"/>
                </a:cxn>
                <a:cxn ang="0">
                  <a:pos x="21" y="204"/>
                </a:cxn>
                <a:cxn ang="0">
                  <a:pos x="1" y="194"/>
                </a:cxn>
                <a:cxn ang="0">
                  <a:pos x="10" y="179"/>
                </a:cxn>
                <a:cxn ang="0">
                  <a:pos x="23" y="163"/>
                </a:cxn>
                <a:cxn ang="0">
                  <a:pos x="22" y="134"/>
                </a:cxn>
                <a:cxn ang="0">
                  <a:pos x="19" y="133"/>
                </a:cxn>
                <a:cxn ang="0">
                  <a:pos x="16" y="127"/>
                </a:cxn>
                <a:cxn ang="0">
                  <a:pos x="12" y="116"/>
                </a:cxn>
                <a:cxn ang="0">
                  <a:pos x="16" y="96"/>
                </a:cxn>
                <a:cxn ang="0">
                  <a:pos x="28" y="113"/>
                </a:cxn>
                <a:cxn ang="0">
                  <a:pos x="56" y="124"/>
                </a:cxn>
                <a:cxn ang="0">
                  <a:pos x="66" y="114"/>
                </a:cxn>
                <a:cxn ang="0">
                  <a:pos x="122" y="71"/>
                </a:cxn>
                <a:cxn ang="0">
                  <a:pos x="138" y="46"/>
                </a:cxn>
                <a:cxn ang="0">
                  <a:pos x="175" y="47"/>
                </a:cxn>
                <a:cxn ang="0">
                  <a:pos x="187" y="47"/>
                </a:cxn>
                <a:cxn ang="0">
                  <a:pos x="196" y="37"/>
                </a:cxn>
                <a:cxn ang="0">
                  <a:pos x="196" y="9"/>
                </a:cxn>
                <a:cxn ang="0">
                  <a:pos x="199" y="0"/>
                </a:cxn>
                <a:cxn ang="0">
                  <a:pos x="223" y="17"/>
                </a:cxn>
                <a:cxn ang="0">
                  <a:pos x="243" y="27"/>
                </a:cxn>
                <a:cxn ang="0">
                  <a:pos x="247" y="15"/>
                </a:cxn>
                <a:cxn ang="0">
                  <a:pos x="253" y="9"/>
                </a:cxn>
                <a:cxn ang="0">
                  <a:pos x="257" y="13"/>
                </a:cxn>
                <a:cxn ang="0">
                  <a:pos x="258" y="35"/>
                </a:cxn>
                <a:cxn ang="0">
                  <a:pos x="290" y="71"/>
                </a:cxn>
                <a:cxn ang="0">
                  <a:pos x="290" y="100"/>
                </a:cxn>
                <a:cxn ang="0">
                  <a:pos x="298" y="109"/>
                </a:cxn>
                <a:cxn ang="0">
                  <a:pos x="317" y="123"/>
                </a:cxn>
                <a:cxn ang="0">
                  <a:pos x="331" y="132"/>
                </a:cxn>
                <a:cxn ang="0">
                  <a:pos x="293" y="163"/>
                </a:cxn>
                <a:cxn ang="0">
                  <a:pos x="282" y="173"/>
                </a:cxn>
                <a:cxn ang="0">
                  <a:pos x="265" y="193"/>
                </a:cxn>
                <a:cxn ang="0">
                  <a:pos x="260" y="215"/>
                </a:cxn>
                <a:cxn ang="0">
                  <a:pos x="243" y="223"/>
                </a:cxn>
                <a:cxn ang="0">
                  <a:pos x="175" y="267"/>
                </a:cxn>
                <a:cxn ang="0">
                  <a:pos x="171" y="276"/>
                </a:cxn>
                <a:cxn ang="0">
                  <a:pos x="163" y="304"/>
                </a:cxn>
                <a:cxn ang="0">
                  <a:pos x="134" y="310"/>
                </a:cxn>
              </a:cxnLst>
              <a:rect l="0" t="0" r="r" b="b"/>
              <a:pathLst>
                <a:path w="331" h="310">
                  <a:moveTo>
                    <a:pt x="134" y="310"/>
                  </a:moveTo>
                  <a:cubicBezTo>
                    <a:pt x="133" y="309"/>
                    <a:pt x="132" y="308"/>
                    <a:pt x="132" y="308"/>
                  </a:cubicBezTo>
                  <a:cubicBezTo>
                    <a:pt x="137" y="296"/>
                    <a:pt x="141" y="296"/>
                    <a:pt x="148" y="289"/>
                  </a:cubicBezTo>
                  <a:cubicBezTo>
                    <a:pt x="150" y="285"/>
                    <a:pt x="152" y="282"/>
                    <a:pt x="154" y="278"/>
                  </a:cubicBezTo>
                  <a:cubicBezTo>
                    <a:pt x="154" y="275"/>
                    <a:pt x="154" y="272"/>
                    <a:pt x="154" y="269"/>
                  </a:cubicBezTo>
                  <a:cubicBezTo>
                    <a:pt x="150" y="267"/>
                    <a:pt x="146" y="265"/>
                    <a:pt x="142" y="262"/>
                  </a:cubicBezTo>
                  <a:cubicBezTo>
                    <a:pt x="137" y="243"/>
                    <a:pt x="148" y="237"/>
                    <a:pt x="158" y="226"/>
                  </a:cubicBezTo>
                  <a:cubicBezTo>
                    <a:pt x="165" y="214"/>
                    <a:pt x="164" y="201"/>
                    <a:pt x="164" y="191"/>
                  </a:cubicBezTo>
                  <a:cubicBezTo>
                    <a:pt x="156" y="183"/>
                    <a:pt x="149" y="176"/>
                    <a:pt x="142" y="168"/>
                  </a:cubicBezTo>
                  <a:cubicBezTo>
                    <a:pt x="138" y="167"/>
                    <a:pt x="135" y="167"/>
                    <a:pt x="132" y="167"/>
                  </a:cubicBezTo>
                  <a:cubicBezTo>
                    <a:pt x="126" y="168"/>
                    <a:pt x="119" y="169"/>
                    <a:pt x="113" y="170"/>
                  </a:cubicBezTo>
                  <a:cubicBezTo>
                    <a:pt x="102" y="179"/>
                    <a:pt x="94" y="190"/>
                    <a:pt x="84" y="202"/>
                  </a:cubicBezTo>
                  <a:cubicBezTo>
                    <a:pt x="77" y="213"/>
                    <a:pt x="71" y="225"/>
                    <a:pt x="62" y="233"/>
                  </a:cubicBezTo>
                  <a:cubicBezTo>
                    <a:pt x="47" y="223"/>
                    <a:pt x="31" y="213"/>
                    <a:pt x="21" y="204"/>
                  </a:cubicBezTo>
                  <a:cubicBezTo>
                    <a:pt x="9" y="203"/>
                    <a:pt x="4" y="197"/>
                    <a:pt x="1" y="194"/>
                  </a:cubicBezTo>
                  <a:cubicBezTo>
                    <a:pt x="1" y="182"/>
                    <a:pt x="0" y="181"/>
                    <a:pt x="10" y="179"/>
                  </a:cubicBezTo>
                  <a:cubicBezTo>
                    <a:pt x="15" y="173"/>
                    <a:pt x="19" y="168"/>
                    <a:pt x="23" y="163"/>
                  </a:cubicBezTo>
                  <a:cubicBezTo>
                    <a:pt x="23" y="153"/>
                    <a:pt x="22" y="143"/>
                    <a:pt x="22" y="134"/>
                  </a:cubicBezTo>
                  <a:cubicBezTo>
                    <a:pt x="20" y="133"/>
                    <a:pt x="20" y="133"/>
                    <a:pt x="19" y="133"/>
                  </a:cubicBezTo>
                  <a:cubicBezTo>
                    <a:pt x="18" y="131"/>
                    <a:pt x="17" y="129"/>
                    <a:pt x="16" y="127"/>
                  </a:cubicBezTo>
                  <a:cubicBezTo>
                    <a:pt x="15" y="123"/>
                    <a:pt x="13" y="119"/>
                    <a:pt x="12" y="116"/>
                  </a:cubicBezTo>
                  <a:cubicBezTo>
                    <a:pt x="12" y="107"/>
                    <a:pt x="11" y="101"/>
                    <a:pt x="16" y="96"/>
                  </a:cubicBezTo>
                  <a:cubicBezTo>
                    <a:pt x="22" y="98"/>
                    <a:pt x="25" y="102"/>
                    <a:pt x="28" y="113"/>
                  </a:cubicBezTo>
                  <a:cubicBezTo>
                    <a:pt x="36" y="120"/>
                    <a:pt x="39" y="128"/>
                    <a:pt x="56" y="124"/>
                  </a:cubicBezTo>
                  <a:cubicBezTo>
                    <a:pt x="59" y="120"/>
                    <a:pt x="63" y="117"/>
                    <a:pt x="66" y="114"/>
                  </a:cubicBezTo>
                  <a:cubicBezTo>
                    <a:pt x="84" y="103"/>
                    <a:pt x="105" y="83"/>
                    <a:pt x="122" y="71"/>
                  </a:cubicBezTo>
                  <a:cubicBezTo>
                    <a:pt x="129" y="64"/>
                    <a:pt x="135" y="52"/>
                    <a:pt x="138" y="46"/>
                  </a:cubicBezTo>
                  <a:cubicBezTo>
                    <a:pt x="153" y="41"/>
                    <a:pt x="159" y="35"/>
                    <a:pt x="175" y="47"/>
                  </a:cubicBezTo>
                  <a:cubicBezTo>
                    <a:pt x="179" y="47"/>
                    <a:pt x="183" y="47"/>
                    <a:pt x="187" y="47"/>
                  </a:cubicBezTo>
                  <a:cubicBezTo>
                    <a:pt x="190" y="44"/>
                    <a:pt x="193" y="40"/>
                    <a:pt x="196" y="37"/>
                  </a:cubicBezTo>
                  <a:cubicBezTo>
                    <a:pt x="196" y="27"/>
                    <a:pt x="196" y="18"/>
                    <a:pt x="196" y="9"/>
                  </a:cubicBezTo>
                  <a:cubicBezTo>
                    <a:pt x="197" y="6"/>
                    <a:pt x="198" y="3"/>
                    <a:pt x="199" y="0"/>
                  </a:cubicBezTo>
                  <a:cubicBezTo>
                    <a:pt x="205" y="0"/>
                    <a:pt x="214" y="5"/>
                    <a:pt x="223" y="17"/>
                  </a:cubicBezTo>
                  <a:cubicBezTo>
                    <a:pt x="228" y="21"/>
                    <a:pt x="230" y="27"/>
                    <a:pt x="243" y="27"/>
                  </a:cubicBezTo>
                  <a:cubicBezTo>
                    <a:pt x="246" y="24"/>
                    <a:pt x="247" y="17"/>
                    <a:pt x="247" y="15"/>
                  </a:cubicBezTo>
                  <a:cubicBezTo>
                    <a:pt x="249" y="12"/>
                    <a:pt x="251" y="11"/>
                    <a:pt x="253" y="9"/>
                  </a:cubicBezTo>
                  <a:cubicBezTo>
                    <a:pt x="254" y="10"/>
                    <a:pt x="256" y="11"/>
                    <a:pt x="257" y="13"/>
                  </a:cubicBezTo>
                  <a:cubicBezTo>
                    <a:pt x="257" y="20"/>
                    <a:pt x="258" y="27"/>
                    <a:pt x="258" y="35"/>
                  </a:cubicBezTo>
                  <a:cubicBezTo>
                    <a:pt x="268" y="44"/>
                    <a:pt x="276" y="57"/>
                    <a:pt x="290" y="71"/>
                  </a:cubicBezTo>
                  <a:cubicBezTo>
                    <a:pt x="290" y="81"/>
                    <a:pt x="290" y="90"/>
                    <a:pt x="290" y="100"/>
                  </a:cubicBezTo>
                  <a:cubicBezTo>
                    <a:pt x="293" y="103"/>
                    <a:pt x="295" y="106"/>
                    <a:pt x="298" y="109"/>
                  </a:cubicBezTo>
                  <a:cubicBezTo>
                    <a:pt x="304" y="114"/>
                    <a:pt x="310" y="118"/>
                    <a:pt x="317" y="123"/>
                  </a:cubicBezTo>
                  <a:cubicBezTo>
                    <a:pt x="322" y="126"/>
                    <a:pt x="326" y="129"/>
                    <a:pt x="331" y="132"/>
                  </a:cubicBezTo>
                  <a:cubicBezTo>
                    <a:pt x="331" y="139"/>
                    <a:pt x="297" y="161"/>
                    <a:pt x="293" y="163"/>
                  </a:cubicBezTo>
                  <a:cubicBezTo>
                    <a:pt x="289" y="166"/>
                    <a:pt x="286" y="170"/>
                    <a:pt x="282" y="173"/>
                  </a:cubicBezTo>
                  <a:cubicBezTo>
                    <a:pt x="276" y="180"/>
                    <a:pt x="270" y="186"/>
                    <a:pt x="265" y="193"/>
                  </a:cubicBezTo>
                  <a:cubicBezTo>
                    <a:pt x="263" y="200"/>
                    <a:pt x="264" y="206"/>
                    <a:pt x="260" y="215"/>
                  </a:cubicBezTo>
                  <a:cubicBezTo>
                    <a:pt x="254" y="217"/>
                    <a:pt x="248" y="220"/>
                    <a:pt x="243" y="223"/>
                  </a:cubicBezTo>
                  <a:cubicBezTo>
                    <a:pt x="211" y="229"/>
                    <a:pt x="194" y="242"/>
                    <a:pt x="175" y="267"/>
                  </a:cubicBezTo>
                  <a:cubicBezTo>
                    <a:pt x="173" y="270"/>
                    <a:pt x="172" y="273"/>
                    <a:pt x="171" y="276"/>
                  </a:cubicBezTo>
                  <a:cubicBezTo>
                    <a:pt x="168" y="285"/>
                    <a:pt x="165" y="295"/>
                    <a:pt x="163" y="304"/>
                  </a:cubicBezTo>
                  <a:cubicBezTo>
                    <a:pt x="151" y="308"/>
                    <a:pt x="142" y="309"/>
                    <a:pt x="134" y="310"/>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40" name="Freeform 74"/>
            <p:cNvSpPr/>
            <p:nvPr/>
          </p:nvSpPr>
          <p:spPr bwMode="auto">
            <a:xfrm rot="252837">
              <a:off x="5157788" y="2112963"/>
              <a:ext cx="981075" cy="630237"/>
            </a:xfrm>
            <a:custGeom>
              <a:avLst/>
              <a:gdLst/>
              <a:ahLst/>
              <a:cxnLst>
                <a:cxn ang="0">
                  <a:pos x="235" y="284"/>
                </a:cxn>
                <a:cxn ang="0">
                  <a:pos x="229" y="246"/>
                </a:cxn>
                <a:cxn ang="0">
                  <a:pos x="201" y="214"/>
                </a:cxn>
                <a:cxn ang="0">
                  <a:pos x="198" y="191"/>
                </a:cxn>
                <a:cxn ang="0">
                  <a:pos x="174" y="202"/>
                </a:cxn>
                <a:cxn ang="0">
                  <a:pos x="143" y="176"/>
                </a:cxn>
                <a:cxn ang="0">
                  <a:pos x="93" y="114"/>
                </a:cxn>
                <a:cxn ang="0">
                  <a:pos x="86" y="104"/>
                </a:cxn>
                <a:cxn ang="0">
                  <a:pos x="60" y="135"/>
                </a:cxn>
                <a:cxn ang="0">
                  <a:pos x="39" y="93"/>
                </a:cxn>
                <a:cxn ang="0">
                  <a:pos x="12" y="46"/>
                </a:cxn>
                <a:cxn ang="0">
                  <a:pos x="13" y="25"/>
                </a:cxn>
                <a:cxn ang="0">
                  <a:pos x="71" y="21"/>
                </a:cxn>
                <a:cxn ang="0">
                  <a:pos x="139" y="54"/>
                </a:cxn>
                <a:cxn ang="0">
                  <a:pos x="196" y="22"/>
                </a:cxn>
                <a:cxn ang="0">
                  <a:pos x="218" y="56"/>
                </a:cxn>
                <a:cxn ang="0">
                  <a:pos x="255" y="65"/>
                </a:cxn>
                <a:cxn ang="0">
                  <a:pos x="296" y="101"/>
                </a:cxn>
                <a:cxn ang="0">
                  <a:pos x="314" y="77"/>
                </a:cxn>
                <a:cxn ang="0">
                  <a:pos x="346" y="109"/>
                </a:cxn>
                <a:cxn ang="0">
                  <a:pos x="360" y="124"/>
                </a:cxn>
                <a:cxn ang="0">
                  <a:pos x="385" y="114"/>
                </a:cxn>
                <a:cxn ang="0">
                  <a:pos x="393" y="104"/>
                </a:cxn>
                <a:cxn ang="0">
                  <a:pos x="412" y="90"/>
                </a:cxn>
                <a:cxn ang="0">
                  <a:pos x="422" y="81"/>
                </a:cxn>
                <a:cxn ang="0">
                  <a:pos x="457" y="113"/>
                </a:cxn>
                <a:cxn ang="0">
                  <a:pos x="470" y="146"/>
                </a:cxn>
                <a:cxn ang="0">
                  <a:pos x="460" y="180"/>
                </a:cxn>
                <a:cxn ang="0">
                  <a:pos x="440" y="177"/>
                </a:cxn>
                <a:cxn ang="0">
                  <a:pos x="437" y="152"/>
                </a:cxn>
                <a:cxn ang="0">
                  <a:pos x="393" y="198"/>
                </a:cxn>
                <a:cxn ang="0">
                  <a:pos x="352" y="238"/>
                </a:cxn>
                <a:cxn ang="0">
                  <a:pos x="358" y="262"/>
                </a:cxn>
                <a:cxn ang="0">
                  <a:pos x="287" y="264"/>
                </a:cxn>
                <a:cxn ang="0">
                  <a:pos x="272" y="305"/>
                </a:cxn>
              </a:cxnLst>
              <a:rect l="0" t="0" r="r" b="b"/>
              <a:pathLst>
                <a:path w="479" h="307">
                  <a:moveTo>
                    <a:pt x="266" y="307"/>
                  </a:moveTo>
                  <a:cubicBezTo>
                    <a:pt x="258" y="297"/>
                    <a:pt x="241" y="288"/>
                    <a:pt x="235" y="284"/>
                  </a:cubicBezTo>
                  <a:cubicBezTo>
                    <a:pt x="234" y="282"/>
                    <a:pt x="232" y="280"/>
                    <a:pt x="231" y="278"/>
                  </a:cubicBezTo>
                  <a:cubicBezTo>
                    <a:pt x="231" y="264"/>
                    <a:pt x="234" y="256"/>
                    <a:pt x="229" y="246"/>
                  </a:cubicBezTo>
                  <a:cubicBezTo>
                    <a:pt x="218" y="239"/>
                    <a:pt x="218" y="236"/>
                    <a:pt x="216" y="231"/>
                  </a:cubicBezTo>
                  <a:cubicBezTo>
                    <a:pt x="211" y="225"/>
                    <a:pt x="205" y="219"/>
                    <a:pt x="201" y="214"/>
                  </a:cubicBezTo>
                  <a:cubicBezTo>
                    <a:pt x="200" y="213"/>
                    <a:pt x="199" y="213"/>
                    <a:pt x="199" y="213"/>
                  </a:cubicBezTo>
                  <a:cubicBezTo>
                    <a:pt x="198" y="206"/>
                    <a:pt x="198" y="198"/>
                    <a:pt x="198" y="191"/>
                  </a:cubicBezTo>
                  <a:cubicBezTo>
                    <a:pt x="192" y="183"/>
                    <a:pt x="188" y="184"/>
                    <a:pt x="184" y="184"/>
                  </a:cubicBezTo>
                  <a:cubicBezTo>
                    <a:pt x="178" y="190"/>
                    <a:pt x="177" y="193"/>
                    <a:pt x="174" y="202"/>
                  </a:cubicBezTo>
                  <a:cubicBezTo>
                    <a:pt x="173" y="202"/>
                    <a:pt x="172" y="202"/>
                    <a:pt x="171" y="202"/>
                  </a:cubicBezTo>
                  <a:cubicBezTo>
                    <a:pt x="162" y="193"/>
                    <a:pt x="150" y="180"/>
                    <a:pt x="143" y="176"/>
                  </a:cubicBezTo>
                  <a:cubicBezTo>
                    <a:pt x="114" y="172"/>
                    <a:pt x="113" y="163"/>
                    <a:pt x="110" y="143"/>
                  </a:cubicBezTo>
                  <a:cubicBezTo>
                    <a:pt x="105" y="129"/>
                    <a:pt x="97" y="121"/>
                    <a:pt x="93" y="114"/>
                  </a:cubicBezTo>
                  <a:cubicBezTo>
                    <a:pt x="92" y="111"/>
                    <a:pt x="92" y="108"/>
                    <a:pt x="91" y="105"/>
                  </a:cubicBezTo>
                  <a:cubicBezTo>
                    <a:pt x="89" y="104"/>
                    <a:pt x="87" y="104"/>
                    <a:pt x="86" y="104"/>
                  </a:cubicBezTo>
                  <a:cubicBezTo>
                    <a:pt x="80" y="109"/>
                    <a:pt x="74" y="114"/>
                    <a:pt x="69" y="120"/>
                  </a:cubicBezTo>
                  <a:cubicBezTo>
                    <a:pt x="66" y="124"/>
                    <a:pt x="63" y="130"/>
                    <a:pt x="60" y="135"/>
                  </a:cubicBezTo>
                  <a:cubicBezTo>
                    <a:pt x="48" y="126"/>
                    <a:pt x="50" y="112"/>
                    <a:pt x="46" y="107"/>
                  </a:cubicBezTo>
                  <a:cubicBezTo>
                    <a:pt x="43" y="102"/>
                    <a:pt x="41" y="97"/>
                    <a:pt x="39" y="93"/>
                  </a:cubicBezTo>
                  <a:cubicBezTo>
                    <a:pt x="39" y="86"/>
                    <a:pt x="39" y="79"/>
                    <a:pt x="39" y="73"/>
                  </a:cubicBezTo>
                  <a:cubicBezTo>
                    <a:pt x="30" y="60"/>
                    <a:pt x="20" y="53"/>
                    <a:pt x="12" y="46"/>
                  </a:cubicBezTo>
                  <a:cubicBezTo>
                    <a:pt x="0" y="46"/>
                    <a:pt x="8" y="28"/>
                    <a:pt x="10" y="25"/>
                  </a:cubicBezTo>
                  <a:cubicBezTo>
                    <a:pt x="11" y="25"/>
                    <a:pt x="12" y="25"/>
                    <a:pt x="13" y="25"/>
                  </a:cubicBezTo>
                  <a:cubicBezTo>
                    <a:pt x="23" y="31"/>
                    <a:pt x="33" y="41"/>
                    <a:pt x="49" y="41"/>
                  </a:cubicBezTo>
                  <a:cubicBezTo>
                    <a:pt x="57" y="36"/>
                    <a:pt x="63" y="27"/>
                    <a:pt x="71" y="21"/>
                  </a:cubicBezTo>
                  <a:cubicBezTo>
                    <a:pt x="79" y="8"/>
                    <a:pt x="87" y="0"/>
                    <a:pt x="98" y="20"/>
                  </a:cubicBezTo>
                  <a:cubicBezTo>
                    <a:pt x="100" y="37"/>
                    <a:pt x="116" y="49"/>
                    <a:pt x="139" y="54"/>
                  </a:cubicBezTo>
                  <a:cubicBezTo>
                    <a:pt x="149" y="51"/>
                    <a:pt x="159" y="47"/>
                    <a:pt x="170" y="44"/>
                  </a:cubicBezTo>
                  <a:cubicBezTo>
                    <a:pt x="179" y="37"/>
                    <a:pt x="188" y="29"/>
                    <a:pt x="196" y="22"/>
                  </a:cubicBezTo>
                  <a:cubicBezTo>
                    <a:pt x="198" y="23"/>
                    <a:pt x="199" y="23"/>
                    <a:pt x="201" y="24"/>
                  </a:cubicBezTo>
                  <a:cubicBezTo>
                    <a:pt x="201" y="34"/>
                    <a:pt x="195" y="56"/>
                    <a:pt x="218" y="56"/>
                  </a:cubicBezTo>
                  <a:cubicBezTo>
                    <a:pt x="221" y="54"/>
                    <a:pt x="225" y="53"/>
                    <a:pt x="228" y="52"/>
                  </a:cubicBezTo>
                  <a:cubicBezTo>
                    <a:pt x="238" y="42"/>
                    <a:pt x="247" y="54"/>
                    <a:pt x="255" y="65"/>
                  </a:cubicBezTo>
                  <a:cubicBezTo>
                    <a:pt x="259" y="66"/>
                    <a:pt x="264" y="67"/>
                    <a:pt x="269" y="69"/>
                  </a:cubicBezTo>
                  <a:cubicBezTo>
                    <a:pt x="273" y="77"/>
                    <a:pt x="281" y="91"/>
                    <a:pt x="296" y="101"/>
                  </a:cubicBezTo>
                  <a:cubicBezTo>
                    <a:pt x="297" y="101"/>
                    <a:pt x="299" y="101"/>
                    <a:pt x="301" y="101"/>
                  </a:cubicBezTo>
                  <a:cubicBezTo>
                    <a:pt x="309" y="93"/>
                    <a:pt x="311" y="85"/>
                    <a:pt x="314" y="77"/>
                  </a:cubicBezTo>
                  <a:cubicBezTo>
                    <a:pt x="317" y="77"/>
                    <a:pt x="320" y="78"/>
                    <a:pt x="324" y="80"/>
                  </a:cubicBezTo>
                  <a:cubicBezTo>
                    <a:pt x="326" y="89"/>
                    <a:pt x="333" y="99"/>
                    <a:pt x="346" y="109"/>
                  </a:cubicBezTo>
                  <a:cubicBezTo>
                    <a:pt x="346" y="110"/>
                    <a:pt x="346" y="110"/>
                    <a:pt x="346" y="111"/>
                  </a:cubicBezTo>
                  <a:cubicBezTo>
                    <a:pt x="350" y="115"/>
                    <a:pt x="355" y="119"/>
                    <a:pt x="360" y="124"/>
                  </a:cubicBezTo>
                  <a:cubicBezTo>
                    <a:pt x="366" y="123"/>
                    <a:pt x="371" y="123"/>
                    <a:pt x="377" y="122"/>
                  </a:cubicBezTo>
                  <a:cubicBezTo>
                    <a:pt x="380" y="119"/>
                    <a:pt x="382" y="116"/>
                    <a:pt x="385" y="114"/>
                  </a:cubicBezTo>
                  <a:cubicBezTo>
                    <a:pt x="387" y="114"/>
                    <a:pt x="391" y="110"/>
                    <a:pt x="393" y="109"/>
                  </a:cubicBezTo>
                  <a:cubicBezTo>
                    <a:pt x="393" y="107"/>
                    <a:pt x="393" y="105"/>
                    <a:pt x="393" y="104"/>
                  </a:cubicBezTo>
                  <a:cubicBezTo>
                    <a:pt x="391" y="103"/>
                    <a:pt x="390" y="103"/>
                    <a:pt x="389" y="102"/>
                  </a:cubicBezTo>
                  <a:cubicBezTo>
                    <a:pt x="389" y="94"/>
                    <a:pt x="404" y="92"/>
                    <a:pt x="412" y="90"/>
                  </a:cubicBezTo>
                  <a:cubicBezTo>
                    <a:pt x="413" y="89"/>
                    <a:pt x="415" y="87"/>
                    <a:pt x="417" y="87"/>
                  </a:cubicBezTo>
                  <a:cubicBezTo>
                    <a:pt x="419" y="85"/>
                    <a:pt x="420" y="83"/>
                    <a:pt x="422" y="81"/>
                  </a:cubicBezTo>
                  <a:cubicBezTo>
                    <a:pt x="426" y="83"/>
                    <a:pt x="424" y="93"/>
                    <a:pt x="437" y="99"/>
                  </a:cubicBezTo>
                  <a:cubicBezTo>
                    <a:pt x="443" y="104"/>
                    <a:pt x="450" y="109"/>
                    <a:pt x="457" y="113"/>
                  </a:cubicBezTo>
                  <a:cubicBezTo>
                    <a:pt x="463" y="114"/>
                    <a:pt x="469" y="115"/>
                    <a:pt x="475" y="116"/>
                  </a:cubicBezTo>
                  <a:cubicBezTo>
                    <a:pt x="475" y="122"/>
                    <a:pt x="479" y="140"/>
                    <a:pt x="470" y="146"/>
                  </a:cubicBezTo>
                  <a:cubicBezTo>
                    <a:pt x="468" y="151"/>
                    <a:pt x="466" y="156"/>
                    <a:pt x="464" y="160"/>
                  </a:cubicBezTo>
                  <a:cubicBezTo>
                    <a:pt x="463" y="167"/>
                    <a:pt x="462" y="173"/>
                    <a:pt x="460" y="180"/>
                  </a:cubicBezTo>
                  <a:cubicBezTo>
                    <a:pt x="459" y="180"/>
                    <a:pt x="457" y="180"/>
                    <a:pt x="455" y="181"/>
                  </a:cubicBezTo>
                  <a:cubicBezTo>
                    <a:pt x="453" y="170"/>
                    <a:pt x="440" y="177"/>
                    <a:pt x="440" y="177"/>
                  </a:cubicBezTo>
                  <a:cubicBezTo>
                    <a:pt x="439" y="177"/>
                    <a:pt x="437" y="176"/>
                    <a:pt x="437" y="176"/>
                  </a:cubicBezTo>
                  <a:cubicBezTo>
                    <a:pt x="437" y="167"/>
                    <a:pt x="437" y="160"/>
                    <a:pt x="437" y="152"/>
                  </a:cubicBezTo>
                  <a:cubicBezTo>
                    <a:pt x="426" y="136"/>
                    <a:pt x="418" y="143"/>
                    <a:pt x="410" y="156"/>
                  </a:cubicBezTo>
                  <a:cubicBezTo>
                    <a:pt x="407" y="170"/>
                    <a:pt x="397" y="183"/>
                    <a:pt x="393" y="198"/>
                  </a:cubicBezTo>
                  <a:cubicBezTo>
                    <a:pt x="390" y="200"/>
                    <a:pt x="389" y="203"/>
                    <a:pt x="387" y="206"/>
                  </a:cubicBezTo>
                  <a:cubicBezTo>
                    <a:pt x="363" y="223"/>
                    <a:pt x="348" y="201"/>
                    <a:pt x="352" y="238"/>
                  </a:cubicBezTo>
                  <a:cubicBezTo>
                    <a:pt x="357" y="242"/>
                    <a:pt x="361" y="246"/>
                    <a:pt x="366" y="250"/>
                  </a:cubicBezTo>
                  <a:cubicBezTo>
                    <a:pt x="366" y="254"/>
                    <a:pt x="361" y="259"/>
                    <a:pt x="358" y="262"/>
                  </a:cubicBezTo>
                  <a:cubicBezTo>
                    <a:pt x="346" y="266"/>
                    <a:pt x="324" y="262"/>
                    <a:pt x="317" y="259"/>
                  </a:cubicBezTo>
                  <a:cubicBezTo>
                    <a:pt x="304" y="246"/>
                    <a:pt x="295" y="255"/>
                    <a:pt x="287" y="264"/>
                  </a:cubicBezTo>
                  <a:cubicBezTo>
                    <a:pt x="283" y="276"/>
                    <a:pt x="279" y="288"/>
                    <a:pt x="275" y="299"/>
                  </a:cubicBezTo>
                  <a:cubicBezTo>
                    <a:pt x="274" y="301"/>
                    <a:pt x="272" y="303"/>
                    <a:pt x="272" y="305"/>
                  </a:cubicBezTo>
                  <a:cubicBezTo>
                    <a:pt x="270" y="305"/>
                    <a:pt x="268" y="306"/>
                    <a:pt x="266" y="307"/>
                  </a:cubicBezTo>
                  <a:close/>
                </a:path>
              </a:pathLst>
            </a:custGeom>
            <a:solidFill>
              <a:srgbClr val="C0C0C0"/>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41" name="Freeform 75"/>
            <p:cNvSpPr/>
            <p:nvPr/>
          </p:nvSpPr>
          <p:spPr bwMode="auto">
            <a:xfrm rot="252837">
              <a:off x="5011738" y="1206500"/>
              <a:ext cx="1285875" cy="1149350"/>
            </a:xfrm>
            <a:custGeom>
              <a:avLst/>
              <a:gdLst/>
              <a:ahLst/>
              <a:cxnLst>
                <a:cxn ang="0">
                  <a:pos x="434" y="539"/>
                </a:cxn>
                <a:cxn ang="0">
                  <a:pos x="392" y="536"/>
                </a:cxn>
                <a:cxn ang="0">
                  <a:pos x="365" y="505"/>
                </a:cxn>
                <a:cxn ang="0">
                  <a:pos x="321" y="485"/>
                </a:cxn>
                <a:cxn ang="0">
                  <a:pos x="301" y="465"/>
                </a:cxn>
                <a:cxn ang="0">
                  <a:pos x="274" y="470"/>
                </a:cxn>
                <a:cxn ang="0">
                  <a:pos x="228" y="489"/>
                </a:cxn>
                <a:cxn ang="0">
                  <a:pos x="172" y="444"/>
                </a:cxn>
                <a:cxn ang="0">
                  <a:pos x="162" y="434"/>
                </a:cxn>
                <a:cxn ang="0">
                  <a:pos x="179" y="407"/>
                </a:cxn>
                <a:cxn ang="0">
                  <a:pos x="156" y="413"/>
                </a:cxn>
                <a:cxn ang="0">
                  <a:pos x="124" y="387"/>
                </a:cxn>
                <a:cxn ang="0">
                  <a:pos x="147" y="347"/>
                </a:cxn>
                <a:cxn ang="0">
                  <a:pos x="171" y="292"/>
                </a:cxn>
                <a:cxn ang="0">
                  <a:pos x="186" y="323"/>
                </a:cxn>
                <a:cxn ang="0">
                  <a:pos x="206" y="279"/>
                </a:cxn>
                <a:cxn ang="0">
                  <a:pos x="192" y="211"/>
                </a:cxn>
                <a:cxn ang="0">
                  <a:pos x="197" y="182"/>
                </a:cxn>
                <a:cxn ang="0">
                  <a:pos x="177" y="90"/>
                </a:cxn>
                <a:cxn ang="0">
                  <a:pos x="122" y="119"/>
                </a:cxn>
                <a:cxn ang="0">
                  <a:pos x="72" y="105"/>
                </a:cxn>
                <a:cxn ang="0">
                  <a:pos x="25" y="90"/>
                </a:cxn>
                <a:cxn ang="0">
                  <a:pos x="0" y="68"/>
                </a:cxn>
                <a:cxn ang="0">
                  <a:pos x="14" y="35"/>
                </a:cxn>
                <a:cxn ang="0">
                  <a:pos x="41" y="8"/>
                </a:cxn>
                <a:cxn ang="0">
                  <a:pos x="115" y="14"/>
                </a:cxn>
                <a:cxn ang="0">
                  <a:pos x="210" y="79"/>
                </a:cxn>
                <a:cxn ang="0">
                  <a:pos x="245" y="127"/>
                </a:cxn>
                <a:cxn ang="0">
                  <a:pos x="276" y="173"/>
                </a:cxn>
                <a:cxn ang="0">
                  <a:pos x="284" y="201"/>
                </a:cxn>
                <a:cxn ang="0">
                  <a:pos x="345" y="208"/>
                </a:cxn>
                <a:cxn ang="0">
                  <a:pos x="373" y="203"/>
                </a:cxn>
                <a:cxn ang="0">
                  <a:pos x="423" y="232"/>
                </a:cxn>
                <a:cxn ang="0">
                  <a:pos x="475" y="286"/>
                </a:cxn>
                <a:cxn ang="0">
                  <a:pos x="521" y="269"/>
                </a:cxn>
                <a:cxn ang="0">
                  <a:pos x="571" y="213"/>
                </a:cxn>
                <a:cxn ang="0">
                  <a:pos x="608" y="209"/>
                </a:cxn>
                <a:cxn ang="0">
                  <a:pos x="626" y="258"/>
                </a:cxn>
                <a:cxn ang="0">
                  <a:pos x="618" y="297"/>
                </a:cxn>
                <a:cxn ang="0">
                  <a:pos x="615" y="367"/>
                </a:cxn>
                <a:cxn ang="0">
                  <a:pos x="611" y="413"/>
                </a:cxn>
                <a:cxn ang="0">
                  <a:pos x="587" y="424"/>
                </a:cxn>
                <a:cxn ang="0">
                  <a:pos x="547" y="435"/>
                </a:cxn>
                <a:cxn ang="0">
                  <a:pos x="539" y="476"/>
                </a:cxn>
                <a:cxn ang="0">
                  <a:pos x="565" y="550"/>
                </a:cxn>
                <a:cxn ang="0">
                  <a:pos x="509" y="519"/>
                </a:cxn>
                <a:cxn ang="0">
                  <a:pos x="476" y="537"/>
                </a:cxn>
                <a:cxn ang="0">
                  <a:pos x="478" y="549"/>
                </a:cxn>
                <a:cxn ang="0">
                  <a:pos x="456" y="561"/>
                </a:cxn>
              </a:cxnLst>
              <a:rect l="0" t="0" r="r" b="b"/>
              <a:pathLst>
                <a:path w="626" h="561">
                  <a:moveTo>
                    <a:pt x="456" y="561"/>
                  </a:moveTo>
                  <a:cubicBezTo>
                    <a:pt x="449" y="553"/>
                    <a:pt x="441" y="546"/>
                    <a:pt x="434" y="539"/>
                  </a:cubicBezTo>
                  <a:cubicBezTo>
                    <a:pt x="424" y="520"/>
                    <a:pt x="419" y="511"/>
                    <a:pt x="403" y="513"/>
                  </a:cubicBezTo>
                  <a:cubicBezTo>
                    <a:pt x="399" y="521"/>
                    <a:pt x="396" y="529"/>
                    <a:pt x="392" y="536"/>
                  </a:cubicBezTo>
                  <a:cubicBezTo>
                    <a:pt x="383" y="536"/>
                    <a:pt x="371" y="515"/>
                    <a:pt x="371" y="512"/>
                  </a:cubicBezTo>
                  <a:cubicBezTo>
                    <a:pt x="367" y="512"/>
                    <a:pt x="367" y="507"/>
                    <a:pt x="365" y="505"/>
                  </a:cubicBezTo>
                  <a:cubicBezTo>
                    <a:pt x="361" y="504"/>
                    <a:pt x="357" y="503"/>
                    <a:pt x="353" y="502"/>
                  </a:cubicBezTo>
                  <a:cubicBezTo>
                    <a:pt x="341" y="483"/>
                    <a:pt x="335" y="486"/>
                    <a:pt x="321" y="485"/>
                  </a:cubicBezTo>
                  <a:cubicBezTo>
                    <a:pt x="321" y="485"/>
                    <a:pt x="320" y="486"/>
                    <a:pt x="319" y="487"/>
                  </a:cubicBezTo>
                  <a:cubicBezTo>
                    <a:pt x="295" y="499"/>
                    <a:pt x="300" y="476"/>
                    <a:pt x="301" y="465"/>
                  </a:cubicBezTo>
                  <a:cubicBezTo>
                    <a:pt x="293" y="457"/>
                    <a:pt x="291" y="458"/>
                    <a:pt x="285" y="458"/>
                  </a:cubicBezTo>
                  <a:cubicBezTo>
                    <a:pt x="281" y="462"/>
                    <a:pt x="278" y="466"/>
                    <a:pt x="274" y="470"/>
                  </a:cubicBezTo>
                  <a:cubicBezTo>
                    <a:pt x="272" y="471"/>
                    <a:pt x="269" y="472"/>
                    <a:pt x="267" y="474"/>
                  </a:cubicBezTo>
                  <a:cubicBezTo>
                    <a:pt x="259" y="485"/>
                    <a:pt x="238" y="488"/>
                    <a:pt x="228" y="489"/>
                  </a:cubicBezTo>
                  <a:cubicBezTo>
                    <a:pt x="206" y="480"/>
                    <a:pt x="200" y="475"/>
                    <a:pt x="196" y="459"/>
                  </a:cubicBezTo>
                  <a:cubicBezTo>
                    <a:pt x="185" y="441"/>
                    <a:pt x="187" y="446"/>
                    <a:pt x="172" y="444"/>
                  </a:cubicBezTo>
                  <a:cubicBezTo>
                    <a:pt x="171" y="444"/>
                    <a:pt x="170" y="445"/>
                    <a:pt x="170" y="446"/>
                  </a:cubicBezTo>
                  <a:cubicBezTo>
                    <a:pt x="163" y="443"/>
                    <a:pt x="162" y="439"/>
                    <a:pt x="162" y="434"/>
                  </a:cubicBezTo>
                  <a:cubicBezTo>
                    <a:pt x="167" y="432"/>
                    <a:pt x="175" y="432"/>
                    <a:pt x="182" y="426"/>
                  </a:cubicBezTo>
                  <a:cubicBezTo>
                    <a:pt x="182" y="417"/>
                    <a:pt x="180" y="411"/>
                    <a:pt x="179" y="407"/>
                  </a:cubicBezTo>
                  <a:cubicBezTo>
                    <a:pt x="177" y="404"/>
                    <a:pt x="176" y="401"/>
                    <a:pt x="175" y="399"/>
                  </a:cubicBezTo>
                  <a:cubicBezTo>
                    <a:pt x="161" y="399"/>
                    <a:pt x="162" y="401"/>
                    <a:pt x="156" y="413"/>
                  </a:cubicBezTo>
                  <a:cubicBezTo>
                    <a:pt x="145" y="413"/>
                    <a:pt x="139" y="404"/>
                    <a:pt x="132" y="401"/>
                  </a:cubicBezTo>
                  <a:cubicBezTo>
                    <a:pt x="130" y="392"/>
                    <a:pt x="129" y="393"/>
                    <a:pt x="124" y="387"/>
                  </a:cubicBezTo>
                  <a:cubicBezTo>
                    <a:pt x="124" y="383"/>
                    <a:pt x="124" y="378"/>
                    <a:pt x="124" y="373"/>
                  </a:cubicBezTo>
                  <a:cubicBezTo>
                    <a:pt x="135" y="365"/>
                    <a:pt x="140" y="357"/>
                    <a:pt x="147" y="347"/>
                  </a:cubicBezTo>
                  <a:cubicBezTo>
                    <a:pt x="149" y="327"/>
                    <a:pt x="165" y="318"/>
                    <a:pt x="170" y="303"/>
                  </a:cubicBezTo>
                  <a:cubicBezTo>
                    <a:pt x="170" y="299"/>
                    <a:pt x="170" y="295"/>
                    <a:pt x="171" y="292"/>
                  </a:cubicBezTo>
                  <a:cubicBezTo>
                    <a:pt x="175" y="292"/>
                    <a:pt x="177" y="295"/>
                    <a:pt x="178" y="298"/>
                  </a:cubicBezTo>
                  <a:cubicBezTo>
                    <a:pt x="178" y="305"/>
                    <a:pt x="173" y="317"/>
                    <a:pt x="186" y="323"/>
                  </a:cubicBezTo>
                  <a:cubicBezTo>
                    <a:pt x="192" y="323"/>
                    <a:pt x="200" y="324"/>
                    <a:pt x="206" y="318"/>
                  </a:cubicBezTo>
                  <a:cubicBezTo>
                    <a:pt x="206" y="305"/>
                    <a:pt x="208" y="287"/>
                    <a:pt x="206" y="279"/>
                  </a:cubicBezTo>
                  <a:cubicBezTo>
                    <a:pt x="190" y="264"/>
                    <a:pt x="196" y="255"/>
                    <a:pt x="203" y="242"/>
                  </a:cubicBezTo>
                  <a:cubicBezTo>
                    <a:pt x="203" y="229"/>
                    <a:pt x="195" y="213"/>
                    <a:pt x="192" y="211"/>
                  </a:cubicBezTo>
                  <a:cubicBezTo>
                    <a:pt x="191" y="206"/>
                    <a:pt x="190" y="202"/>
                    <a:pt x="190" y="197"/>
                  </a:cubicBezTo>
                  <a:cubicBezTo>
                    <a:pt x="192" y="192"/>
                    <a:pt x="195" y="186"/>
                    <a:pt x="197" y="182"/>
                  </a:cubicBezTo>
                  <a:cubicBezTo>
                    <a:pt x="197" y="171"/>
                    <a:pt x="202" y="163"/>
                    <a:pt x="205" y="153"/>
                  </a:cubicBezTo>
                  <a:cubicBezTo>
                    <a:pt x="205" y="130"/>
                    <a:pt x="192" y="98"/>
                    <a:pt x="177" y="90"/>
                  </a:cubicBezTo>
                  <a:cubicBezTo>
                    <a:pt x="162" y="90"/>
                    <a:pt x="155" y="91"/>
                    <a:pt x="147" y="99"/>
                  </a:cubicBezTo>
                  <a:cubicBezTo>
                    <a:pt x="139" y="114"/>
                    <a:pt x="138" y="116"/>
                    <a:pt x="122" y="119"/>
                  </a:cubicBezTo>
                  <a:cubicBezTo>
                    <a:pt x="107" y="119"/>
                    <a:pt x="97" y="125"/>
                    <a:pt x="86" y="127"/>
                  </a:cubicBezTo>
                  <a:cubicBezTo>
                    <a:pt x="73" y="120"/>
                    <a:pt x="74" y="112"/>
                    <a:pt x="72" y="105"/>
                  </a:cubicBezTo>
                  <a:cubicBezTo>
                    <a:pt x="70" y="89"/>
                    <a:pt x="64" y="80"/>
                    <a:pt x="58" y="73"/>
                  </a:cubicBezTo>
                  <a:cubicBezTo>
                    <a:pt x="30" y="61"/>
                    <a:pt x="25" y="64"/>
                    <a:pt x="25" y="90"/>
                  </a:cubicBezTo>
                  <a:cubicBezTo>
                    <a:pt x="17" y="83"/>
                    <a:pt x="8" y="77"/>
                    <a:pt x="1" y="71"/>
                  </a:cubicBezTo>
                  <a:cubicBezTo>
                    <a:pt x="0" y="70"/>
                    <a:pt x="0" y="69"/>
                    <a:pt x="0" y="68"/>
                  </a:cubicBezTo>
                  <a:cubicBezTo>
                    <a:pt x="4" y="64"/>
                    <a:pt x="7" y="60"/>
                    <a:pt x="11" y="56"/>
                  </a:cubicBezTo>
                  <a:cubicBezTo>
                    <a:pt x="12" y="48"/>
                    <a:pt x="13" y="41"/>
                    <a:pt x="14" y="35"/>
                  </a:cubicBezTo>
                  <a:cubicBezTo>
                    <a:pt x="11" y="33"/>
                    <a:pt x="8" y="30"/>
                    <a:pt x="6" y="28"/>
                  </a:cubicBezTo>
                  <a:cubicBezTo>
                    <a:pt x="18" y="21"/>
                    <a:pt x="30" y="14"/>
                    <a:pt x="41" y="8"/>
                  </a:cubicBezTo>
                  <a:cubicBezTo>
                    <a:pt x="54" y="3"/>
                    <a:pt x="63" y="0"/>
                    <a:pt x="81" y="4"/>
                  </a:cubicBezTo>
                  <a:cubicBezTo>
                    <a:pt x="90" y="11"/>
                    <a:pt x="99" y="13"/>
                    <a:pt x="115" y="14"/>
                  </a:cubicBezTo>
                  <a:cubicBezTo>
                    <a:pt x="132" y="9"/>
                    <a:pt x="139" y="8"/>
                    <a:pt x="159" y="17"/>
                  </a:cubicBezTo>
                  <a:cubicBezTo>
                    <a:pt x="173" y="34"/>
                    <a:pt x="190" y="57"/>
                    <a:pt x="210" y="79"/>
                  </a:cubicBezTo>
                  <a:cubicBezTo>
                    <a:pt x="213" y="87"/>
                    <a:pt x="217" y="96"/>
                    <a:pt x="221" y="106"/>
                  </a:cubicBezTo>
                  <a:cubicBezTo>
                    <a:pt x="229" y="113"/>
                    <a:pt x="236" y="120"/>
                    <a:pt x="245" y="127"/>
                  </a:cubicBezTo>
                  <a:cubicBezTo>
                    <a:pt x="254" y="139"/>
                    <a:pt x="256" y="139"/>
                    <a:pt x="258" y="159"/>
                  </a:cubicBezTo>
                  <a:cubicBezTo>
                    <a:pt x="260" y="162"/>
                    <a:pt x="268" y="167"/>
                    <a:pt x="276" y="173"/>
                  </a:cubicBezTo>
                  <a:cubicBezTo>
                    <a:pt x="277" y="175"/>
                    <a:pt x="278" y="176"/>
                    <a:pt x="279" y="178"/>
                  </a:cubicBezTo>
                  <a:cubicBezTo>
                    <a:pt x="279" y="185"/>
                    <a:pt x="279" y="189"/>
                    <a:pt x="284" y="201"/>
                  </a:cubicBezTo>
                  <a:cubicBezTo>
                    <a:pt x="287" y="203"/>
                    <a:pt x="309" y="204"/>
                    <a:pt x="320" y="201"/>
                  </a:cubicBezTo>
                  <a:cubicBezTo>
                    <a:pt x="330" y="201"/>
                    <a:pt x="331" y="199"/>
                    <a:pt x="345" y="208"/>
                  </a:cubicBezTo>
                  <a:cubicBezTo>
                    <a:pt x="350" y="208"/>
                    <a:pt x="354" y="208"/>
                    <a:pt x="358" y="208"/>
                  </a:cubicBezTo>
                  <a:cubicBezTo>
                    <a:pt x="363" y="203"/>
                    <a:pt x="362" y="203"/>
                    <a:pt x="373" y="203"/>
                  </a:cubicBezTo>
                  <a:cubicBezTo>
                    <a:pt x="380" y="210"/>
                    <a:pt x="388" y="217"/>
                    <a:pt x="396" y="224"/>
                  </a:cubicBezTo>
                  <a:cubicBezTo>
                    <a:pt x="403" y="224"/>
                    <a:pt x="414" y="223"/>
                    <a:pt x="423" y="232"/>
                  </a:cubicBezTo>
                  <a:cubicBezTo>
                    <a:pt x="426" y="239"/>
                    <a:pt x="429" y="246"/>
                    <a:pt x="433" y="253"/>
                  </a:cubicBezTo>
                  <a:cubicBezTo>
                    <a:pt x="436" y="267"/>
                    <a:pt x="449" y="302"/>
                    <a:pt x="475" y="286"/>
                  </a:cubicBezTo>
                  <a:cubicBezTo>
                    <a:pt x="486" y="284"/>
                    <a:pt x="499" y="280"/>
                    <a:pt x="513" y="275"/>
                  </a:cubicBezTo>
                  <a:cubicBezTo>
                    <a:pt x="515" y="273"/>
                    <a:pt x="518" y="271"/>
                    <a:pt x="521" y="269"/>
                  </a:cubicBezTo>
                  <a:cubicBezTo>
                    <a:pt x="532" y="250"/>
                    <a:pt x="540" y="242"/>
                    <a:pt x="556" y="229"/>
                  </a:cubicBezTo>
                  <a:cubicBezTo>
                    <a:pt x="561" y="223"/>
                    <a:pt x="566" y="218"/>
                    <a:pt x="571" y="213"/>
                  </a:cubicBezTo>
                  <a:cubicBezTo>
                    <a:pt x="579" y="206"/>
                    <a:pt x="588" y="198"/>
                    <a:pt x="598" y="191"/>
                  </a:cubicBezTo>
                  <a:cubicBezTo>
                    <a:pt x="612" y="193"/>
                    <a:pt x="612" y="191"/>
                    <a:pt x="608" y="209"/>
                  </a:cubicBezTo>
                  <a:cubicBezTo>
                    <a:pt x="608" y="217"/>
                    <a:pt x="608" y="225"/>
                    <a:pt x="608" y="234"/>
                  </a:cubicBezTo>
                  <a:cubicBezTo>
                    <a:pt x="612" y="238"/>
                    <a:pt x="623" y="245"/>
                    <a:pt x="626" y="258"/>
                  </a:cubicBezTo>
                  <a:cubicBezTo>
                    <a:pt x="625" y="266"/>
                    <a:pt x="625" y="274"/>
                    <a:pt x="624" y="282"/>
                  </a:cubicBezTo>
                  <a:cubicBezTo>
                    <a:pt x="622" y="287"/>
                    <a:pt x="620" y="291"/>
                    <a:pt x="618" y="297"/>
                  </a:cubicBezTo>
                  <a:cubicBezTo>
                    <a:pt x="612" y="303"/>
                    <a:pt x="613" y="316"/>
                    <a:pt x="616" y="330"/>
                  </a:cubicBezTo>
                  <a:cubicBezTo>
                    <a:pt x="615" y="342"/>
                    <a:pt x="615" y="354"/>
                    <a:pt x="615" y="367"/>
                  </a:cubicBezTo>
                  <a:cubicBezTo>
                    <a:pt x="614" y="374"/>
                    <a:pt x="612" y="381"/>
                    <a:pt x="610" y="389"/>
                  </a:cubicBezTo>
                  <a:cubicBezTo>
                    <a:pt x="610" y="397"/>
                    <a:pt x="611" y="405"/>
                    <a:pt x="611" y="413"/>
                  </a:cubicBezTo>
                  <a:cubicBezTo>
                    <a:pt x="608" y="417"/>
                    <a:pt x="605" y="421"/>
                    <a:pt x="600" y="423"/>
                  </a:cubicBezTo>
                  <a:cubicBezTo>
                    <a:pt x="595" y="423"/>
                    <a:pt x="591" y="424"/>
                    <a:pt x="587" y="424"/>
                  </a:cubicBezTo>
                  <a:cubicBezTo>
                    <a:pt x="572" y="420"/>
                    <a:pt x="566" y="420"/>
                    <a:pt x="556" y="420"/>
                  </a:cubicBezTo>
                  <a:cubicBezTo>
                    <a:pt x="551" y="425"/>
                    <a:pt x="551" y="430"/>
                    <a:pt x="547" y="435"/>
                  </a:cubicBezTo>
                  <a:cubicBezTo>
                    <a:pt x="530" y="439"/>
                    <a:pt x="528" y="445"/>
                    <a:pt x="530" y="462"/>
                  </a:cubicBezTo>
                  <a:cubicBezTo>
                    <a:pt x="533" y="467"/>
                    <a:pt x="536" y="472"/>
                    <a:pt x="539" y="476"/>
                  </a:cubicBezTo>
                  <a:cubicBezTo>
                    <a:pt x="542" y="490"/>
                    <a:pt x="549" y="508"/>
                    <a:pt x="559" y="527"/>
                  </a:cubicBezTo>
                  <a:cubicBezTo>
                    <a:pt x="561" y="535"/>
                    <a:pt x="563" y="542"/>
                    <a:pt x="565" y="550"/>
                  </a:cubicBezTo>
                  <a:cubicBezTo>
                    <a:pt x="545" y="550"/>
                    <a:pt x="533" y="535"/>
                    <a:pt x="525" y="531"/>
                  </a:cubicBezTo>
                  <a:cubicBezTo>
                    <a:pt x="525" y="518"/>
                    <a:pt x="513" y="515"/>
                    <a:pt x="509" y="519"/>
                  </a:cubicBezTo>
                  <a:cubicBezTo>
                    <a:pt x="508" y="520"/>
                    <a:pt x="508" y="522"/>
                    <a:pt x="508" y="523"/>
                  </a:cubicBezTo>
                  <a:cubicBezTo>
                    <a:pt x="495" y="525"/>
                    <a:pt x="486" y="532"/>
                    <a:pt x="476" y="537"/>
                  </a:cubicBezTo>
                  <a:cubicBezTo>
                    <a:pt x="476" y="541"/>
                    <a:pt x="476" y="544"/>
                    <a:pt x="476" y="548"/>
                  </a:cubicBezTo>
                  <a:cubicBezTo>
                    <a:pt x="477" y="548"/>
                    <a:pt x="477" y="549"/>
                    <a:pt x="478" y="549"/>
                  </a:cubicBezTo>
                  <a:cubicBezTo>
                    <a:pt x="472" y="552"/>
                    <a:pt x="470" y="555"/>
                    <a:pt x="467" y="558"/>
                  </a:cubicBezTo>
                  <a:cubicBezTo>
                    <a:pt x="463" y="559"/>
                    <a:pt x="460" y="560"/>
                    <a:pt x="456" y="561"/>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sp>
          <p:nvSpPr>
            <p:cNvPr id="42" name="Freeform 76"/>
            <p:cNvSpPr/>
            <p:nvPr/>
          </p:nvSpPr>
          <p:spPr bwMode="auto">
            <a:xfrm rot="252837">
              <a:off x="2324100" y="2476500"/>
              <a:ext cx="1633538" cy="1397000"/>
            </a:xfrm>
            <a:custGeom>
              <a:avLst/>
              <a:gdLst/>
              <a:ahLst/>
              <a:cxnLst>
                <a:cxn ang="0">
                  <a:pos x="695" y="522"/>
                </a:cxn>
                <a:cxn ang="0">
                  <a:pos x="688" y="588"/>
                </a:cxn>
                <a:cxn ang="0">
                  <a:pos x="658" y="620"/>
                </a:cxn>
                <a:cxn ang="0">
                  <a:pos x="662" y="644"/>
                </a:cxn>
                <a:cxn ang="0">
                  <a:pos x="656" y="670"/>
                </a:cxn>
                <a:cxn ang="0">
                  <a:pos x="598" y="681"/>
                </a:cxn>
                <a:cxn ang="0">
                  <a:pos x="580" y="667"/>
                </a:cxn>
                <a:cxn ang="0">
                  <a:pos x="565" y="633"/>
                </a:cxn>
                <a:cxn ang="0">
                  <a:pos x="526" y="605"/>
                </a:cxn>
                <a:cxn ang="0">
                  <a:pos x="473" y="585"/>
                </a:cxn>
                <a:cxn ang="0">
                  <a:pos x="471" y="627"/>
                </a:cxn>
                <a:cxn ang="0">
                  <a:pos x="448" y="636"/>
                </a:cxn>
                <a:cxn ang="0">
                  <a:pos x="391" y="568"/>
                </a:cxn>
                <a:cxn ang="0">
                  <a:pos x="434" y="581"/>
                </a:cxn>
                <a:cxn ang="0">
                  <a:pos x="461" y="565"/>
                </a:cxn>
                <a:cxn ang="0">
                  <a:pos x="480" y="500"/>
                </a:cxn>
                <a:cxn ang="0">
                  <a:pos x="506" y="482"/>
                </a:cxn>
                <a:cxn ang="0">
                  <a:pos x="495" y="426"/>
                </a:cxn>
                <a:cxn ang="0">
                  <a:pos x="480" y="379"/>
                </a:cxn>
                <a:cxn ang="0">
                  <a:pos x="438" y="351"/>
                </a:cxn>
                <a:cxn ang="0">
                  <a:pos x="369" y="293"/>
                </a:cxn>
                <a:cxn ang="0">
                  <a:pos x="338" y="296"/>
                </a:cxn>
                <a:cxn ang="0">
                  <a:pos x="289" y="264"/>
                </a:cxn>
                <a:cxn ang="0">
                  <a:pos x="213" y="246"/>
                </a:cxn>
                <a:cxn ang="0">
                  <a:pos x="206" y="282"/>
                </a:cxn>
                <a:cxn ang="0">
                  <a:pos x="130" y="244"/>
                </a:cxn>
                <a:cxn ang="0">
                  <a:pos x="22" y="217"/>
                </a:cxn>
                <a:cxn ang="0">
                  <a:pos x="10" y="190"/>
                </a:cxn>
                <a:cxn ang="0">
                  <a:pos x="21" y="146"/>
                </a:cxn>
                <a:cxn ang="0">
                  <a:pos x="72" y="119"/>
                </a:cxn>
                <a:cxn ang="0">
                  <a:pos x="139" y="75"/>
                </a:cxn>
                <a:cxn ang="0">
                  <a:pos x="178" y="43"/>
                </a:cxn>
                <a:cxn ang="0">
                  <a:pos x="249" y="17"/>
                </a:cxn>
                <a:cxn ang="0">
                  <a:pos x="262" y="67"/>
                </a:cxn>
                <a:cxn ang="0">
                  <a:pos x="255" y="109"/>
                </a:cxn>
                <a:cxn ang="0">
                  <a:pos x="284" y="139"/>
                </a:cxn>
                <a:cxn ang="0">
                  <a:pos x="301" y="165"/>
                </a:cxn>
                <a:cxn ang="0">
                  <a:pos x="374" y="158"/>
                </a:cxn>
                <a:cxn ang="0">
                  <a:pos x="342" y="210"/>
                </a:cxn>
                <a:cxn ang="0">
                  <a:pos x="387" y="241"/>
                </a:cxn>
                <a:cxn ang="0">
                  <a:pos x="423" y="290"/>
                </a:cxn>
                <a:cxn ang="0">
                  <a:pos x="473" y="258"/>
                </a:cxn>
                <a:cxn ang="0">
                  <a:pos x="510" y="267"/>
                </a:cxn>
                <a:cxn ang="0">
                  <a:pos x="559" y="243"/>
                </a:cxn>
                <a:cxn ang="0">
                  <a:pos x="540" y="286"/>
                </a:cxn>
                <a:cxn ang="0">
                  <a:pos x="540" y="354"/>
                </a:cxn>
                <a:cxn ang="0">
                  <a:pos x="573" y="373"/>
                </a:cxn>
                <a:cxn ang="0">
                  <a:pos x="622" y="415"/>
                </a:cxn>
                <a:cxn ang="0">
                  <a:pos x="633" y="479"/>
                </a:cxn>
                <a:cxn ang="0">
                  <a:pos x="686" y="493"/>
                </a:cxn>
                <a:cxn ang="0">
                  <a:pos x="701" y="445"/>
                </a:cxn>
                <a:cxn ang="0">
                  <a:pos x="698" y="407"/>
                </a:cxn>
                <a:cxn ang="0">
                  <a:pos x="711" y="387"/>
                </a:cxn>
                <a:cxn ang="0">
                  <a:pos x="722" y="393"/>
                </a:cxn>
                <a:cxn ang="0">
                  <a:pos x="760" y="420"/>
                </a:cxn>
                <a:cxn ang="0">
                  <a:pos x="797" y="439"/>
                </a:cxn>
                <a:cxn ang="0">
                  <a:pos x="793" y="490"/>
                </a:cxn>
                <a:cxn ang="0">
                  <a:pos x="778" y="503"/>
                </a:cxn>
                <a:cxn ang="0">
                  <a:pos x="748" y="534"/>
                </a:cxn>
              </a:cxnLst>
              <a:rect l="0" t="0" r="r" b="b"/>
              <a:pathLst>
                <a:path w="797" h="681">
                  <a:moveTo>
                    <a:pt x="742" y="535"/>
                  </a:moveTo>
                  <a:cubicBezTo>
                    <a:pt x="724" y="520"/>
                    <a:pt x="711" y="521"/>
                    <a:pt x="695" y="522"/>
                  </a:cubicBezTo>
                  <a:cubicBezTo>
                    <a:pt x="692" y="524"/>
                    <a:pt x="688" y="525"/>
                    <a:pt x="683" y="526"/>
                  </a:cubicBezTo>
                  <a:cubicBezTo>
                    <a:pt x="671" y="544"/>
                    <a:pt x="677" y="565"/>
                    <a:pt x="688" y="588"/>
                  </a:cubicBezTo>
                  <a:cubicBezTo>
                    <a:pt x="688" y="598"/>
                    <a:pt x="690" y="607"/>
                    <a:pt x="687" y="620"/>
                  </a:cubicBezTo>
                  <a:cubicBezTo>
                    <a:pt x="677" y="620"/>
                    <a:pt x="668" y="620"/>
                    <a:pt x="658" y="620"/>
                  </a:cubicBezTo>
                  <a:cubicBezTo>
                    <a:pt x="649" y="625"/>
                    <a:pt x="652" y="624"/>
                    <a:pt x="651" y="636"/>
                  </a:cubicBezTo>
                  <a:cubicBezTo>
                    <a:pt x="654" y="638"/>
                    <a:pt x="658" y="641"/>
                    <a:pt x="662" y="644"/>
                  </a:cubicBezTo>
                  <a:cubicBezTo>
                    <a:pt x="662" y="647"/>
                    <a:pt x="662" y="650"/>
                    <a:pt x="662" y="653"/>
                  </a:cubicBezTo>
                  <a:cubicBezTo>
                    <a:pt x="660" y="659"/>
                    <a:pt x="658" y="664"/>
                    <a:pt x="656" y="670"/>
                  </a:cubicBezTo>
                  <a:cubicBezTo>
                    <a:pt x="642" y="670"/>
                    <a:pt x="639" y="677"/>
                    <a:pt x="629" y="680"/>
                  </a:cubicBezTo>
                  <a:cubicBezTo>
                    <a:pt x="619" y="680"/>
                    <a:pt x="608" y="680"/>
                    <a:pt x="598" y="681"/>
                  </a:cubicBezTo>
                  <a:cubicBezTo>
                    <a:pt x="596" y="680"/>
                    <a:pt x="595" y="680"/>
                    <a:pt x="595" y="680"/>
                  </a:cubicBezTo>
                  <a:cubicBezTo>
                    <a:pt x="589" y="671"/>
                    <a:pt x="583" y="667"/>
                    <a:pt x="580" y="667"/>
                  </a:cubicBezTo>
                  <a:cubicBezTo>
                    <a:pt x="579" y="664"/>
                    <a:pt x="578" y="661"/>
                    <a:pt x="577" y="659"/>
                  </a:cubicBezTo>
                  <a:cubicBezTo>
                    <a:pt x="573" y="650"/>
                    <a:pt x="569" y="641"/>
                    <a:pt x="565" y="633"/>
                  </a:cubicBezTo>
                  <a:cubicBezTo>
                    <a:pt x="560" y="630"/>
                    <a:pt x="555" y="626"/>
                    <a:pt x="551" y="623"/>
                  </a:cubicBezTo>
                  <a:cubicBezTo>
                    <a:pt x="544" y="611"/>
                    <a:pt x="532" y="607"/>
                    <a:pt x="526" y="605"/>
                  </a:cubicBezTo>
                  <a:cubicBezTo>
                    <a:pt x="522" y="603"/>
                    <a:pt x="519" y="601"/>
                    <a:pt x="515" y="598"/>
                  </a:cubicBezTo>
                  <a:cubicBezTo>
                    <a:pt x="501" y="570"/>
                    <a:pt x="495" y="572"/>
                    <a:pt x="473" y="585"/>
                  </a:cubicBezTo>
                  <a:cubicBezTo>
                    <a:pt x="465" y="594"/>
                    <a:pt x="464" y="591"/>
                    <a:pt x="464" y="606"/>
                  </a:cubicBezTo>
                  <a:cubicBezTo>
                    <a:pt x="467" y="610"/>
                    <a:pt x="471" y="616"/>
                    <a:pt x="471" y="627"/>
                  </a:cubicBezTo>
                  <a:cubicBezTo>
                    <a:pt x="466" y="630"/>
                    <a:pt x="464" y="633"/>
                    <a:pt x="457" y="635"/>
                  </a:cubicBezTo>
                  <a:cubicBezTo>
                    <a:pt x="454" y="635"/>
                    <a:pt x="451" y="635"/>
                    <a:pt x="448" y="636"/>
                  </a:cubicBezTo>
                  <a:cubicBezTo>
                    <a:pt x="429" y="625"/>
                    <a:pt x="412" y="613"/>
                    <a:pt x="403" y="601"/>
                  </a:cubicBezTo>
                  <a:cubicBezTo>
                    <a:pt x="391" y="595"/>
                    <a:pt x="391" y="572"/>
                    <a:pt x="391" y="568"/>
                  </a:cubicBezTo>
                  <a:cubicBezTo>
                    <a:pt x="399" y="568"/>
                    <a:pt x="407" y="568"/>
                    <a:pt x="415" y="568"/>
                  </a:cubicBezTo>
                  <a:cubicBezTo>
                    <a:pt x="421" y="572"/>
                    <a:pt x="427" y="577"/>
                    <a:pt x="434" y="581"/>
                  </a:cubicBezTo>
                  <a:cubicBezTo>
                    <a:pt x="443" y="581"/>
                    <a:pt x="453" y="584"/>
                    <a:pt x="461" y="574"/>
                  </a:cubicBezTo>
                  <a:cubicBezTo>
                    <a:pt x="461" y="571"/>
                    <a:pt x="461" y="568"/>
                    <a:pt x="461" y="565"/>
                  </a:cubicBezTo>
                  <a:cubicBezTo>
                    <a:pt x="453" y="557"/>
                    <a:pt x="444" y="549"/>
                    <a:pt x="442" y="545"/>
                  </a:cubicBezTo>
                  <a:cubicBezTo>
                    <a:pt x="454" y="538"/>
                    <a:pt x="477" y="514"/>
                    <a:pt x="480" y="500"/>
                  </a:cubicBezTo>
                  <a:cubicBezTo>
                    <a:pt x="486" y="498"/>
                    <a:pt x="492" y="495"/>
                    <a:pt x="496" y="491"/>
                  </a:cubicBezTo>
                  <a:cubicBezTo>
                    <a:pt x="499" y="491"/>
                    <a:pt x="503" y="485"/>
                    <a:pt x="506" y="482"/>
                  </a:cubicBezTo>
                  <a:cubicBezTo>
                    <a:pt x="506" y="474"/>
                    <a:pt x="505" y="466"/>
                    <a:pt x="505" y="459"/>
                  </a:cubicBezTo>
                  <a:cubicBezTo>
                    <a:pt x="492" y="446"/>
                    <a:pt x="497" y="428"/>
                    <a:pt x="495" y="426"/>
                  </a:cubicBezTo>
                  <a:cubicBezTo>
                    <a:pt x="491" y="416"/>
                    <a:pt x="487" y="407"/>
                    <a:pt x="483" y="398"/>
                  </a:cubicBezTo>
                  <a:cubicBezTo>
                    <a:pt x="482" y="392"/>
                    <a:pt x="481" y="385"/>
                    <a:pt x="480" y="379"/>
                  </a:cubicBezTo>
                  <a:cubicBezTo>
                    <a:pt x="475" y="369"/>
                    <a:pt x="467" y="352"/>
                    <a:pt x="464" y="351"/>
                  </a:cubicBezTo>
                  <a:cubicBezTo>
                    <a:pt x="456" y="351"/>
                    <a:pt x="447" y="351"/>
                    <a:pt x="438" y="351"/>
                  </a:cubicBezTo>
                  <a:cubicBezTo>
                    <a:pt x="421" y="346"/>
                    <a:pt x="404" y="330"/>
                    <a:pt x="395" y="326"/>
                  </a:cubicBezTo>
                  <a:cubicBezTo>
                    <a:pt x="387" y="314"/>
                    <a:pt x="378" y="304"/>
                    <a:pt x="369" y="293"/>
                  </a:cubicBezTo>
                  <a:cubicBezTo>
                    <a:pt x="359" y="293"/>
                    <a:pt x="358" y="295"/>
                    <a:pt x="352" y="297"/>
                  </a:cubicBezTo>
                  <a:cubicBezTo>
                    <a:pt x="348" y="296"/>
                    <a:pt x="343" y="296"/>
                    <a:pt x="338" y="296"/>
                  </a:cubicBezTo>
                  <a:cubicBezTo>
                    <a:pt x="329" y="288"/>
                    <a:pt x="321" y="281"/>
                    <a:pt x="312" y="274"/>
                  </a:cubicBezTo>
                  <a:cubicBezTo>
                    <a:pt x="304" y="271"/>
                    <a:pt x="296" y="267"/>
                    <a:pt x="289" y="264"/>
                  </a:cubicBezTo>
                  <a:cubicBezTo>
                    <a:pt x="274" y="263"/>
                    <a:pt x="262" y="260"/>
                    <a:pt x="253" y="257"/>
                  </a:cubicBezTo>
                  <a:cubicBezTo>
                    <a:pt x="235" y="243"/>
                    <a:pt x="230" y="247"/>
                    <a:pt x="213" y="246"/>
                  </a:cubicBezTo>
                  <a:cubicBezTo>
                    <a:pt x="210" y="248"/>
                    <a:pt x="206" y="250"/>
                    <a:pt x="203" y="253"/>
                  </a:cubicBezTo>
                  <a:cubicBezTo>
                    <a:pt x="203" y="261"/>
                    <a:pt x="209" y="268"/>
                    <a:pt x="206" y="282"/>
                  </a:cubicBezTo>
                  <a:cubicBezTo>
                    <a:pt x="190" y="298"/>
                    <a:pt x="160" y="270"/>
                    <a:pt x="153" y="261"/>
                  </a:cubicBezTo>
                  <a:cubicBezTo>
                    <a:pt x="145" y="255"/>
                    <a:pt x="137" y="250"/>
                    <a:pt x="130" y="244"/>
                  </a:cubicBezTo>
                  <a:cubicBezTo>
                    <a:pt x="114" y="235"/>
                    <a:pt x="100" y="227"/>
                    <a:pt x="88" y="223"/>
                  </a:cubicBezTo>
                  <a:cubicBezTo>
                    <a:pt x="65" y="223"/>
                    <a:pt x="40" y="226"/>
                    <a:pt x="22" y="217"/>
                  </a:cubicBezTo>
                  <a:cubicBezTo>
                    <a:pt x="20" y="217"/>
                    <a:pt x="18" y="217"/>
                    <a:pt x="17" y="217"/>
                  </a:cubicBezTo>
                  <a:cubicBezTo>
                    <a:pt x="16" y="208"/>
                    <a:pt x="12" y="192"/>
                    <a:pt x="10" y="190"/>
                  </a:cubicBezTo>
                  <a:cubicBezTo>
                    <a:pt x="8" y="177"/>
                    <a:pt x="0" y="167"/>
                    <a:pt x="12" y="164"/>
                  </a:cubicBezTo>
                  <a:cubicBezTo>
                    <a:pt x="15" y="158"/>
                    <a:pt x="19" y="152"/>
                    <a:pt x="21" y="146"/>
                  </a:cubicBezTo>
                  <a:cubicBezTo>
                    <a:pt x="34" y="146"/>
                    <a:pt x="55" y="146"/>
                    <a:pt x="67" y="134"/>
                  </a:cubicBezTo>
                  <a:cubicBezTo>
                    <a:pt x="68" y="129"/>
                    <a:pt x="70" y="124"/>
                    <a:pt x="72" y="119"/>
                  </a:cubicBezTo>
                  <a:cubicBezTo>
                    <a:pt x="77" y="115"/>
                    <a:pt x="81" y="110"/>
                    <a:pt x="85" y="106"/>
                  </a:cubicBezTo>
                  <a:cubicBezTo>
                    <a:pt x="96" y="77"/>
                    <a:pt x="107" y="79"/>
                    <a:pt x="139" y="75"/>
                  </a:cubicBezTo>
                  <a:cubicBezTo>
                    <a:pt x="143" y="75"/>
                    <a:pt x="174" y="77"/>
                    <a:pt x="183" y="69"/>
                  </a:cubicBezTo>
                  <a:cubicBezTo>
                    <a:pt x="181" y="60"/>
                    <a:pt x="179" y="51"/>
                    <a:pt x="178" y="43"/>
                  </a:cubicBezTo>
                  <a:cubicBezTo>
                    <a:pt x="178" y="27"/>
                    <a:pt x="179" y="0"/>
                    <a:pt x="200" y="10"/>
                  </a:cubicBezTo>
                  <a:cubicBezTo>
                    <a:pt x="216" y="12"/>
                    <a:pt x="232" y="14"/>
                    <a:pt x="249" y="17"/>
                  </a:cubicBezTo>
                  <a:cubicBezTo>
                    <a:pt x="246" y="22"/>
                    <a:pt x="247" y="32"/>
                    <a:pt x="248" y="41"/>
                  </a:cubicBezTo>
                  <a:cubicBezTo>
                    <a:pt x="253" y="49"/>
                    <a:pt x="258" y="54"/>
                    <a:pt x="262" y="67"/>
                  </a:cubicBezTo>
                  <a:cubicBezTo>
                    <a:pt x="262" y="72"/>
                    <a:pt x="262" y="76"/>
                    <a:pt x="262" y="81"/>
                  </a:cubicBezTo>
                  <a:cubicBezTo>
                    <a:pt x="259" y="89"/>
                    <a:pt x="253" y="97"/>
                    <a:pt x="255" y="109"/>
                  </a:cubicBezTo>
                  <a:cubicBezTo>
                    <a:pt x="263" y="116"/>
                    <a:pt x="272" y="124"/>
                    <a:pt x="280" y="132"/>
                  </a:cubicBezTo>
                  <a:cubicBezTo>
                    <a:pt x="281" y="135"/>
                    <a:pt x="282" y="137"/>
                    <a:pt x="284" y="139"/>
                  </a:cubicBezTo>
                  <a:cubicBezTo>
                    <a:pt x="283" y="147"/>
                    <a:pt x="283" y="155"/>
                    <a:pt x="283" y="163"/>
                  </a:cubicBezTo>
                  <a:cubicBezTo>
                    <a:pt x="285" y="165"/>
                    <a:pt x="292" y="165"/>
                    <a:pt x="301" y="165"/>
                  </a:cubicBezTo>
                  <a:cubicBezTo>
                    <a:pt x="317" y="152"/>
                    <a:pt x="345" y="149"/>
                    <a:pt x="371" y="149"/>
                  </a:cubicBezTo>
                  <a:cubicBezTo>
                    <a:pt x="372" y="152"/>
                    <a:pt x="373" y="155"/>
                    <a:pt x="374" y="158"/>
                  </a:cubicBezTo>
                  <a:cubicBezTo>
                    <a:pt x="371" y="164"/>
                    <a:pt x="369" y="169"/>
                    <a:pt x="367" y="175"/>
                  </a:cubicBezTo>
                  <a:cubicBezTo>
                    <a:pt x="354" y="189"/>
                    <a:pt x="339" y="188"/>
                    <a:pt x="342" y="210"/>
                  </a:cubicBezTo>
                  <a:cubicBezTo>
                    <a:pt x="348" y="212"/>
                    <a:pt x="354" y="214"/>
                    <a:pt x="359" y="217"/>
                  </a:cubicBezTo>
                  <a:cubicBezTo>
                    <a:pt x="367" y="227"/>
                    <a:pt x="372" y="232"/>
                    <a:pt x="387" y="241"/>
                  </a:cubicBezTo>
                  <a:cubicBezTo>
                    <a:pt x="392" y="247"/>
                    <a:pt x="394" y="264"/>
                    <a:pt x="406" y="268"/>
                  </a:cubicBezTo>
                  <a:cubicBezTo>
                    <a:pt x="411" y="275"/>
                    <a:pt x="417" y="283"/>
                    <a:pt x="423" y="290"/>
                  </a:cubicBezTo>
                  <a:cubicBezTo>
                    <a:pt x="427" y="292"/>
                    <a:pt x="448" y="303"/>
                    <a:pt x="455" y="290"/>
                  </a:cubicBezTo>
                  <a:cubicBezTo>
                    <a:pt x="457" y="265"/>
                    <a:pt x="451" y="261"/>
                    <a:pt x="473" y="258"/>
                  </a:cubicBezTo>
                  <a:cubicBezTo>
                    <a:pt x="483" y="258"/>
                    <a:pt x="489" y="255"/>
                    <a:pt x="500" y="266"/>
                  </a:cubicBezTo>
                  <a:cubicBezTo>
                    <a:pt x="503" y="266"/>
                    <a:pt x="506" y="266"/>
                    <a:pt x="510" y="267"/>
                  </a:cubicBezTo>
                  <a:cubicBezTo>
                    <a:pt x="520" y="262"/>
                    <a:pt x="530" y="253"/>
                    <a:pt x="538" y="249"/>
                  </a:cubicBezTo>
                  <a:cubicBezTo>
                    <a:pt x="543" y="244"/>
                    <a:pt x="549" y="244"/>
                    <a:pt x="559" y="243"/>
                  </a:cubicBezTo>
                  <a:cubicBezTo>
                    <a:pt x="562" y="247"/>
                    <a:pt x="565" y="250"/>
                    <a:pt x="567" y="254"/>
                  </a:cubicBezTo>
                  <a:cubicBezTo>
                    <a:pt x="567" y="266"/>
                    <a:pt x="549" y="279"/>
                    <a:pt x="540" y="286"/>
                  </a:cubicBezTo>
                  <a:cubicBezTo>
                    <a:pt x="529" y="300"/>
                    <a:pt x="527" y="308"/>
                    <a:pt x="527" y="330"/>
                  </a:cubicBezTo>
                  <a:cubicBezTo>
                    <a:pt x="532" y="338"/>
                    <a:pt x="536" y="346"/>
                    <a:pt x="540" y="354"/>
                  </a:cubicBezTo>
                  <a:cubicBezTo>
                    <a:pt x="546" y="362"/>
                    <a:pt x="556" y="376"/>
                    <a:pt x="572" y="376"/>
                  </a:cubicBezTo>
                  <a:cubicBezTo>
                    <a:pt x="572" y="374"/>
                    <a:pt x="573" y="374"/>
                    <a:pt x="573" y="373"/>
                  </a:cubicBezTo>
                  <a:cubicBezTo>
                    <a:pt x="576" y="373"/>
                    <a:pt x="578" y="373"/>
                    <a:pt x="580" y="373"/>
                  </a:cubicBezTo>
                  <a:cubicBezTo>
                    <a:pt x="589" y="376"/>
                    <a:pt x="612" y="400"/>
                    <a:pt x="622" y="415"/>
                  </a:cubicBezTo>
                  <a:cubicBezTo>
                    <a:pt x="624" y="427"/>
                    <a:pt x="628" y="442"/>
                    <a:pt x="629" y="462"/>
                  </a:cubicBezTo>
                  <a:cubicBezTo>
                    <a:pt x="630" y="467"/>
                    <a:pt x="631" y="473"/>
                    <a:pt x="633" y="479"/>
                  </a:cubicBezTo>
                  <a:cubicBezTo>
                    <a:pt x="643" y="492"/>
                    <a:pt x="644" y="488"/>
                    <a:pt x="663" y="503"/>
                  </a:cubicBezTo>
                  <a:cubicBezTo>
                    <a:pt x="665" y="503"/>
                    <a:pt x="678" y="496"/>
                    <a:pt x="686" y="493"/>
                  </a:cubicBezTo>
                  <a:cubicBezTo>
                    <a:pt x="687" y="486"/>
                    <a:pt x="689" y="485"/>
                    <a:pt x="704" y="482"/>
                  </a:cubicBezTo>
                  <a:cubicBezTo>
                    <a:pt x="718" y="468"/>
                    <a:pt x="709" y="453"/>
                    <a:pt x="701" y="445"/>
                  </a:cubicBezTo>
                  <a:cubicBezTo>
                    <a:pt x="682" y="440"/>
                    <a:pt x="685" y="437"/>
                    <a:pt x="687" y="423"/>
                  </a:cubicBezTo>
                  <a:cubicBezTo>
                    <a:pt x="690" y="418"/>
                    <a:pt x="694" y="413"/>
                    <a:pt x="698" y="407"/>
                  </a:cubicBezTo>
                  <a:cubicBezTo>
                    <a:pt x="698" y="402"/>
                    <a:pt x="698" y="396"/>
                    <a:pt x="698" y="390"/>
                  </a:cubicBezTo>
                  <a:cubicBezTo>
                    <a:pt x="701" y="386"/>
                    <a:pt x="706" y="388"/>
                    <a:pt x="711" y="387"/>
                  </a:cubicBezTo>
                  <a:cubicBezTo>
                    <a:pt x="717" y="382"/>
                    <a:pt x="720" y="379"/>
                    <a:pt x="726" y="376"/>
                  </a:cubicBezTo>
                  <a:cubicBezTo>
                    <a:pt x="726" y="379"/>
                    <a:pt x="728" y="387"/>
                    <a:pt x="722" y="393"/>
                  </a:cubicBezTo>
                  <a:cubicBezTo>
                    <a:pt x="721" y="397"/>
                    <a:pt x="721" y="401"/>
                    <a:pt x="721" y="405"/>
                  </a:cubicBezTo>
                  <a:cubicBezTo>
                    <a:pt x="727" y="413"/>
                    <a:pt x="746" y="416"/>
                    <a:pt x="760" y="420"/>
                  </a:cubicBezTo>
                  <a:cubicBezTo>
                    <a:pt x="769" y="426"/>
                    <a:pt x="778" y="433"/>
                    <a:pt x="788" y="439"/>
                  </a:cubicBezTo>
                  <a:cubicBezTo>
                    <a:pt x="791" y="439"/>
                    <a:pt x="794" y="439"/>
                    <a:pt x="797" y="439"/>
                  </a:cubicBezTo>
                  <a:cubicBezTo>
                    <a:pt x="794" y="445"/>
                    <a:pt x="791" y="451"/>
                    <a:pt x="789" y="456"/>
                  </a:cubicBezTo>
                  <a:cubicBezTo>
                    <a:pt x="790" y="468"/>
                    <a:pt x="791" y="479"/>
                    <a:pt x="793" y="490"/>
                  </a:cubicBezTo>
                  <a:cubicBezTo>
                    <a:pt x="791" y="495"/>
                    <a:pt x="789" y="501"/>
                    <a:pt x="788" y="506"/>
                  </a:cubicBezTo>
                  <a:cubicBezTo>
                    <a:pt x="784" y="506"/>
                    <a:pt x="781" y="506"/>
                    <a:pt x="778" y="503"/>
                  </a:cubicBezTo>
                  <a:cubicBezTo>
                    <a:pt x="764" y="501"/>
                    <a:pt x="755" y="501"/>
                    <a:pt x="748" y="511"/>
                  </a:cubicBezTo>
                  <a:cubicBezTo>
                    <a:pt x="748" y="518"/>
                    <a:pt x="748" y="526"/>
                    <a:pt x="748" y="534"/>
                  </a:cubicBezTo>
                  <a:cubicBezTo>
                    <a:pt x="746" y="534"/>
                    <a:pt x="744" y="534"/>
                    <a:pt x="742" y="535"/>
                  </a:cubicBezTo>
                  <a:close/>
                </a:path>
              </a:pathLst>
            </a:custGeom>
            <a:solidFill>
              <a:srgbClr val="B2B2B2"/>
            </a:solidFill>
            <a:ln w="9525">
              <a:solidFill>
                <a:srgbClr val="FFFFFF"/>
              </a:solidFill>
              <a:miter lim="800000"/>
            </a:ln>
          </p:spPr>
          <p:txBody>
            <a:bodyPr/>
            <a:lstStyle/>
            <a:p>
              <a:pPr fontAlgn="auto">
                <a:spcBef>
                  <a:spcPts val="0"/>
                </a:spcBef>
                <a:spcAft>
                  <a:spcPts val="0"/>
                </a:spcAft>
                <a:defRPr/>
              </a:pPr>
              <a:endParaRPr lang="zh-CN" altLang="en-US" kern="0" noProof="1">
                <a:solidFill>
                  <a:sysClr val="windowText" lastClr="000000"/>
                </a:solidFill>
                <a:latin typeface="+mn-lt"/>
                <a:ea typeface="宋体" panose="02010600030101010101" pitchFamily="2" charset="-122"/>
              </a:endParaRPr>
            </a:p>
          </p:txBody>
        </p:sp>
      </p:grpSp>
      <p:grpSp>
        <p:nvGrpSpPr>
          <p:cNvPr id="50" name="组合 49"/>
          <p:cNvGrpSpPr/>
          <p:nvPr/>
        </p:nvGrpSpPr>
        <p:grpSpPr>
          <a:xfrm>
            <a:off x="1165984" y="1571612"/>
            <a:ext cx="3286148" cy="1461797"/>
            <a:chOff x="1165984" y="1571612"/>
            <a:chExt cx="3286148" cy="1461797"/>
          </a:xfrm>
        </p:grpSpPr>
        <p:sp>
          <p:nvSpPr>
            <p:cNvPr id="47" name="文本框 2"/>
            <p:cNvSpPr txBox="1"/>
            <p:nvPr/>
          </p:nvSpPr>
          <p:spPr>
            <a:xfrm>
              <a:off x="1165984" y="1571612"/>
              <a:ext cx="1714512" cy="461665"/>
            </a:xfrm>
            <a:prstGeom prst="rect">
              <a:avLst/>
            </a:prstGeom>
            <a:noFill/>
          </p:spPr>
          <p:txBody>
            <a:bodyPr wrap="square" rtlCol="0">
              <a:spAutoFit/>
            </a:bodyPr>
            <a:lstStyle/>
            <a:p>
              <a:pPr algn="ctr"/>
              <a:r>
                <a:rPr lang="en-US" altLang="zh-CN" sz="2400" b="1" dirty="0" smtClean="0">
                  <a:solidFill>
                    <a:srgbClr val="FF0000"/>
                  </a:solidFill>
                  <a:latin typeface="微软雅黑" panose="020B0503020204020204" pitchFamily="34" charset="-122"/>
                  <a:ea typeface="微软雅黑" panose="020B0503020204020204" pitchFamily="34" charset="-122"/>
                </a:rPr>
                <a:t>1100</a:t>
              </a:r>
              <a:r>
                <a:rPr lang="en-US" altLang="zh-CN" sz="2400" b="1" baseline="30000" dirty="0" smtClean="0">
                  <a:solidFill>
                    <a:srgbClr val="FF0000"/>
                  </a:solidFill>
                  <a:latin typeface="微软雅黑" panose="020B0503020204020204" pitchFamily="34" charset="-122"/>
                  <a:ea typeface="微软雅黑" panose="020B0503020204020204" pitchFamily="34" charset="-122"/>
                </a:rPr>
                <a:t>+</a:t>
              </a:r>
              <a:r>
                <a:rPr lang="zh-CN" altLang="en-US" sz="2400" b="1" baseline="30000" dirty="0" smtClean="0">
                  <a:solidFill>
                    <a:srgbClr val="FF0000"/>
                  </a:solidFill>
                  <a:latin typeface="微软雅黑" panose="020B0503020204020204" pitchFamily="34" charset="-122"/>
                  <a:ea typeface="微软雅黑" panose="020B0503020204020204" pitchFamily="34" charset="-122"/>
                </a:rPr>
                <a:t>人</a:t>
              </a:r>
              <a:endParaRPr lang="zh-CN" altLang="en-US" sz="2400" b="1" dirty="0">
                <a:solidFill>
                  <a:srgbClr val="FF0000"/>
                </a:solidFill>
                <a:latin typeface="微软雅黑" panose="020B0503020204020204" pitchFamily="34" charset="-122"/>
                <a:ea typeface="微软雅黑" panose="020B0503020204020204" pitchFamily="34" charset="-122"/>
              </a:endParaRPr>
            </a:p>
          </p:txBody>
        </p:sp>
        <p:sp>
          <p:nvSpPr>
            <p:cNvPr id="48" name="文本框 2"/>
            <p:cNvSpPr txBox="1"/>
            <p:nvPr/>
          </p:nvSpPr>
          <p:spPr>
            <a:xfrm>
              <a:off x="1880364" y="2071678"/>
              <a:ext cx="1714512" cy="461665"/>
            </a:xfrm>
            <a:prstGeom prst="rect">
              <a:avLst/>
            </a:prstGeom>
            <a:noFill/>
          </p:spPr>
          <p:txBody>
            <a:bodyPr wrap="square" rtlCol="0">
              <a:spAutoFit/>
            </a:bodyPr>
            <a:lstStyle/>
            <a:p>
              <a:pPr algn="ctr"/>
              <a:r>
                <a:rPr lang="en-US" altLang="zh-CN" sz="2400" b="1" dirty="0" smtClean="0">
                  <a:solidFill>
                    <a:srgbClr val="FF0000"/>
                  </a:solidFill>
                  <a:latin typeface="微软雅黑" panose="020B0503020204020204" pitchFamily="34" charset="-122"/>
                  <a:ea typeface="微软雅黑" panose="020B0503020204020204" pitchFamily="34" charset="-122"/>
                </a:rPr>
                <a:t>6000</a:t>
              </a:r>
              <a:r>
                <a:rPr lang="en-US" altLang="zh-CN" sz="2400" b="1" baseline="30000" dirty="0" smtClean="0">
                  <a:solidFill>
                    <a:srgbClr val="FF0000"/>
                  </a:solidFill>
                  <a:latin typeface="微软雅黑" panose="020B0503020204020204" pitchFamily="34" charset="-122"/>
                  <a:ea typeface="微软雅黑" panose="020B0503020204020204" pitchFamily="34" charset="-122"/>
                </a:rPr>
                <a:t>+</a:t>
              </a:r>
              <a:r>
                <a:rPr lang="zh-CN" altLang="en-US" sz="2400" b="1" baseline="30000" dirty="0" smtClean="0">
                  <a:solidFill>
                    <a:srgbClr val="FF0000"/>
                  </a:solidFill>
                  <a:latin typeface="微软雅黑" panose="020B0503020204020204" pitchFamily="34" charset="-122"/>
                  <a:ea typeface="微软雅黑" panose="020B0503020204020204" pitchFamily="34" charset="-122"/>
                </a:rPr>
                <a:t>台</a:t>
              </a:r>
              <a:endParaRPr lang="zh-CN" altLang="en-US" sz="2400" b="1" dirty="0">
                <a:solidFill>
                  <a:srgbClr val="FF0000"/>
                </a:solidFill>
                <a:latin typeface="微软雅黑" panose="020B0503020204020204" pitchFamily="34" charset="-122"/>
                <a:ea typeface="微软雅黑" panose="020B0503020204020204" pitchFamily="34" charset="-122"/>
              </a:endParaRPr>
            </a:p>
          </p:txBody>
        </p:sp>
        <p:sp>
          <p:nvSpPr>
            <p:cNvPr id="49" name="文本框 2"/>
            <p:cNvSpPr txBox="1"/>
            <p:nvPr/>
          </p:nvSpPr>
          <p:spPr>
            <a:xfrm>
              <a:off x="2737620" y="2571744"/>
              <a:ext cx="1714512" cy="461665"/>
            </a:xfrm>
            <a:prstGeom prst="rect">
              <a:avLst/>
            </a:prstGeom>
            <a:noFill/>
          </p:spPr>
          <p:txBody>
            <a:bodyPr wrap="square" rtlCol="0">
              <a:spAutoFit/>
            </a:bodyPr>
            <a:lstStyle/>
            <a:p>
              <a:pPr algn="ctr"/>
              <a:r>
                <a:rPr lang="en-US" altLang="zh-CN" sz="2400" b="1" dirty="0" smtClean="0">
                  <a:solidFill>
                    <a:srgbClr val="FF0000"/>
                  </a:solidFill>
                  <a:latin typeface="微软雅黑" panose="020B0503020204020204" pitchFamily="34" charset="-122"/>
                  <a:ea typeface="微软雅黑" panose="020B0503020204020204" pitchFamily="34" charset="-122"/>
                </a:rPr>
                <a:t>20000</a:t>
              </a:r>
              <a:r>
                <a:rPr lang="en-US" altLang="zh-CN" sz="2400" b="1" baseline="30000" dirty="0" smtClean="0">
                  <a:solidFill>
                    <a:srgbClr val="FF0000"/>
                  </a:solidFill>
                  <a:latin typeface="微软雅黑" panose="020B0503020204020204" pitchFamily="34" charset="-122"/>
                  <a:ea typeface="微软雅黑" panose="020B0503020204020204" pitchFamily="34" charset="-122"/>
                </a:rPr>
                <a:t>+</a:t>
              </a:r>
              <a:r>
                <a:rPr lang="zh-CN" altLang="en-US" sz="2400" b="1" baseline="30000" dirty="0" smtClean="0">
                  <a:solidFill>
                    <a:srgbClr val="FF0000"/>
                  </a:solidFill>
                  <a:latin typeface="微软雅黑" panose="020B0503020204020204" pitchFamily="34" charset="-122"/>
                  <a:ea typeface="微软雅黑" panose="020B0503020204020204" pitchFamily="34" charset="-122"/>
                </a:rPr>
                <a:t>台</a:t>
              </a:r>
              <a:endParaRPr lang="zh-CN" altLang="en-US" sz="2400" b="1" dirty="0">
                <a:solidFill>
                  <a:srgbClr val="FF0000"/>
                </a:solidFill>
                <a:latin typeface="微软雅黑" panose="020B0503020204020204" pitchFamily="34" charset="-122"/>
                <a:ea typeface="微软雅黑" panose="020B0503020204020204" pitchFamily="34" charset="-122"/>
              </a:endParaRPr>
            </a:p>
          </p:txBody>
        </p:sp>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300" advTm="3711">
        <p14:pan/>
      </p:transition>
    </mc:Choice>
    <mc:Fallback>
      <p:transition spd="slow" advTm="371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wipe(left)">
                                      <p:cBhvr>
                                        <p:cTn id="7" dur="500"/>
                                        <p:tgtEl>
                                          <p:spTgt spid="13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par>
                          <p:cTn id="12" fill="hold">
                            <p:stCondLst>
                              <p:cond delay="1500"/>
                            </p:stCondLst>
                            <p:childTnLst>
                              <p:par>
                                <p:cTn id="13" presetID="2" presetClass="entr" presetSubtype="1" decel="100000" fill="hold" grpId="0" nodeType="afterEffect">
                                  <p:stCondLst>
                                    <p:cond delay="0"/>
                                  </p:stCondLst>
                                  <p:childTnLst>
                                    <p:set>
                                      <p:cBhvr>
                                        <p:cTn id="14" dur="1" fill="hold">
                                          <p:stCondLst>
                                            <p:cond delay="0"/>
                                          </p:stCondLst>
                                        </p:cTn>
                                        <p:tgtEl>
                                          <p:spTgt spid="32"/>
                                        </p:tgtEl>
                                        <p:attrNameLst>
                                          <p:attrName>style.visibility</p:attrName>
                                        </p:attrNameLst>
                                      </p:cBhvr>
                                      <p:to>
                                        <p:strVal val="visible"/>
                                      </p:to>
                                    </p:set>
                                    <p:anim calcmode="lin" valueType="num">
                                      <p:cBhvr additive="base">
                                        <p:cTn id="15" dur="500" fill="hold"/>
                                        <p:tgtEl>
                                          <p:spTgt spid="32"/>
                                        </p:tgtEl>
                                        <p:attrNameLst>
                                          <p:attrName>ppt_x</p:attrName>
                                        </p:attrNameLst>
                                      </p:cBhvr>
                                      <p:tavLst>
                                        <p:tav tm="0">
                                          <p:val>
                                            <p:strVal val="#ppt_x"/>
                                          </p:val>
                                        </p:tav>
                                        <p:tav tm="100000">
                                          <p:val>
                                            <p:strVal val="#ppt_x"/>
                                          </p:val>
                                        </p:tav>
                                      </p:tavLst>
                                    </p:anim>
                                    <p:anim calcmode="lin" valueType="num">
                                      <p:cBhvr additive="base">
                                        <p:cTn id="16" dur="500" fill="hold"/>
                                        <p:tgtEl>
                                          <p:spTgt spid="32"/>
                                        </p:tgtEl>
                                        <p:attrNameLst>
                                          <p:attrName>ppt_y</p:attrName>
                                        </p:attrNameLst>
                                      </p:cBhvr>
                                      <p:tavLst>
                                        <p:tav tm="0">
                                          <p:val>
                                            <p:strVal val="0-#ppt_h/2"/>
                                          </p:val>
                                        </p:tav>
                                        <p:tav tm="100000">
                                          <p:val>
                                            <p:strVal val="#ppt_y"/>
                                          </p:val>
                                        </p:tav>
                                      </p:tavLst>
                                    </p:anim>
                                  </p:childTnLst>
                                </p:cTn>
                              </p:par>
                            </p:childTnLst>
                          </p:cTn>
                        </p:par>
                        <p:par>
                          <p:cTn id="17" fill="hold">
                            <p:stCondLst>
                              <p:cond delay="2000"/>
                            </p:stCondLst>
                            <p:childTnLst>
                              <p:par>
                                <p:cTn id="18" presetID="10" presetClass="entr" presetSubtype="0" fill="hold" grpId="0" nodeType="afterEffect">
                                  <p:stCondLst>
                                    <p:cond delay="0"/>
                                  </p:stCondLst>
                                  <p:iterate type="lt">
                                    <p:tmPct val="10000"/>
                                  </p:iterate>
                                  <p:childTnLst>
                                    <p:set>
                                      <p:cBhvr>
                                        <p:cTn id="19" dur="1" fill="hold">
                                          <p:stCondLst>
                                            <p:cond delay="0"/>
                                          </p:stCondLst>
                                        </p:cTn>
                                        <p:tgtEl>
                                          <p:spTgt spid="33"/>
                                        </p:tgtEl>
                                        <p:attrNameLst>
                                          <p:attrName>style.visibility</p:attrName>
                                        </p:attrNameLst>
                                      </p:cBhvr>
                                      <p:to>
                                        <p:strVal val="visible"/>
                                      </p:to>
                                    </p:set>
                                    <p:animEffect transition="in" filter="fade">
                                      <p:cBhvr>
                                        <p:cTn id="20" dur="20"/>
                                        <p:tgtEl>
                                          <p:spTgt spid="33"/>
                                        </p:tgtEl>
                                      </p:cBhvr>
                                    </p:animEffect>
                                  </p:childTnLst>
                                </p:cTn>
                              </p:par>
                              <p:par>
                                <p:cTn id="21" presetID="22" presetClass="entr" presetSubtype="8"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wipe(left)">
                                      <p:cBhvr>
                                        <p:cTn id="23" dur="500"/>
                                        <p:tgtEl>
                                          <p:spTgt spid="35"/>
                                        </p:tgtEl>
                                      </p:cBhvr>
                                    </p:animEffect>
                                  </p:childTnLst>
                                </p:cTn>
                              </p:par>
                            </p:childTnLst>
                          </p:cTn>
                        </p:par>
                        <p:par>
                          <p:cTn id="24" fill="hold">
                            <p:stCondLst>
                              <p:cond delay="2000"/>
                            </p:stCondLst>
                            <p:childTnLst>
                              <p:par>
                                <p:cTn id="25" presetID="23" presetClass="entr" presetSubtype="16" fill="hold" nodeType="afterEffect">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cBhvr>
                                        <p:cTn id="27" dur="1000" fill="hold"/>
                                        <p:tgtEl>
                                          <p:spTgt spid="50"/>
                                        </p:tgtEl>
                                        <p:attrNameLst>
                                          <p:attrName>ppt_w</p:attrName>
                                        </p:attrNameLst>
                                      </p:cBhvr>
                                      <p:tavLst>
                                        <p:tav tm="0">
                                          <p:val>
                                            <p:fltVal val="0"/>
                                          </p:val>
                                        </p:tav>
                                        <p:tav tm="100000">
                                          <p:val>
                                            <p:strVal val="#ppt_w"/>
                                          </p:val>
                                        </p:tav>
                                      </p:tavLst>
                                    </p:anim>
                                    <p:anim calcmode="lin" valueType="num">
                                      <p:cBhvr>
                                        <p:cTn id="28" dur="1000" fill="hold"/>
                                        <p:tgtEl>
                                          <p:spTgt spid="5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任意多边形 27"/>
          <p:cNvSpPr/>
          <p:nvPr/>
        </p:nvSpPr>
        <p:spPr bwMode="auto">
          <a:xfrm>
            <a:off x="5712840" y="1349633"/>
            <a:ext cx="900860" cy="1003729"/>
          </a:xfrm>
          <a:custGeom>
            <a:avLst/>
            <a:gdLst>
              <a:gd name="connsiteX0" fmla="*/ 95250 w 704850"/>
              <a:gd name="connsiteY0" fmla="*/ 60960 h 1150620"/>
              <a:gd name="connsiteX1" fmla="*/ 83820 w 704850"/>
              <a:gd name="connsiteY1" fmla="*/ 217170 h 1150620"/>
              <a:gd name="connsiteX2" fmla="*/ 95250 w 704850"/>
              <a:gd name="connsiteY2" fmla="*/ 259080 h 1150620"/>
              <a:gd name="connsiteX3" fmla="*/ 140970 w 704850"/>
              <a:gd name="connsiteY3" fmla="*/ 304800 h 1150620"/>
              <a:gd name="connsiteX4" fmla="*/ 156210 w 704850"/>
              <a:gd name="connsiteY4" fmla="*/ 342900 h 1150620"/>
              <a:gd name="connsiteX5" fmla="*/ 137160 w 704850"/>
              <a:gd name="connsiteY5" fmla="*/ 396240 h 1150620"/>
              <a:gd name="connsiteX6" fmla="*/ 99060 w 704850"/>
              <a:gd name="connsiteY6" fmla="*/ 441960 h 1150620"/>
              <a:gd name="connsiteX7" fmla="*/ 34290 w 704850"/>
              <a:gd name="connsiteY7" fmla="*/ 483870 h 1150620"/>
              <a:gd name="connsiteX8" fmla="*/ 19050 w 704850"/>
              <a:gd name="connsiteY8" fmla="*/ 506730 h 1150620"/>
              <a:gd name="connsiteX9" fmla="*/ 22860 w 704850"/>
              <a:gd name="connsiteY9" fmla="*/ 556260 h 1150620"/>
              <a:gd name="connsiteX10" fmla="*/ 30480 w 704850"/>
              <a:gd name="connsiteY10" fmla="*/ 598170 h 1150620"/>
              <a:gd name="connsiteX11" fmla="*/ 0 w 704850"/>
              <a:gd name="connsiteY11" fmla="*/ 643890 h 1150620"/>
              <a:gd name="connsiteX12" fmla="*/ 30480 w 704850"/>
              <a:gd name="connsiteY12" fmla="*/ 697230 h 1150620"/>
              <a:gd name="connsiteX13" fmla="*/ 106680 w 704850"/>
              <a:gd name="connsiteY13" fmla="*/ 746760 h 1150620"/>
              <a:gd name="connsiteX14" fmla="*/ 171450 w 704850"/>
              <a:gd name="connsiteY14" fmla="*/ 742950 h 1150620"/>
              <a:gd name="connsiteX15" fmla="*/ 171450 w 704850"/>
              <a:gd name="connsiteY15" fmla="*/ 742950 h 1150620"/>
              <a:gd name="connsiteX16" fmla="*/ 198120 w 704850"/>
              <a:gd name="connsiteY16" fmla="*/ 769620 h 1150620"/>
              <a:gd name="connsiteX17" fmla="*/ 186690 w 704850"/>
              <a:gd name="connsiteY17" fmla="*/ 887730 h 1150620"/>
              <a:gd name="connsiteX18" fmla="*/ 201930 w 704850"/>
              <a:gd name="connsiteY18" fmla="*/ 899160 h 1150620"/>
              <a:gd name="connsiteX19" fmla="*/ 152400 w 704850"/>
              <a:gd name="connsiteY19" fmla="*/ 979170 h 1150620"/>
              <a:gd name="connsiteX20" fmla="*/ 125730 w 704850"/>
              <a:gd name="connsiteY20" fmla="*/ 1066800 h 1150620"/>
              <a:gd name="connsiteX21" fmla="*/ 133350 w 704850"/>
              <a:gd name="connsiteY21" fmla="*/ 1097280 h 1150620"/>
              <a:gd name="connsiteX22" fmla="*/ 175260 w 704850"/>
              <a:gd name="connsiteY22" fmla="*/ 1112520 h 1150620"/>
              <a:gd name="connsiteX23" fmla="*/ 205740 w 704850"/>
              <a:gd name="connsiteY23" fmla="*/ 1112520 h 1150620"/>
              <a:gd name="connsiteX24" fmla="*/ 255270 w 704850"/>
              <a:gd name="connsiteY24" fmla="*/ 1131570 h 1150620"/>
              <a:gd name="connsiteX25" fmla="*/ 278130 w 704850"/>
              <a:gd name="connsiteY25" fmla="*/ 1150620 h 1150620"/>
              <a:gd name="connsiteX26" fmla="*/ 308610 w 704850"/>
              <a:gd name="connsiteY26" fmla="*/ 1150620 h 1150620"/>
              <a:gd name="connsiteX27" fmla="*/ 327660 w 704850"/>
              <a:gd name="connsiteY27" fmla="*/ 1131570 h 1150620"/>
              <a:gd name="connsiteX28" fmla="*/ 320040 w 704850"/>
              <a:gd name="connsiteY28" fmla="*/ 1059180 h 1150620"/>
              <a:gd name="connsiteX29" fmla="*/ 339090 w 704850"/>
              <a:gd name="connsiteY29" fmla="*/ 1036320 h 1150620"/>
              <a:gd name="connsiteX30" fmla="*/ 396240 w 704850"/>
              <a:gd name="connsiteY30" fmla="*/ 994410 h 1150620"/>
              <a:gd name="connsiteX31" fmla="*/ 411480 w 704850"/>
              <a:gd name="connsiteY31" fmla="*/ 925830 h 1150620"/>
              <a:gd name="connsiteX32" fmla="*/ 441960 w 704850"/>
              <a:gd name="connsiteY32" fmla="*/ 868680 h 1150620"/>
              <a:gd name="connsiteX33" fmla="*/ 521970 w 704850"/>
              <a:gd name="connsiteY33" fmla="*/ 822960 h 1150620"/>
              <a:gd name="connsiteX34" fmla="*/ 594360 w 704850"/>
              <a:gd name="connsiteY34" fmla="*/ 819150 h 1150620"/>
              <a:gd name="connsiteX35" fmla="*/ 582930 w 704850"/>
              <a:gd name="connsiteY35" fmla="*/ 769620 h 1150620"/>
              <a:gd name="connsiteX36" fmla="*/ 541020 w 704850"/>
              <a:gd name="connsiteY36" fmla="*/ 769620 h 1150620"/>
              <a:gd name="connsiteX37" fmla="*/ 510540 w 704850"/>
              <a:gd name="connsiteY37" fmla="*/ 708660 h 1150620"/>
              <a:gd name="connsiteX38" fmla="*/ 521970 w 704850"/>
              <a:gd name="connsiteY38" fmla="*/ 697230 h 1150620"/>
              <a:gd name="connsiteX39" fmla="*/ 582930 w 704850"/>
              <a:gd name="connsiteY39" fmla="*/ 697230 h 1150620"/>
              <a:gd name="connsiteX40" fmla="*/ 598170 w 704850"/>
              <a:gd name="connsiteY40" fmla="*/ 674370 h 1150620"/>
              <a:gd name="connsiteX41" fmla="*/ 613410 w 704850"/>
              <a:gd name="connsiteY41" fmla="*/ 582930 h 1150620"/>
              <a:gd name="connsiteX42" fmla="*/ 628650 w 704850"/>
              <a:gd name="connsiteY42" fmla="*/ 499110 h 1150620"/>
              <a:gd name="connsiteX43" fmla="*/ 636270 w 704850"/>
              <a:gd name="connsiteY43" fmla="*/ 464820 h 1150620"/>
              <a:gd name="connsiteX44" fmla="*/ 704850 w 704850"/>
              <a:gd name="connsiteY44" fmla="*/ 403860 h 1150620"/>
              <a:gd name="connsiteX45" fmla="*/ 689610 w 704850"/>
              <a:gd name="connsiteY45" fmla="*/ 335280 h 1150620"/>
              <a:gd name="connsiteX46" fmla="*/ 666750 w 704850"/>
              <a:gd name="connsiteY46" fmla="*/ 262890 h 1150620"/>
              <a:gd name="connsiteX47" fmla="*/ 636270 w 704850"/>
              <a:gd name="connsiteY47" fmla="*/ 175260 h 1150620"/>
              <a:gd name="connsiteX48" fmla="*/ 609600 w 704850"/>
              <a:gd name="connsiteY48" fmla="*/ 129540 h 1150620"/>
              <a:gd name="connsiteX49" fmla="*/ 582930 w 704850"/>
              <a:gd name="connsiteY49" fmla="*/ 118110 h 1150620"/>
              <a:gd name="connsiteX50" fmla="*/ 563880 w 704850"/>
              <a:gd name="connsiteY50" fmla="*/ 60960 h 1150620"/>
              <a:gd name="connsiteX51" fmla="*/ 533400 w 704850"/>
              <a:gd name="connsiteY51" fmla="*/ 22860 h 1150620"/>
              <a:gd name="connsiteX52" fmla="*/ 510540 w 704850"/>
              <a:gd name="connsiteY52" fmla="*/ 0 h 1150620"/>
              <a:gd name="connsiteX53" fmla="*/ 487680 w 704850"/>
              <a:gd name="connsiteY53" fmla="*/ 3810 h 1150620"/>
              <a:gd name="connsiteX54" fmla="*/ 464820 w 704850"/>
              <a:gd name="connsiteY54" fmla="*/ 38100 h 1150620"/>
              <a:gd name="connsiteX55" fmla="*/ 430530 w 704850"/>
              <a:gd name="connsiteY55" fmla="*/ 19050 h 1150620"/>
              <a:gd name="connsiteX56" fmla="*/ 422910 w 704850"/>
              <a:gd name="connsiteY56" fmla="*/ 11430 h 1150620"/>
              <a:gd name="connsiteX57" fmla="*/ 415290 w 704850"/>
              <a:gd name="connsiteY57" fmla="*/ 99060 h 1150620"/>
              <a:gd name="connsiteX58" fmla="*/ 369570 w 704850"/>
              <a:gd name="connsiteY58" fmla="*/ 95250 h 1150620"/>
              <a:gd name="connsiteX59" fmla="*/ 342900 w 704850"/>
              <a:gd name="connsiteY59" fmla="*/ 118110 h 1150620"/>
              <a:gd name="connsiteX60" fmla="*/ 320040 w 704850"/>
              <a:gd name="connsiteY60" fmla="*/ 152400 h 1150620"/>
              <a:gd name="connsiteX61" fmla="*/ 289560 w 704850"/>
              <a:gd name="connsiteY61" fmla="*/ 121920 h 1150620"/>
              <a:gd name="connsiteX62" fmla="*/ 285750 w 704850"/>
              <a:gd name="connsiteY62" fmla="*/ 60960 h 1150620"/>
              <a:gd name="connsiteX63" fmla="*/ 266700 w 704850"/>
              <a:gd name="connsiteY63" fmla="*/ 45720 h 1150620"/>
              <a:gd name="connsiteX64" fmla="*/ 224790 w 704850"/>
              <a:gd name="connsiteY64" fmla="*/ 41910 h 1150620"/>
              <a:gd name="connsiteX65" fmla="*/ 205740 w 704850"/>
              <a:gd name="connsiteY65" fmla="*/ 34290 h 1150620"/>
              <a:gd name="connsiteX66" fmla="*/ 175260 w 704850"/>
              <a:gd name="connsiteY66" fmla="*/ 68580 h 1150620"/>
              <a:gd name="connsiteX67" fmla="*/ 148590 w 704850"/>
              <a:gd name="connsiteY67" fmla="*/ 76200 h 1150620"/>
              <a:gd name="connsiteX68" fmla="*/ 95250 w 704850"/>
              <a:gd name="connsiteY68" fmla="*/ 60960 h 115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704850" h="1150620">
                <a:moveTo>
                  <a:pt x="95250" y="60960"/>
                </a:moveTo>
                <a:lnTo>
                  <a:pt x="83820" y="217170"/>
                </a:lnTo>
                <a:lnTo>
                  <a:pt x="95250" y="259080"/>
                </a:lnTo>
                <a:lnTo>
                  <a:pt x="140970" y="304800"/>
                </a:lnTo>
                <a:lnTo>
                  <a:pt x="156210" y="342900"/>
                </a:lnTo>
                <a:lnTo>
                  <a:pt x="137160" y="396240"/>
                </a:lnTo>
                <a:lnTo>
                  <a:pt x="99060" y="441960"/>
                </a:lnTo>
                <a:lnTo>
                  <a:pt x="34290" y="483870"/>
                </a:lnTo>
                <a:lnTo>
                  <a:pt x="19050" y="506730"/>
                </a:lnTo>
                <a:lnTo>
                  <a:pt x="22860" y="556260"/>
                </a:lnTo>
                <a:lnTo>
                  <a:pt x="30480" y="598170"/>
                </a:lnTo>
                <a:lnTo>
                  <a:pt x="0" y="643890"/>
                </a:lnTo>
                <a:lnTo>
                  <a:pt x="30480" y="697230"/>
                </a:lnTo>
                <a:lnTo>
                  <a:pt x="106680" y="746760"/>
                </a:lnTo>
                <a:lnTo>
                  <a:pt x="171450" y="742950"/>
                </a:lnTo>
                <a:lnTo>
                  <a:pt x="171450" y="742950"/>
                </a:lnTo>
                <a:lnTo>
                  <a:pt x="198120" y="769620"/>
                </a:lnTo>
                <a:lnTo>
                  <a:pt x="186690" y="887730"/>
                </a:lnTo>
                <a:lnTo>
                  <a:pt x="201930" y="899160"/>
                </a:lnTo>
                <a:lnTo>
                  <a:pt x="152400" y="979170"/>
                </a:lnTo>
                <a:lnTo>
                  <a:pt x="125730" y="1066800"/>
                </a:lnTo>
                <a:lnTo>
                  <a:pt x="133350" y="1097280"/>
                </a:lnTo>
                <a:lnTo>
                  <a:pt x="175260" y="1112520"/>
                </a:lnTo>
                <a:lnTo>
                  <a:pt x="205740" y="1112520"/>
                </a:lnTo>
                <a:lnTo>
                  <a:pt x="255270" y="1131570"/>
                </a:lnTo>
                <a:lnTo>
                  <a:pt x="278130" y="1150620"/>
                </a:lnTo>
                <a:lnTo>
                  <a:pt x="308610" y="1150620"/>
                </a:lnTo>
                <a:lnTo>
                  <a:pt x="327660" y="1131570"/>
                </a:lnTo>
                <a:lnTo>
                  <a:pt x="320040" y="1059180"/>
                </a:lnTo>
                <a:lnTo>
                  <a:pt x="339090" y="1036320"/>
                </a:lnTo>
                <a:lnTo>
                  <a:pt x="396240" y="994410"/>
                </a:lnTo>
                <a:lnTo>
                  <a:pt x="411480" y="925830"/>
                </a:lnTo>
                <a:lnTo>
                  <a:pt x="441960" y="868680"/>
                </a:lnTo>
                <a:lnTo>
                  <a:pt x="521970" y="822960"/>
                </a:lnTo>
                <a:lnTo>
                  <a:pt x="594360" y="819150"/>
                </a:lnTo>
                <a:lnTo>
                  <a:pt x="582930" y="769620"/>
                </a:lnTo>
                <a:lnTo>
                  <a:pt x="541020" y="769620"/>
                </a:lnTo>
                <a:lnTo>
                  <a:pt x="510540" y="708660"/>
                </a:lnTo>
                <a:lnTo>
                  <a:pt x="521970" y="697230"/>
                </a:lnTo>
                <a:lnTo>
                  <a:pt x="582930" y="697230"/>
                </a:lnTo>
                <a:lnTo>
                  <a:pt x="598170" y="674370"/>
                </a:lnTo>
                <a:lnTo>
                  <a:pt x="613410" y="582930"/>
                </a:lnTo>
                <a:lnTo>
                  <a:pt x="628650" y="499110"/>
                </a:lnTo>
                <a:lnTo>
                  <a:pt x="636270" y="464820"/>
                </a:lnTo>
                <a:lnTo>
                  <a:pt x="704850" y="403860"/>
                </a:lnTo>
                <a:lnTo>
                  <a:pt x="689610" y="335280"/>
                </a:lnTo>
                <a:lnTo>
                  <a:pt x="666750" y="262890"/>
                </a:lnTo>
                <a:lnTo>
                  <a:pt x="636270" y="175260"/>
                </a:lnTo>
                <a:lnTo>
                  <a:pt x="609600" y="129540"/>
                </a:lnTo>
                <a:lnTo>
                  <a:pt x="582930" y="118110"/>
                </a:lnTo>
                <a:lnTo>
                  <a:pt x="563880" y="60960"/>
                </a:lnTo>
                <a:lnTo>
                  <a:pt x="533400" y="22860"/>
                </a:lnTo>
                <a:lnTo>
                  <a:pt x="510540" y="0"/>
                </a:lnTo>
                <a:lnTo>
                  <a:pt x="487680" y="3810"/>
                </a:lnTo>
                <a:lnTo>
                  <a:pt x="464820" y="38100"/>
                </a:lnTo>
                <a:lnTo>
                  <a:pt x="430530" y="19050"/>
                </a:lnTo>
                <a:lnTo>
                  <a:pt x="422910" y="11430"/>
                </a:lnTo>
                <a:lnTo>
                  <a:pt x="415290" y="99060"/>
                </a:lnTo>
                <a:lnTo>
                  <a:pt x="369570" y="95250"/>
                </a:lnTo>
                <a:lnTo>
                  <a:pt x="342900" y="118110"/>
                </a:lnTo>
                <a:lnTo>
                  <a:pt x="320040" y="152400"/>
                </a:lnTo>
                <a:lnTo>
                  <a:pt x="289560" y="121920"/>
                </a:lnTo>
                <a:lnTo>
                  <a:pt x="285750" y="60960"/>
                </a:lnTo>
                <a:lnTo>
                  <a:pt x="266700" y="45720"/>
                </a:lnTo>
                <a:lnTo>
                  <a:pt x="224790" y="41910"/>
                </a:lnTo>
                <a:lnTo>
                  <a:pt x="205740" y="34290"/>
                </a:lnTo>
                <a:lnTo>
                  <a:pt x="175260" y="68580"/>
                </a:lnTo>
                <a:lnTo>
                  <a:pt x="148590" y="76200"/>
                </a:lnTo>
                <a:lnTo>
                  <a:pt x="95250" y="60960"/>
                </a:lnTo>
                <a:close/>
              </a:path>
            </a:pathLst>
          </a:custGeom>
          <a:solidFill>
            <a:schemeClr val="bg2">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9" name="任意多边形 28"/>
          <p:cNvSpPr/>
          <p:nvPr/>
        </p:nvSpPr>
        <p:spPr bwMode="auto">
          <a:xfrm>
            <a:off x="4927631" y="1285860"/>
            <a:ext cx="1046947" cy="1271297"/>
          </a:xfrm>
          <a:custGeom>
            <a:avLst/>
            <a:gdLst>
              <a:gd name="connsiteX0" fmla="*/ 403860 w 819150"/>
              <a:gd name="connsiteY0" fmla="*/ 0 h 1455420"/>
              <a:gd name="connsiteX1" fmla="*/ 350520 w 819150"/>
              <a:gd name="connsiteY1" fmla="*/ 72390 h 1455420"/>
              <a:gd name="connsiteX2" fmla="*/ 274320 w 819150"/>
              <a:gd name="connsiteY2" fmla="*/ 114300 h 1455420"/>
              <a:gd name="connsiteX3" fmla="*/ 213360 w 819150"/>
              <a:gd name="connsiteY3" fmla="*/ 148590 h 1455420"/>
              <a:gd name="connsiteX4" fmla="*/ 190500 w 819150"/>
              <a:gd name="connsiteY4" fmla="*/ 220980 h 1455420"/>
              <a:gd name="connsiteX5" fmla="*/ 220980 w 819150"/>
              <a:gd name="connsiteY5" fmla="*/ 270510 h 1455420"/>
              <a:gd name="connsiteX6" fmla="*/ 217170 w 819150"/>
              <a:gd name="connsiteY6" fmla="*/ 320040 h 1455420"/>
              <a:gd name="connsiteX7" fmla="*/ 179070 w 819150"/>
              <a:gd name="connsiteY7" fmla="*/ 358140 h 1455420"/>
              <a:gd name="connsiteX8" fmla="*/ 171450 w 819150"/>
              <a:gd name="connsiteY8" fmla="*/ 381000 h 1455420"/>
              <a:gd name="connsiteX9" fmla="*/ 201930 w 819150"/>
              <a:gd name="connsiteY9" fmla="*/ 438150 h 1455420"/>
              <a:gd name="connsiteX10" fmla="*/ 163830 w 819150"/>
              <a:gd name="connsiteY10" fmla="*/ 518160 h 1455420"/>
              <a:gd name="connsiteX11" fmla="*/ 133350 w 819150"/>
              <a:gd name="connsiteY11" fmla="*/ 548640 h 1455420"/>
              <a:gd name="connsiteX12" fmla="*/ 68580 w 819150"/>
              <a:gd name="connsiteY12" fmla="*/ 480060 h 1455420"/>
              <a:gd name="connsiteX13" fmla="*/ 45720 w 819150"/>
              <a:gd name="connsiteY13" fmla="*/ 502920 h 1455420"/>
              <a:gd name="connsiteX14" fmla="*/ 22860 w 819150"/>
              <a:gd name="connsiteY14" fmla="*/ 575310 h 1455420"/>
              <a:gd name="connsiteX15" fmla="*/ 0 w 819150"/>
              <a:gd name="connsiteY15" fmla="*/ 624840 h 1455420"/>
              <a:gd name="connsiteX16" fmla="*/ 0 w 819150"/>
              <a:gd name="connsiteY16" fmla="*/ 681990 h 1455420"/>
              <a:gd name="connsiteX17" fmla="*/ 19050 w 819150"/>
              <a:gd name="connsiteY17" fmla="*/ 708660 h 1455420"/>
              <a:gd name="connsiteX18" fmla="*/ 57150 w 819150"/>
              <a:gd name="connsiteY18" fmla="*/ 720090 h 1455420"/>
              <a:gd name="connsiteX19" fmla="*/ 91440 w 819150"/>
              <a:gd name="connsiteY19" fmla="*/ 750570 h 1455420"/>
              <a:gd name="connsiteX20" fmla="*/ 83820 w 819150"/>
              <a:gd name="connsiteY20" fmla="*/ 807720 h 1455420"/>
              <a:gd name="connsiteX21" fmla="*/ 72390 w 819150"/>
              <a:gd name="connsiteY21" fmla="*/ 880110 h 1455420"/>
              <a:gd name="connsiteX22" fmla="*/ 99060 w 819150"/>
              <a:gd name="connsiteY22" fmla="*/ 967740 h 1455420"/>
              <a:gd name="connsiteX23" fmla="*/ 110490 w 819150"/>
              <a:gd name="connsiteY23" fmla="*/ 1032510 h 1455420"/>
              <a:gd name="connsiteX24" fmla="*/ 95250 w 819150"/>
              <a:gd name="connsiteY24" fmla="*/ 1059180 h 1455420"/>
              <a:gd name="connsiteX25" fmla="*/ 30480 w 819150"/>
              <a:gd name="connsiteY25" fmla="*/ 1082040 h 1455420"/>
              <a:gd name="connsiteX26" fmla="*/ 11430 w 819150"/>
              <a:gd name="connsiteY26" fmla="*/ 1120140 h 1455420"/>
              <a:gd name="connsiteX27" fmla="*/ 22860 w 819150"/>
              <a:gd name="connsiteY27" fmla="*/ 1143000 h 1455420"/>
              <a:gd name="connsiteX28" fmla="*/ 80010 w 819150"/>
              <a:gd name="connsiteY28" fmla="*/ 1196340 h 1455420"/>
              <a:gd name="connsiteX29" fmla="*/ 118110 w 819150"/>
              <a:gd name="connsiteY29" fmla="*/ 1184910 h 1455420"/>
              <a:gd name="connsiteX30" fmla="*/ 171450 w 819150"/>
              <a:gd name="connsiteY30" fmla="*/ 1169670 h 1455420"/>
              <a:gd name="connsiteX31" fmla="*/ 205740 w 819150"/>
              <a:gd name="connsiteY31" fmla="*/ 1203960 h 1455420"/>
              <a:gd name="connsiteX32" fmla="*/ 205740 w 819150"/>
              <a:gd name="connsiteY32" fmla="*/ 1249680 h 1455420"/>
              <a:gd name="connsiteX33" fmla="*/ 213360 w 819150"/>
              <a:gd name="connsiteY33" fmla="*/ 1306830 h 1455420"/>
              <a:gd name="connsiteX34" fmla="*/ 266700 w 819150"/>
              <a:gd name="connsiteY34" fmla="*/ 1356360 h 1455420"/>
              <a:gd name="connsiteX35" fmla="*/ 281940 w 819150"/>
              <a:gd name="connsiteY35" fmla="*/ 1398270 h 1455420"/>
              <a:gd name="connsiteX36" fmla="*/ 289560 w 819150"/>
              <a:gd name="connsiteY36" fmla="*/ 1455420 h 1455420"/>
              <a:gd name="connsiteX37" fmla="*/ 342900 w 819150"/>
              <a:gd name="connsiteY37" fmla="*/ 1436370 h 1455420"/>
              <a:gd name="connsiteX38" fmla="*/ 384810 w 819150"/>
              <a:gd name="connsiteY38" fmla="*/ 1390650 h 1455420"/>
              <a:gd name="connsiteX39" fmla="*/ 388620 w 819150"/>
              <a:gd name="connsiteY39" fmla="*/ 1329690 h 1455420"/>
              <a:gd name="connsiteX40" fmla="*/ 403860 w 819150"/>
              <a:gd name="connsiteY40" fmla="*/ 1306830 h 1455420"/>
              <a:gd name="connsiteX41" fmla="*/ 468630 w 819150"/>
              <a:gd name="connsiteY41" fmla="*/ 1268730 h 1455420"/>
              <a:gd name="connsiteX42" fmla="*/ 480060 w 819150"/>
              <a:gd name="connsiteY42" fmla="*/ 1242060 h 1455420"/>
              <a:gd name="connsiteX43" fmla="*/ 415290 w 819150"/>
              <a:gd name="connsiteY43" fmla="*/ 1169670 h 1455420"/>
              <a:gd name="connsiteX44" fmla="*/ 403860 w 819150"/>
              <a:gd name="connsiteY44" fmla="*/ 1097280 h 1455420"/>
              <a:gd name="connsiteX45" fmla="*/ 369570 w 819150"/>
              <a:gd name="connsiteY45" fmla="*/ 1085850 h 1455420"/>
              <a:gd name="connsiteX46" fmla="*/ 335280 w 819150"/>
              <a:gd name="connsiteY46" fmla="*/ 1085850 h 1455420"/>
              <a:gd name="connsiteX47" fmla="*/ 228600 w 819150"/>
              <a:gd name="connsiteY47" fmla="*/ 1036320 h 1455420"/>
              <a:gd name="connsiteX48" fmla="*/ 209550 w 819150"/>
              <a:gd name="connsiteY48" fmla="*/ 1009650 h 1455420"/>
              <a:gd name="connsiteX49" fmla="*/ 228600 w 819150"/>
              <a:gd name="connsiteY49" fmla="*/ 971550 h 1455420"/>
              <a:gd name="connsiteX50" fmla="*/ 297180 w 819150"/>
              <a:gd name="connsiteY50" fmla="*/ 902970 h 1455420"/>
              <a:gd name="connsiteX51" fmla="*/ 346710 w 819150"/>
              <a:gd name="connsiteY51" fmla="*/ 906780 h 1455420"/>
              <a:gd name="connsiteX52" fmla="*/ 373380 w 819150"/>
              <a:gd name="connsiteY52" fmla="*/ 910590 h 1455420"/>
              <a:gd name="connsiteX53" fmla="*/ 407670 w 819150"/>
              <a:gd name="connsiteY53" fmla="*/ 887730 h 1455420"/>
              <a:gd name="connsiteX54" fmla="*/ 449580 w 819150"/>
              <a:gd name="connsiteY54" fmla="*/ 883920 h 1455420"/>
              <a:gd name="connsiteX55" fmla="*/ 476250 w 819150"/>
              <a:gd name="connsiteY55" fmla="*/ 880110 h 1455420"/>
              <a:gd name="connsiteX56" fmla="*/ 510540 w 819150"/>
              <a:gd name="connsiteY56" fmla="*/ 861060 h 1455420"/>
              <a:gd name="connsiteX57" fmla="*/ 575310 w 819150"/>
              <a:gd name="connsiteY57" fmla="*/ 891540 h 1455420"/>
              <a:gd name="connsiteX58" fmla="*/ 586740 w 819150"/>
              <a:gd name="connsiteY58" fmla="*/ 952500 h 1455420"/>
              <a:gd name="connsiteX59" fmla="*/ 579120 w 819150"/>
              <a:gd name="connsiteY59" fmla="*/ 1024890 h 1455420"/>
              <a:gd name="connsiteX60" fmla="*/ 571500 w 819150"/>
              <a:gd name="connsiteY60" fmla="*/ 1074420 h 1455420"/>
              <a:gd name="connsiteX61" fmla="*/ 628650 w 819150"/>
              <a:gd name="connsiteY61" fmla="*/ 1143000 h 1455420"/>
              <a:gd name="connsiteX62" fmla="*/ 670560 w 819150"/>
              <a:gd name="connsiteY62" fmla="*/ 1177290 h 1455420"/>
              <a:gd name="connsiteX63" fmla="*/ 739140 w 819150"/>
              <a:gd name="connsiteY63" fmla="*/ 1135380 h 1455420"/>
              <a:gd name="connsiteX64" fmla="*/ 765810 w 819150"/>
              <a:gd name="connsiteY64" fmla="*/ 1055370 h 1455420"/>
              <a:gd name="connsiteX65" fmla="*/ 819150 w 819150"/>
              <a:gd name="connsiteY65" fmla="*/ 971550 h 1455420"/>
              <a:gd name="connsiteX66" fmla="*/ 803910 w 819150"/>
              <a:gd name="connsiteY66" fmla="*/ 956310 h 1455420"/>
              <a:gd name="connsiteX67" fmla="*/ 811530 w 819150"/>
              <a:gd name="connsiteY67" fmla="*/ 838200 h 1455420"/>
              <a:gd name="connsiteX68" fmla="*/ 784860 w 819150"/>
              <a:gd name="connsiteY68" fmla="*/ 815340 h 1455420"/>
              <a:gd name="connsiteX69" fmla="*/ 720090 w 819150"/>
              <a:gd name="connsiteY69" fmla="*/ 815340 h 1455420"/>
              <a:gd name="connsiteX70" fmla="*/ 647700 w 819150"/>
              <a:gd name="connsiteY70" fmla="*/ 769620 h 1455420"/>
              <a:gd name="connsiteX71" fmla="*/ 609600 w 819150"/>
              <a:gd name="connsiteY71" fmla="*/ 723900 h 1455420"/>
              <a:gd name="connsiteX72" fmla="*/ 640080 w 819150"/>
              <a:gd name="connsiteY72" fmla="*/ 670560 h 1455420"/>
              <a:gd name="connsiteX73" fmla="*/ 632460 w 819150"/>
              <a:gd name="connsiteY73" fmla="*/ 582930 h 1455420"/>
              <a:gd name="connsiteX74" fmla="*/ 651510 w 819150"/>
              <a:gd name="connsiteY74" fmla="*/ 548640 h 1455420"/>
              <a:gd name="connsiteX75" fmla="*/ 720090 w 819150"/>
              <a:gd name="connsiteY75" fmla="*/ 514350 h 1455420"/>
              <a:gd name="connsiteX76" fmla="*/ 758190 w 819150"/>
              <a:gd name="connsiteY76" fmla="*/ 464820 h 1455420"/>
              <a:gd name="connsiteX77" fmla="*/ 773430 w 819150"/>
              <a:gd name="connsiteY77" fmla="*/ 415290 h 1455420"/>
              <a:gd name="connsiteX78" fmla="*/ 754380 w 819150"/>
              <a:gd name="connsiteY78" fmla="*/ 369570 h 1455420"/>
              <a:gd name="connsiteX79" fmla="*/ 708660 w 819150"/>
              <a:gd name="connsiteY79" fmla="*/ 331470 h 1455420"/>
              <a:gd name="connsiteX80" fmla="*/ 697230 w 819150"/>
              <a:gd name="connsiteY80" fmla="*/ 297180 h 1455420"/>
              <a:gd name="connsiteX81" fmla="*/ 704850 w 819150"/>
              <a:gd name="connsiteY81" fmla="*/ 224790 h 1455420"/>
              <a:gd name="connsiteX82" fmla="*/ 712470 w 819150"/>
              <a:gd name="connsiteY82" fmla="*/ 133350 h 1455420"/>
              <a:gd name="connsiteX83" fmla="*/ 678180 w 819150"/>
              <a:gd name="connsiteY83" fmla="*/ 110490 h 1455420"/>
              <a:gd name="connsiteX84" fmla="*/ 647700 w 819150"/>
              <a:gd name="connsiteY84" fmla="*/ 144780 h 1455420"/>
              <a:gd name="connsiteX85" fmla="*/ 647700 w 819150"/>
              <a:gd name="connsiteY85" fmla="*/ 186690 h 1455420"/>
              <a:gd name="connsiteX86" fmla="*/ 647700 w 819150"/>
              <a:gd name="connsiteY86" fmla="*/ 243840 h 1455420"/>
              <a:gd name="connsiteX87" fmla="*/ 609600 w 819150"/>
              <a:gd name="connsiteY87" fmla="*/ 224790 h 1455420"/>
              <a:gd name="connsiteX88" fmla="*/ 586740 w 819150"/>
              <a:gd name="connsiteY88" fmla="*/ 240030 h 1455420"/>
              <a:gd name="connsiteX89" fmla="*/ 560070 w 819150"/>
              <a:gd name="connsiteY89" fmla="*/ 217170 h 1455420"/>
              <a:gd name="connsiteX90" fmla="*/ 529590 w 819150"/>
              <a:gd name="connsiteY90" fmla="*/ 217170 h 1455420"/>
              <a:gd name="connsiteX91" fmla="*/ 514350 w 819150"/>
              <a:gd name="connsiteY91" fmla="*/ 209550 h 1455420"/>
              <a:gd name="connsiteX92" fmla="*/ 556260 w 819150"/>
              <a:gd name="connsiteY92" fmla="*/ 186690 h 1455420"/>
              <a:gd name="connsiteX93" fmla="*/ 571500 w 819150"/>
              <a:gd name="connsiteY93" fmla="*/ 163830 h 1455420"/>
              <a:gd name="connsiteX94" fmla="*/ 563880 w 819150"/>
              <a:gd name="connsiteY94" fmla="*/ 133350 h 1455420"/>
              <a:gd name="connsiteX95" fmla="*/ 541020 w 819150"/>
              <a:gd name="connsiteY95" fmla="*/ 114300 h 1455420"/>
              <a:gd name="connsiteX96" fmla="*/ 499110 w 819150"/>
              <a:gd name="connsiteY96" fmla="*/ 102870 h 1455420"/>
              <a:gd name="connsiteX97" fmla="*/ 464820 w 819150"/>
              <a:gd name="connsiteY97" fmla="*/ 99060 h 1455420"/>
              <a:gd name="connsiteX98" fmla="*/ 449580 w 819150"/>
              <a:gd name="connsiteY98" fmla="*/ 91440 h 1455420"/>
              <a:gd name="connsiteX99" fmla="*/ 480060 w 819150"/>
              <a:gd name="connsiteY99" fmla="*/ 72390 h 1455420"/>
              <a:gd name="connsiteX100" fmla="*/ 483870 w 819150"/>
              <a:gd name="connsiteY100" fmla="*/ 49530 h 1455420"/>
              <a:gd name="connsiteX101" fmla="*/ 453390 w 819150"/>
              <a:gd name="connsiteY101" fmla="*/ 34290 h 1455420"/>
              <a:gd name="connsiteX102" fmla="*/ 453390 w 819150"/>
              <a:gd name="connsiteY102" fmla="*/ 15240 h 1455420"/>
              <a:gd name="connsiteX103" fmla="*/ 403860 w 819150"/>
              <a:gd name="connsiteY103" fmla="*/ 0 h 1455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819150" h="1455420">
                <a:moveTo>
                  <a:pt x="403860" y="0"/>
                </a:moveTo>
                <a:lnTo>
                  <a:pt x="350520" y="72390"/>
                </a:lnTo>
                <a:lnTo>
                  <a:pt x="274320" y="114300"/>
                </a:lnTo>
                <a:lnTo>
                  <a:pt x="213360" y="148590"/>
                </a:lnTo>
                <a:lnTo>
                  <a:pt x="190500" y="220980"/>
                </a:lnTo>
                <a:lnTo>
                  <a:pt x="220980" y="270510"/>
                </a:lnTo>
                <a:lnTo>
                  <a:pt x="217170" y="320040"/>
                </a:lnTo>
                <a:lnTo>
                  <a:pt x="179070" y="358140"/>
                </a:lnTo>
                <a:lnTo>
                  <a:pt x="171450" y="381000"/>
                </a:lnTo>
                <a:lnTo>
                  <a:pt x="201930" y="438150"/>
                </a:lnTo>
                <a:lnTo>
                  <a:pt x="163830" y="518160"/>
                </a:lnTo>
                <a:lnTo>
                  <a:pt x="133350" y="548640"/>
                </a:lnTo>
                <a:lnTo>
                  <a:pt x="68580" y="480060"/>
                </a:lnTo>
                <a:lnTo>
                  <a:pt x="45720" y="502920"/>
                </a:lnTo>
                <a:lnTo>
                  <a:pt x="22860" y="575310"/>
                </a:lnTo>
                <a:lnTo>
                  <a:pt x="0" y="624840"/>
                </a:lnTo>
                <a:lnTo>
                  <a:pt x="0" y="681990"/>
                </a:lnTo>
                <a:lnTo>
                  <a:pt x="19050" y="708660"/>
                </a:lnTo>
                <a:lnTo>
                  <a:pt x="57150" y="720090"/>
                </a:lnTo>
                <a:lnTo>
                  <a:pt x="91440" y="750570"/>
                </a:lnTo>
                <a:lnTo>
                  <a:pt x="83820" y="807720"/>
                </a:lnTo>
                <a:lnTo>
                  <a:pt x="72390" y="880110"/>
                </a:lnTo>
                <a:lnTo>
                  <a:pt x="99060" y="967740"/>
                </a:lnTo>
                <a:lnTo>
                  <a:pt x="110490" y="1032510"/>
                </a:lnTo>
                <a:lnTo>
                  <a:pt x="95250" y="1059180"/>
                </a:lnTo>
                <a:lnTo>
                  <a:pt x="30480" y="1082040"/>
                </a:lnTo>
                <a:lnTo>
                  <a:pt x="11430" y="1120140"/>
                </a:lnTo>
                <a:lnTo>
                  <a:pt x="22860" y="1143000"/>
                </a:lnTo>
                <a:lnTo>
                  <a:pt x="80010" y="1196340"/>
                </a:lnTo>
                <a:lnTo>
                  <a:pt x="118110" y="1184910"/>
                </a:lnTo>
                <a:lnTo>
                  <a:pt x="171450" y="1169670"/>
                </a:lnTo>
                <a:lnTo>
                  <a:pt x="205740" y="1203960"/>
                </a:lnTo>
                <a:lnTo>
                  <a:pt x="205740" y="1249680"/>
                </a:lnTo>
                <a:lnTo>
                  <a:pt x="213360" y="1306830"/>
                </a:lnTo>
                <a:lnTo>
                  <a:pt x="266700" y="1356360"/>
                </a:lnTo>
                <a:lnTo>
                  <a:pt x="281940" y="1398270"/>
                </a:lnTo>
                <a:lnTo>
                  <a:pt x="289560" y="1455420"/>
                </a:lnTo>
                <a:lnTo>
                  <a:pt x="342900" y="1436370"/>
                </a:lnTo>
                <a:lnTo>
                  <a:pt x="384810" y="1390650"/>
                </a:lnTo>
                <a:lnTo>
                  <a:pt x="388620" y="1329690"/>
                </a:lnTo>
                <a:lnTo>
                  <a:pt x="403860" y="1306830"/>
                </a:lnTo>
                <a:lnTo>
                  <a:pt x="468630" y="1268730"/>
                </a:lnTo>
                <a:lnTo>
                  <a:pt x="480060" y="1242060"/>
                </a:lnTo>
                <a:lnTo>
                  <a:pt x="415290" y="1169670"/>
                </a:lnTo>
                <a:lnTo>
                  <a:pt x="403860" y="1097280"/>
                </a:lnTo>
                <a:lnTo>
                  <a:pt x="369570" y="1085850"/>
                </a:lnTo>
                <a:lnTo>
                  <a:pt x="335280" y="1085850"/>
                </a:lnTo>
                <a:lnTo>
                  <a:pt x="228600" y="1036320"/>
                </a:lnTo>
                <a:lnTo>
                  <a:pt x="209550" y="1009650"/>
                </a:lnTo>
                <a:lnTo>
                  <a:pt x="228600" y="971550"/>
                </a:lnTo>
                <a:lnTo>
                  <a:pt x="297180" y="902970"/>
                </a:lnTo>
                <a:lnTo>
                  <a:pt x="346710" y="906780"/>
                </a:lnTo>
                <a:lnTo>
                  <a:pt x="373380" y="910590"/>
                </a:lnTo>
                <a:lnTo>
                  <a:pt x="407670" y="887730"/>
                </a:lnTo>
                <a:lnTo>
                  <a:pt x="449580" y="883920"/>
                </a:lnTo>
                <a:lnTo>
                  <a:pt x="476250" y="880110"/>
                </a:lnTo>
                <a:lnTo>
                  <a:pt x="510540" y="861060"/>
                </a:lnTo>
                <a:lnTo>
                  <a:pt x="575310" y="891540"/>
                </a:lnTo>
                <a:lnTo>
                  <a:pt x="586740" y="952500"/>
                </a:lnTo>
                <a:lnTo>
                  <a:pt x="579120" y="1024890"/>
                </a:lnTo>
                <a:lnTo>
                  <a:pt x="571500" y="1074420"/>
                </a:lnTo>
                <a:lnTo>
                  <a:pt x="628650" y="1143000"/>
                </a:lnTo>
                <a:lnTo>
                  <a:pt x="670560" y="1177290"/>
                </a:lnTo>
                <a:lnTo>
                  <a:pt x="739140" y="1135380"/>
                </a:lnTo>
                <a:lnTo>
                  <a:pt x="765810" y="1055370"/>
                </a:lnTo>
                <a:lnTo>
                  <a:pt x="819150" y="971550"/>
                </a:lnTo>
                <a:lnTo>
                  <a:pt x="803910" y="956310"/>
                </a:lnTo>
                <a:lnTo>
                  <a:pt x="811530" y="838200"/>
                </a:lnTo>
                <a:lnTo>
                  <a:pt x="784860" y="815340"/>
                </a:lnTo>
                <a:lnTo>
                  <a:pt x="720090" y="815340"/>
                </a:lnTo>
                <a:lnTo>
                  <a:pt x="647700" y="769620"/>
                </a:lnTo>
                <a:lnTo>
                  <a:pt x="609600" y="723900"/>
                </a:lnTo>
                <a:lnTo>
                  <a:pt x="640080" y="670560"/>
                </a:lnTo>
                <a:lnTo>
                  <a:pt x="632460" y="582930"/>
                </a:lnTo>
                <a:lnTo>
                  <a:pt x="651510" y="548640"/>
                </a:lnTo>
                <a:lnTo>
                  <a:pt x="720090" y="514350"/>
                </a:lnTo>
                <a:lnTo>
                  <a:pt x="758190" y="464820"/>
                </a:lnTo>
                <a:lnTo>
                  <a:pt x="773430" y="415290"/>
                </a:lnTo>
                <a:lnTo>
                  <a:pt x="754380" y="369570"/>
                </a:lnTo>
                <a:lnTo>
                  <a:pt x="708660" y="331470"/>
                </a:lnTo>
                <a:lnTo>
                  <a:pt x="697230" y="297180"/>
                </a:lnTo>
                <a:lnTo>
                  <a:pt x="704850" y="224790"/>
                </a:lnTo>
                <a:lnTo>
                  <a:pt x="712470" y="133350"/>
                </a:lnTo>
                <a:lnTo>
                  <a:pt x="678180" y="110490"/>
                </a:lnTo>
                <a:lnTo>
                  <a:pt x="647700" y="144780"/>
                </a:lnTo>
                <a:lnTo>
                  <a:pt x="647700" y="186690"/>
                </a:lnTo>
                <a:lnTo>
                  <a:pt x="647700" y="243840"/>
                </a:lnTo>
                <a:lnTo>
                  <a:pt x="609600" y="224790"/>
                </a:lnTo>
                <a:lnTo>
                  <a:pt x="586740" y="240030"/>
                </a:lnTo>
                <a:lnTo>
                  <a:pt x="560070" y="217170"/>
                </a:lnTo>
                <a:lnTo>
                  <a:pt x="529590" y="217170"/>
                </a:lnTo>
                <a:lnTo>
                  <a:pt x="514350" y="209550"/>
                </a:lnTo>
                <a:lnTo>
                  <a:pt x="556260" y="186690"/>
                </a:lnTo>
                <a:lnTo>
                  <a:pt x="571500" y="163830"/>
                </a:lnTo>
                <a:lnTo>
                  <a:pt x="563880" y="133350"/>
                </a:lnTo>
                <a:lnTo>
                  <a:pt x="541020" y="114300"/>
                </a:lnTo>
                <a:lnTo>
                  <a:pt x="499110" y="102870"/>
                </a:lnTo>
                <a:lnTo>
                  <a:pt x="464820" y="99060"/>
                </a:lnTo>
                <a:lnTo>
                  <a:pt x="449580" y="91440"/>
                </a:lnTo>
                <a:lnTo>
                  <a:pt x="480060" y="72390"/>
                </a:lnTo>
                <a:lnTo>
                  <a:pt x="483870" y="49530"/>
                </a:lnTo>
                <a:lnTo>
                  <a:pt x="453390" y="34290"/>
                </a:lnTo>
                <a:lnTo>
                  <a:pt x="453390" y="15240"/>
                </a:lnTo>
                <a:lnTo>
                  <a:pt x="403860" y="0"/>
                </a:lnTo>
                <a:close/>
              </a:path>
            </a:pathLst>
          </a:custGeom>
          <a:solidFill>
            <a:schemeClr val="bg2">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0" name="任意多边形 29"/>
          <p:cNvSpPr/>
          <p:nvPr/>
        </p:nvSpPr>
        <p:spPr bwMode="auto">
          <a:xfrm>
            <a:off x="3493152" y="1478564"/>
            <a:ext cx="1718535" cy="1307342"/>
          </a:xfrm>
          <a:custGeom>
            <a:avLst/>
            <a:gdLst>
              <a:gd name="connsiteX0" fmla="*/ 563880 w 1344930"/>
              <a:gd name="connsiteY0" fmla="*/ 1497330 h 1497330"/>
              <a:gd name="connsiteX1" fmla="*/ 609600 w 1344930"/>
              <a:gd name="connsiteY1" fmla="*/ 1466850 h 1497330"/>
              <a:gd name="connsiteX2" fmla="*/ 647700 w 1344930"/>
              <a:gd name="connsiteY2" fmla="*/ 1379220 h 1497330"/>
              <a:gd name="connsiteX3" fmla="*/ 678180 w 1344930"/>
              <a:gd name="connsiteY3" fmla="*/ 1325880 h 1497330"/>
              <a:gd name="connsiteX4" fmla="*/ 735330 w 1344930"/>
              <a:gd name="connsiteY4" fmla="*/ 1295400 h 1497330"/>
              <a:gd name="connsiteX5" fmla="*/ 765810 w 1344930"/>
              <a:gd name="connsiteY5" fmla="*/ 1230630 h 1497330"/>
              <a:gd name="connsiteX6" fmla="*/ 788670 w 1344930"/>
              <a:gd name="connsiteY6" fmla="*/ 1203960 h 1497330"/>
              <a:gd name="connsiteX7" fmla="*/ 819150 w 1344930"/>
              <a:gd name="connsiteY7" fmla="*/ 1181100 h 1497330"/>
              <a:gd name="connsiteX8" fmla="*/ 822960 w 1344930"/>
              <a:gd name="connsiteY8" fmla="*/ 1120140 h 1497330"/>
              <a:gd name="connsiteX9" fmla="*/ 845820 w 1344930"/>
              <a:gd name="connsiteY9" fmla="*/ 1082040 h 1497330"/>
              <a:gd name="connsiteX10" fmla="*/ 887730 w 1344930"/>
              <a:gd name="connsiteY10" fmla="*/ 1059180 h 1497330"/>
              <a:gd name="connsiteX11" fmla="*/ 902970 w 1344930"/>
              <a:gd name="connsiteY11" fmla="*/ 1032510 h 1497330"/>
              <a:gd name="connsiteX12" fmla="*/ 883920 w 1344930"/>
              <a:gd name="connsiteY12" fmla="*/ 990600 h 1497330"/>
              <a:gd name="connsiteX13" fmla="*/ 842010 w 1344930"/>
              <a:gd name="connsiteY13" fmla="*/ 918210 h 1497330"/>
              <a:gd name="connsiteX14" fmla="*/ 842010 w 1344930"/>
              <a:gd name="connsiteY14" fmla="*/ 880110 h 1497330"/>
              <a:gd name="connsiteX15" fmla="*/ 864870 w 1344930"/>
              <a:gd name="connsiteY15" fmla="*/ 849630 h 1497330"/>
              <a:gd name="connsiteX16" fmla="*/ 952500 w 1344930"/>
              <a:gd name="connsiteY16" fmla="*/ 807720 h 1497330"/>
              <a:gd name="connsiteX17" fmla="*/ 971550 w 1344930"/>
              <a:gd name="connsiteY17" fmla="*/ 781050 h 1497330"/>
              <a:gd name="connsiteX18" fmla="*/ 948690 w 1344930"/>
              <a:gd name="connsiteY18" fmla="*/ 716280 h 1497330"/>
              <a:gd name="connsiteX19" fmla="*/ 929640 w 1344930"/>
              <a:gd name="connsiteY19" fmla="*/ 640080 h 1497330"/>
              <a:gd name="connsiteX20" fmla="*/ 925830 w 1344930"/>
              <a:gd name="connsiteY20" fmla="*/ 590550 h 1497330"/>
              <a:gd name="connsiteX21" fmla="*/ 944880 w 1344930"/>
              <a:gd name="connsiteY21" fmla="*/ 518160 h 1497330"/>
              <a:gd name="connsiteX22" fmla="*/ 948690 w 1344930"/>
              <a:gd name="connsiteY22" fmla="*/ 461010 h 1497330"/>
              <a:gd name="connsiteX23" fmla="*/ 986790 w 1344930"/>
              <a:gd name="connsiteY23" fmla="*/ 434340 h 1497330"/>
              <a:gd name="connsiteX24" fmla="*/ 1036320 w 1344930"/>
              <a:gd name="connsiteY24" fmla="*/ 472440 h 1497330"/>
              <a:gd name="connsiteX25" fmla="*/ 1120140 w 1344930"/>
              <a:gd name="connsiteY25" fmla="*/ 407670 h 1497330"/>
              <a:gd name="connsiteX26" fmla="*/ 1154430 w 1344930"/>
              <a:gd name="connsiteY26" fmla="*/ 339090 h 1497330"/>
              <a:gd name="connsiteX27" fmla="*/ 1169670 w 1344930"/>
              <a:gd name="connsiteY27" fmla="*/ 285750 h 1497330"/>
              <a:gd name="connsiteX28" fmla="*/ 1192530 w 1344930"/>
              <a:gd name="connsiteY28" fmla="*/ 259080 h 1497330"/>
              <a:gd name="connsiteX29" fmla="*/ 1249680 w 1344930"/>
              <a:gd name="connsiteY29" fmla="*/ 323850 h 1497330"/>
              <a:gd name="connsiteX30" fmla="*/ 1299210 w 1344930"/>
              <a:gd name="connsiteY30" fmla="*/ 285750 h 1497330"/>
              <a:gd name="connsiteX31" fmla="*/ 1325880 w 1344930"/>
              <a:gd name="connsiteY31" fmla="*/ 220980 h 1497330"/>
              <a:gd name="connsiteX32" fmla="*/ 1299210 w 1344930"/>
              <a:gd name="connsiteY32" fmla="*/ 160020 h 1497330"/>
              <a:gd name="connsiteX33" fmla="*/ 1310640 w 1344930"/>
              <a:gd name="connsiteY33" fmla="*/ 129540 h 1497330"/>
              <a:gd name="connsiteX34" fmla="*/ 1344930 w 1344930"/>
              <a:gd name="connsiteY34" fmla="*/ 102870 h 1497330"/>
              <a:gd name="connsiteX35" fmla="*/ 1344930 w 1344930"/>
              <a:gd name="connsiteY35" fmla="*/ 45720 h 1497330"/>
              <a:gd name="connsiteX36" fmla="*/ 1314450 w 1344930"/>
              <a:gd name="connsiteY36" fmla="*/ 0 h 1497330"/>
              <a:gd name="connsiteX37" fmla="*/ 1291590 w 1344930"/>
              <a:gd name="connsiteY37" fmla="*/ 80010 h 1497330"/>
              <a:gd name="connsiteX38" fmla="*/ 1238250 w 1344930"/>
              <a:gd name="connsiteY38" fmla="*/ 129540 h 1497330"/>
              <a:gd name="connsiteX39" fmla="*/ 1196340 w 1344930"/>
              <a:gd name="connsiteY39" fmla="*/ 140970 h 1497330"/>
              <a:gd name="connsiteX40" fmla="*/ 1078230 w 1344930"/>
              <a:gd name="connsiteY40" fmla="*/ 133350 h 1497330"/>
              <a:gd name="connsiteX41" fmla="*/ 998220 w 1344930"/>
              <a:gd name="connsiteY41" fmla="*/ 121920 h 1497330"/>
              <a:gd name="connsiteX42" fmla="*/ 914400 w 1344930"/>
              <a:gd name="connsiteY42" fmla="*/ 110490 h 1497330"/>
              <a:gd name="connsiteX43" fmla="*/ 826770 w 1344930"/>
              <a:gd name="connsiteY43" fmla="*/ 83820 h 1497330"/>
              <a:gd name="connsiteX44" fmla="*/ 788670 w 1344930"/>
              <a:gd name="connsiteY44" fmla="*/ 95250 h 1497330"/>
              <a:gd name="connsiteX45" fmla="*/ 750570 w 1344930"/>
              <a:gd name="connsiteY45" fmla="*/ 140970 h 1497330"/>
              <a:gd name="connsiteX46" fmla="*/ 704850 w 1344930"/>
              <a:gd name="connsiteY46" fmla="*/ 220980 h 1497330"/>
              <a:gd name="connsiteX47" fmla="*/ 651510 w 1344930"/>
              <a:gd name="connsiteY47" fmla="*/ 285750 h 1497330"/>
              <a:gd name="connsiteX48" fmla="*/ 598170 w 1344930"/>
              <a:gd name="connsiteY48" fmla="*/ 346710 h 1497330"/>
              <a:gd name="connsiteX49" fmla="*/ 556260 w 1344930"/>
              <a:gd name="connsiteY49" fmla="*/ 392430 h 1497330"/>
              <a:gd name="connsiteX50" fmla="*/ 495300 w 1344930"/>
              <a:gd name="connsiteY50" fmla="*/ 426720 h 1497330"/>
              <a:gd name="connsiteX51" fmla="*/ 468630 w 1344930"/>
              <a:gd name="connsiteY51" fmla="*/ 411480 h 1497330"/>
              <a:gd name="connsiteX52" fmla="*/ 464820 w 1344930"/>
              <a:gd name="connsiteY52" fmla="*/ 361950 h 1497330"/>
              <a:gd name="connsiteX53" fmla="*/ 438150 w 1344930"/>
              <a:gd name="connsiteY53" fmla="*/ 339090 h 1497330"/>
              <a:gd name="connsiteX54" fmla="*/ 396240 w 1344930"/>
              <a:gd name="connsiteY54" fmla="*/ 346710 h 1497330"/>
              <a:gd name="connsiteX55" fmla="*/ 384810 w 1344930"/>
              <a:gd name="connsiteY55" fmla="*/ 373380 h 1497330"/>
              <a:gd name="connsiteX56" fmla="*/ 381000 w 1344930"/>
              <a:gd name="connsiteY56" fmla="*/ 419100 h 1497330"/>
              <a:gd name="connsiteX57" fmla="*/ 342900 w 1344930"/>
              <a:gd name="connsiteY57" fmla="*/ 441960 h 1497330"/>
              <a:gd name="connsiteX58" fmla="*/ 339090 w 1344930"/>
              <a:gd name="connsiteY58" fmla="*/ 461010 h 1497330"/>
              <a:gd name="connsiteX59" fmla="*/ 373380 w 1344930"/>
              <a:gd name="connsiteY59" fmla="*/ 521970 h 1497330"/>
              <a:gd name="connsiteX60" fmla="*/ 369570 w 1344930"/>
              <a:gd name="connsiteY60" fmla="*/ 544830 h 1497330"/>
              <a:gd name="connsiteX61" fmla="*/ 323850 w 1344930"/>
              <a:gd name="connsiteY61" fmla="*/ 541020 h 1497330"/>
              <a:gd name="connsiteX62" fmla="*/ 251460 w 1344930"/>
              <a:gd name="connsiteY62" fmla="*/ 552450 h 1497330"/>
              <a:gd name="connsiteX63" fmla="*/ 213360 w 1344930"/>
              <a:gd name="connsiteY63" fmla="*/ 563880 h 1497330"/>
              <a:gd name="connsiteX64" fmla="*/ 160020 w 1344930"/>
              <a:gd name="connsiteY64" fmla="*/ 632460 h 1497330"/>
              <a:gd name="connsiteX65" fmla="*/ 121920 w 1344930"/>
              <a:gd name="connsiteY65" fmla="*/ 712470 h 1497330"/>
              <a:gd name="connsiteX66" fmla="*/ 83820 w 1344930"/>
              <a:gd name="connsiteY66" fmla="*/ 781050 h 1497330"/>
              <a:gd name="connsiteX67" fmla="*/ 45720 w 1344930"/>
              <a:gd name="connsiteY67" fmla="*/ 872490 h 1497330"/>
              <a:gd name="connsiteX68" fmla="*/ 0 w 1344930"/>
              <a:gd name="connsiteY68" fmla="*/ 952500 h 1497330"/>
              <a:gd name="connsiteX69" fmla="*/ 102870 w 1344930"/>
              <a:gd name="connsiteY69" fmla="*/ 1017270 h 1497330"/>
              <a:gd name="connsiteX70" fmla="*/ 175260 w 1344930"/>
              <a:gd name="connsiteY70" fmla="*/ 1032510 h 1497330"/>
              <a:gd name="connsiteX71" fmla="*/ 232410 w 1344930"/>
              <a:gd name="connsiteY71" fmla="*/ 1032510 h 1497330"/>
              <a:gd name="connsiteX72" fmla="*/ 262890 w 1344930"/>
              <a:gd name="connsiteY72" fmla="*/ 1009650 h 1497330"/>
              <a:gd name="connsiteX73" fmla="*/ 293370 w 1344930"/>
              <a:gd name="connsiteY73" fmla="*/ 956310 h 1497330"/>
              <a:gd name="connsiteX74" fmla="*/ 323850 w 1344930"/>
              <a:gd name="connsiteY74" fmla="*/ 922020 h 1497330"/>
              <a:gd name="connsiteX75" fmla="*/ 361950 w 1344930"/>
              <a:gd name="connsiteY75" fmla="*/ 914400 h 1497330"/>
              <a:gd name="connsiteX76" fmla="*/ 426720 w 1344930"/>
              <a:gd name="connsiteY76" fmla="*/ 929640 h 1497330"/>
              <a:gd name="connsiteX77" fmla="*/ 483870 w 1344930"/>
              <a:gd name="connsiteY77" fmla="*/ 952500 h 1497330"/>
              <a:gd name="connsiteX78" fmla="*/ 506730 w 1344930"/>
              <a:gd name="connsiteY78" fmla="*/ 982980 h 1497330"/>
              <a:gd name="connsiteX79" fmla="*/ 495300 w 1344930"/>
              <a:gd name="connsiteY79" fmla="*/ 1059180 h 1497330"/>
              <a:gd name="connsiteX80" fmla="*/ 468630 w 1344930"/>
              <a:gd name="connsiteY80" fmla="*/ 1154430 h 1497330"/>
              <a:gd name="connsiteX81" fmla="*/ 468630 w 1344930"/>
              <a:gd name="connsiteY81" fmla="*/ 1234440 h 1497330"/>
              <a:gd name="connsiteX82" fmla="*/ 480060 w 1344930"/>
              <a:gd name="connsiteY82" fmla="*/ 1314450 h 1497330"/>
              <a:gd name="connsiteX83" fmla="*/ 499110 w 1344930"/>
              <a:gd name="connsiteY83" fmla="*/ 1398270 h 1497330"/>
              <a:gd name="connsiteX84" fmla="*/ 563880 w 1344930"/>
              <a:gd name="connsiteY84" fmla="*/ 1497330 h 149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44930" h="1497330">
                <a:moveTo>
                  <a:pt x="563880" y="1497330"/>
                </a:moveTo>
                <a:lnTo>
                  <a:pt x="609600" y="1466850"/>
                </a:lnTo>
                <a:lnTo>
                  <a:pt x="647700" y="1379220"/>
                </a:lnTo>
                <a:lnTo>
                  <a:pt x="678180" y="1325880"/>
                </a:lnTo>
                <a:lnTo>
                  <a:pt x="735330" y="1295400"/>
                </a:lnTo>
                <a:lnTo>
                  <a:pt x="765810" y="1230630"/>
                </a:lnTo>
                <a:lnTo>
                  <a:pt x="788670" y="1203960"/>
                </a:lnTo>
                <a:lnTo>
                  <a:pt x="819150" y="1181100"/>
                </a:lnTo>
                <a:lnTo>
                  <a:pt x="822960" y="1120140"/>
                </a:lnTo>
                <a:lnTo>
                  <a:pt x="845820" y="1082040"/>
                </a:lnTo>
                <a:lnTo>
                  <a:pt x="887730" y="1059180"/>
                </a:lnTo>
                <a:lnTo>
                  <a:pt x="902970" y="1032510"/>
                </a:lnTo>
                <a:lnTo>
                  <a:pt x="883920" y="990600"/>
                </a:lnTo>
                <a:lnTo>
                  <a:pt x="842010" y="918210"/>
                </a:lnTo>
                <a:lnTo>
                  <a:pt x="842010" y="880110"/>
                </a:lnTo>
                <a:lnTo>
                  <a:pt x="864870" y="849630"/>
                </a:lnTo>
                <a:lnTo>
                  <a:pt x="952500" y="807720"/>
                </a:lnTo>
                <a:lnTo>
                  <a:pt x="971550" y="781050"/>
                </a:lnTo>
                <a:lnTo>
                  <a:pt x="948690" y="716280"/>
                </a:lnTo>
                <a:lnTo>
                  <a:pt x="929640" y="640080"/>
                </a:lnTo>
                <a:lnTo>
                  <a:pt x="925830" y="590550"/>
                </a:lnTo>
                <a:lnTo>
                  <a:pt x="944880" y="518160"/>
                </a:lnTo>
                <a:lnTo>
                  <a:pt x="948690" y="461010"/>
                </a:lnTo>
                <a:lnTo>
                  <a:pt x="986790" y="434340"/>
                </a:lnTo>
                <a:lnTo>
                  <a:pt x="1036320" y="472440"/>
                </a:lnTo>
                <a:lnTo>
                  <a:pt x="1120140" y="407670"/>
                </a:lnTo>
                <a:lnTo>
                  <a:pt x="1154430" y="339090"/>
                </a:lnTo>
                <a:lnTo>
                  <a:pt x="1169670" y="285750"/>
                </a:lnTo>
                <a:lnTo>
                  <a:pt x="1192530" y="259080"/>
                </a:lnTo>
                <a:lnTo>
                  <a:pt x="1249680" y="323850"/>
                </a:lnTo>
                <a:lnTo>
                  <a:pt x="1299210" y="285750"/>
                </a:lnTo>
                <a:lnTo>
                  <a:pt x="1325880" y="220980"/>
                </a:lnTo>
                <a:lnTo>
                  <a:pt x="1299210" y="160020"/>
                </a:lnTo>
                <a:lnTo>
                  <a:pt x="1310640" y="129540"/>
                </a:lnTo>
                <a:lnTo>
                  <a:pt x="1344930" y="102870"/>
                </a:lnTo>
                <a:lnTo>
                  <a:pt x="1344930" y="45720"/>
                </a:lnTo>
                <a:lnTo>
                  <a:pt x="1314450" y="0"/>
                </a:lnTo>
                <a:lnTo>
                  <a:pt x="1291590" y="80010"/>
                </a:lnTo>
                <a:lnTo>
                  <a:pt x="1238250" y="129540"/>
                </a:lnTo>
                <a:lnTo>
                  <a:pt x="1196340" y="140970"/>
                </a:lnTo>
                <a:lnTo>
                  <a:pt x="1078230" y="133350"/>
                </a:lnTo>
                <a:lnTo>
                  <a:pt x="998220" y="121920"/>
                </a:lnTo>
                <a:lnTo>
                  <a:pt x="914400" y="110490"/>
                </a:lnTo>
                <a:lnTo>
                  <a:pt x="826770" y="83820"/>
                </a:lnTo>
                <a:lnTo>
                  <a:pt x="788670" y="95250"/>
                </a:lnTo>
                <a:lnTo>
                  <a:pt x="750570" y="140970"/>
                </a:lnTo>
                <a:lnTo>
                  <a:pt x="704850" y="220980"/>
                </a:lnTo>
                <a:lnTo>
                  <a:pt x="651510" y="285750"/>
                </a:lnTo>
                <a:lnTo>
                  <a:pt x="598170" y="346710"/>
                </a:lnTo>
                <a:lnTo>
                  <a:pt x="556260" y="392430"/>
                </a:lnTo>
                <a:lnTo>
                  <a:pt x="495300" y="426720"/>
                </a:lnTo>
                <a:lnTo>
                  <a:pt x="468630" y="411480"/>
                </a:lnTo>
                <a:lnTo>
                  <a:pt x="464820" y="361950"/>
                </a:lnTo>
                <a:lnTo>
                  <a:pt x="438150" y="339090"/>
                </a:lnTo>
                <a:lnTo>
                  <a:pt x="396240" y="346710"/>
                </a:lnTo>
                <a:lnTo>
                  <a:pt x="384810" y="373380"/>
                </a:lnTo>
                <a:lnTo>
                  <a:pt x="381000" y="419100"/>
                </a:lnTo>
                <a:lnTo>
                  <a:pt x="342900" y="441960"/>
                </a:lnTo>
                <a:lnTo>
                  <a:pt x="339090" y="461010"/>
                </a:lnTo>
                <a:lnTo>
                  <a:pt x="373380" y="521970"/>
                </a:lnTo>
                <a:lnTo>
                  <a:pt x="369570" y="544830"/>
                </a:lnTo>
                <a:lnTo>
                  <a:pt x="323850" y="541020"/>
                </a:lnTo>
                <a:lnTo>
                  <a:pt x="251460" y="552450"/>
                </a:lnTo>
                <a:lnTo>
                  <a:pt x="213360" y="563880"/>
                </a:lnTo>
                <a:lnTo>
                  <a:pt x="160020" y="632460"/>
                </a:lnTo>
                <a:lnTo>
                  <a:pt x="121920" y="712470"/>
                </a:lnTo>
                <a:lnTo>
                  <a:pt x="83820" y="781050"/>
                </a:lnTo>
                <a:lnTo>
                  <a:pt x="45720" y="872490"/>
                </a:lnTo>
                <a:lnTo>
                  <a:pt x="0" y="952500"/>
                </a:lnTo>
                <a:lnTo>
                  <a:pt x="102870" y="1017270"/>
                </a:lnTo>
                <a:lnTo>
                  <a:pt x="175260" y="1032510"/>
                </a:lnTo>
                <a:lnTo>
                  <a:pt x="232410" y="1032510"/>
                </a:lnTo>
                <a:lnTo>
                  <a:pt x="262890" y="1009650"/>
                </a:lnTo>
                <a:lnTo>
                  <a:pt x="293370" y="956310"/>
                </a:lnTo>
                <a:lnTo>
                  <a:pt x="323850" y="922020"/>
                </a:lnTo>
                <a:lnTo>
                  <a:pt x="361950" y="914400"/>
                </a:lnTo>
                <a:lnTo>
                  <a:pt x="426720" y="929640"/>
                </a:lnTo>
                <a:lnTo>
                  <a:pt x="483870" y="952500"/>
                </a:lnTo>
                <a:lnTo>
                  <a:pt x="506730" y="982980"/>
                </a:lnTo>
                <a:lnTo>
                  <a:pt x="495300" y="1059180"/>
                </a:lnTo>
                <a:lnTo>
                  <a:pt x="468630" y="1154430"/>
                </a:lnTo>
                <a:lnTo>
                  <a:pt x="468630" y="1234440"/>
                </a:lnTo>
                <a:lnTo>
                  <a:pt x="480060" y="1314450"/>
                </a:lnTo>
                <a:lnTo>
                  <a:pt x="499110" y="1398270"/>
                </a:lnTo>
                <a:lnTo>
                  <a:pt x="563880" y="1497330"/>
                </a:lnTo>
                <a:close/>
              </a:path>
            </a:pathLst>
          </a:custGeom>
          <a:solidFill>
            <a:schemeClr val="tx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1" name="任意多边形 30"/>
          <p:cNvSpPr/>
          <p:nvPr/>
        </p:nvSpPr>
        <p:spPr bwMode="auto">
          <a:xfrm>
            <a:off x="3140111" y="2225911"/>
            <a:ext cx="1193032" cy="988478"/>
          </a:xfrm>
          <a:custGeom>
            <a:avLst/>
            <a:gdLst>
              <a:gd name="connsiteX0" fmla="*/ 38100 w 933450"/>
              <a:gd name="connsiteY0" fmla="*/ 1131570 h 1131570"/>
              <a:gd name="connsiteX1" fmla="*/ 3810 w 933450"/>
              <a:gd name="connsiteY1" fmla="*/ 1093470 h 1131570"/>
              <a:gd name="connsiteX2" fmla="*/ 19050 w 933450"/>
              <a:gd name="connsiteY2" fmla="*/ 1032510 h 1131570"/>
              <a:gd name="connsiteX3" fmla="*/ 34290 w 933450"/>
              <a:gd name="connsiteY3" fmla="*/ 975360 h 1131570"/>
              <a:gd name="connsiteX4" fmla="*/ 30480 w 933450"/>
              <a:gd name="connsiteY4" fmla="*/ 956310 h 1131570"/>
              <a:gd name="connsiteX5" fmla="*/ 99060 w 933450"/>
              <a:gd name="connsiteY5" fmla="*/ 918210 h 1131570"/>
              <a:gd name="connsiteX6" fmla="*/ 106680 w 933450"/>
              <a:gd name="connsiteY6" fmla="*/ 861060 h 1131570"/>
              <a:gd name="connsiteX7" fmla="*/ 114300 w 933450"/>
              <a:gd name="connsiteY7" fmla="*/ 807720 h 1131570"/>
              <a:gd name="connsiteX8" fmla="*/ 144780 w 933450"/>
              <a:gd name="connsiteY8" fmla="*/ 754380 h 1131570"/>
              <a:gd name="connsiteX9" fmla="*/ 125730 w 933450"/>
              <a:gd name="connsiteY9" fmla="*/ 678180 h 1131570"/>
              <a:gd name="connsiteX10" fmla="*/ 102870 w 933450"/>
              <a:gd name="connsiteY10" fmla="*/ 624840 h 1131570"/>
              <a:gd name="connsiteX11" fmla="*/ 53340 w 933450"/>
              <a:gd name="connsiteY11" fmla="*/ 609600 h 1131570"/>
              <a:gd name="connsiteX12" fmla="*/ 49530 w 933450"/>
              <a:gd name="connsiteY12" fmla="*/ 563880 h 1131570"/>
              <a:gd name="connsiteX13" fmla="*/ 0 w 933450"/>
              <a:gd name="connsiteY13" fmla="*/ 502920 h 1131570"/>
              <a:gd name="connsiteX14" fmla="*/ 0 w 933450"/>
              <a:gd name="connsiteY14" fmla="*/ 441960 h 1131570"/>
              <a:gd name="connsiteX15" fmla="*/ 30480 w 933450"/>
              <a:gd name="connsiteY15" fmla="*/ 373380 h 1131570"/>
              <a:gd name="connsiteX16" fmla="*/ 76200 w 933450"/>
              <a:gd name="connsiteY16" fmla="*/ 312420 h 1131570"/>
              <a:gd name="connsiteX17" fmla="*/ 118110 w 933450"/>
              <a:gd name="connsiteY17" fmla="*/ 285750 h 1131570"/>
              <a:gd name="connsiteX18" fmla="*/ 152400 w 933450"/>
              <a:gd name="connsiteY18" fmla="*/ 217170 h 1131570"/>
              <a:gd name="connsiteX19" fmla="*/ 182880 w 933450"/>
              <a:gd name="connsiteY19" fmla="*/ 182880 h 1131570"/>
              <a:gd name="connsiteX20" fmla="*/ 255270 w 933450"/>
              <a:gd name="connsiteY20" fmla="*/ 175260 h 1131570"/>
              <a:gd name="connsiteX21" fmla="*/ 312420 w 933450"/>
              <a:gd name="connsiteY21" fmla="*/ 148590 h 1131570"/>
              <a:gd name="connsiteX22" fmla="*/ 354330 w 933450"/>
              <a:gd name="connsiteY22" fmla="*/ 72390 h 1131570"/>
              <a:gd name="connsiteX23" fmla="*/ 369570 w 933450"/>
              <a:gd name="connsiteY23" fmla="*/ 38100 h 1131570"/>
              <a:gd name="connsiteX24" fmla="*/ 476250 w 933450"/>
              <a:gd name="connsiteY24" fmla="*/ 95250 h 1131570"/>
              <a:gd name="connsiteX25" fmla="*/ 544830 w 933450"/>
              <a:gd name="connsiteY25" fmla="*/ 110490 h 1131570"/>
              <a:gd name="connsiteX26" fmla="*/ 605790 w 933450"/>
              <a:gd name="connsiteY26" fmla="*/ 110490 h 1131570"/>
              <a:gd name="connsiteX27" fmla="*/ 647700 w 933450"/>
              <a:gd name="connsiteY27" fmla="*/ 80010 h 1131570"/>
              <a:gd name="connsiteX28" fmla="*/ 678180 w 933450"/>
              <a:gd name="connsiteY28" fmla="*/ 34290 h 1131570"/>
              <a:gd name="connsiteX29" fmla="*/ 704850 w 933450"/>
              <a:gd name="connsiteY29" fmla="*/ 0 h 1131570"/>
              <a:gd name="connsiteX30" fmla="*/ 750570 w 933450"/>
              <a:gd name="connsiteY30" fmla="*/ 0 h 1131570"/>
              <a:gd name="connsiteX31" fmla="*/ 826770 w 933450"/>
              <a:gd name="connsiteY31" fmla="*/ 19050 h 1131570"/>
              <a:gd name="connsiteX32" fmla="*/ 861060 w 933450"/>
              <a:gd name="connsiteY32" fmla="*/ 30480 h 1131570"/>
              <a:gd name="connsiteX33" fmla="*/ 880110 w 933450"/>
              <a:gd name="connsiteY33" fmla="*/ 57150 h 1131570"/>
              <a:gd name="connsiteX34" fmla="*/ 880110 w 933450"/>
              <a:gd name="connsiteY34" fmla="*/ 95250 h 1131570"/>
              <a:gd name="connsiteX35" fmla="*/ 872490 w 933450"/>
              <a:gd name="connsiteY35" fmla="*/ 152400 h 1131570"/>
              <a:gd name="connsiteX36" fmla="*/ 849630 w 933450"/>
              <a:gd name="connsiteY36" fmla="*/ 213360 h 1131570"/>
              <a:gd name="connsiteX37" fmla="*/ 842010 w 933450"/>
              <a:gd name="connsiteY37" fmla="*/ 278130 h 1131570"/>
              <a:gd name="connsiteX38" fmla="*/ 845820 w 933450"/>
              <a:gd name="connsiteY38" fmla="*/ 354330 h 1131570"/>
              <a:gd name="connsiteX39" fmla="*/ 861060 w 933450"/>
              <a:gd name="connsiteY39" fmla="*/ 426720 h 1131570"/>
              <a:gd name="connsiteX40" fmla="*/ 876300 w 933450"/>
              <a:gd name="connsiteY40" fmla="*/ 472440 h 1131570"/>
              <a:gd name="connsiteX41" fmla="*/ 906780 w 933450"/>
              <a:gd name="connsiteY41" fmla="*/ 537210 h 1131570"/>
              <a:gd name="connsiteX42" fmla="*/ 933450 w 933450"/>
              <a:gd name="connsiteY42" fmla="*/ 579120 h 1131570"/>
              <a:gd name="connsiteX43" fmla="*/ 902970 w 933450"/>
              <a:gd name="connsiteY43" fmla="*/ 609600 h 1131570"/>
              <a:gd name="connsiteX44" fmla="*/ 861060 w 933450"/>
              <a:gd name="connsiteY44" fmla="*/ 651510 h 1131570"/>
              <a:gd name="connsiteX45" fmla="*/ 815340 w 933450"/>
              <a:gd name="connsiteY45" fmla="*/ 659130 h 1131570"/>
              <a:gd name="connsiteX46" fmla="*/ 777240 w 933450"/>
              <a:gd name="connsiteY46" fmla="*/ 681990 h 1131570"/>
              <a:gd name="connsiteX47" fmla="*/ 727710 w 933450"/>
              <a:gd name="connsiteY47" fmla="*/ 742950 h 1131570"/>
              <a:gd name="connsiteX48" fmla="*/ 685800 w 933450"/>
              <a:gd name="connsiteY48" fmla="*/ 777240 h 1131570"/>
              <a:gd name="connsiteX49" fmla="*/ 621030 w 933450"/>
              <a:gd name="connsiteY49" fmla="*/ 822960 h 1131570"/>
              <a:gd name="connsiteX50" fmla="*/ 575310 w 933450"/>
              <a:gd name="connsiteY50" fmla="*/ 842010 h 1131570"/>
              <a:gd name="connsiteX51" fmla="*/ 567690 w 933450"/>
              <a:gd name="connsiteY51" fmla="*/ 826770 h 1131570"/>
              <a:gd name="connsiteX52" fmla="*/ 537210 w 933450"/>
              <a:gd name="connsiteY52" fmla="*/ 838200 h 1131570"/>
              <a:gd name="connsiteX53" fmla="*/ 495300 w 933450"/>
              <a:gd name="connsiteY53" fmla="*/ 887730 h 1131570"/>
              <a:gd name="connsiteX54" fmla="*/ 461010 w 933450"/>
              <a:gd name="connsiteY54" fmla="*/ 933450 h 1131570"/>
              <a:gd name="connsiteX55" fmla="*/ 419100 w 933450"/>
              <a:gd name="connsiteY55" fmla="*/ 952500 h 1131570"/>
              <a:gd name="connsiteX56" fmla="*/ 377190 w 933450"/>
              <a:gd name="connsiteY56" fmla="*/ 952500 h 1131570"/>
              <a:gd name="connsiteX57" fmla="*/ 304800 w 933450"/>
              <a:gd name="connsiteY57" fmla="*/ 956310 h 1131570"/>
              <a:gd name="connsiteX58" fmla="*/ 270510 w 933450"/>
              <a:gd name="connsiteY58" fmla="*/ 971550 h 1131570"/>
              <a:gd name="connsiteX59" fmla="*/ 220980 w 933450"/>
              <a:gd name="connsiteY59" fmla="*/ 1005840 h 1131570"/>
              <a:gd name="connsiteX60" fmla="*/ 198120 w 933450"/>
              <a:gd name="connsiteY60" fmla="*/ 1032510 h 1131570"/>
              <a:gd name="connsiteX61" fmla="*/ 121920 w 933450"/>
              <a:gd name="connsiteY61" fmla="*/ 1002030 h 1131570"/>
              <a:gd name="connsiteX62" fmla="*/ 99060 w 933450"/>
              <a:gd name="connsiteY62" fmla="*/ 1036320 h 1131570"/>
              <a:gd name="connsiteX63" fmla="*/ 80010 w 933450"/>
              <a:gd name="connsiteY63" fmla="*/ 1078230 h 1131570"/>
              <a:gd name="connsiteX64" fmla="*/ 38100 w 933450"/>
              <a:gd name="connsiteY64" fmla="*/ 1131570 h 11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933450" h="1131570">
                <a:moveTo>
                  <a:pt x="38100" y="1131570"/>
                </a:moveTo>
                <a:lnTo>
                  <a:pt x="3810" y="1093470"/>
                </a:lnTo>
                <a:lnTo>
                  <a:pt x="19050" y="1032510"/>
                </a:lnTo>
                <a:lnTo>
                  <a:pt x="34290" y="975360"/>
                </a:lnTo>
                <a:lnTo>
                  <a:pt x="30480" y="956310"/>
                </a:lnTo>
                <a:lnTo>
                  <a:pt x="99060" y="918210"/>
                </a:lnTo>
                <a:lnTo>
                  <a:pt x="106680" y="861060"/>
                </a:lnTo>
                <a:lnTo>
                  <a:pt x="114300" y="807720"/>
                </a:lnTo>
                <a:lnTo>
                  <a:pt x="144780" y="754380"/>
                </a:lnTo>
                <a:lnTo>
                  <a:pt x="125730" y="678180"/>
                </a:lnTo>
                <a:lnTo>
                  <a:pt x="102870" y="624840"/>
                </a:lnTo>
                <a:lnTo>
                  <a:pt x="53340" y="609600"/>
                </a:lnTo>
                <a:lnTo>
                  <a:pt x="49530" y="563880"/>
                </a:lnTo>
                <a:lnTo>
                  <a:pt x="0" y="502920"/>
                </a:lnTo>
                <a:lnTo>
                  <a:pt x="0" y="441960"/>
                </a:lnTo>
                <a:lnTo>
                  <a:pt x="30480" y="373380"/>
                </a:lnTo>
                <a:lnTo>
                  <a:pt x="76200" y="312420"/>
                </a:lnTo>
                <a:lnTo>
                  <a:pt x="118110" y="285750"/>
                </a:lnTo>
                <a:lnTo>
                  <a:pt x="152400" y="217170"/>
                </a:lnTo>
                <a:lnTo>
                  <a:pt x="182880" y="182880"/>
                </a:lnTo>
                <a:lnTo>
                  <a:pt x="255270" y="175260"/>
                </a:lnTo>
                <a:lnTo>
                  <a:pt x="312420" y="148590"/>
                </a:lnTo>
                <a:lnTo>
                  <a:pt x="354330" y="72390"/>
                </a:lnTo>
                <a:lnTo>
                  <a:pt x="369570" y="38100"/>
                </a:lnTo>
                <a:lnTo>
                  <a:pt x="476250" y="95250"/>
                </a:lnTo>
                <a:lnTo>
                  <a:pt x="544830" y="110490"/>
                </a:lnTo>
                <a:lnTo>
                  <a:pt x="605790" y="110490"/>
                </a:lnTo>
                <a:lnTo>
                  <a:pt x="647700" y="80010"/>
                </a:lnTo>
                <a:lnTo>
                  <a:pt x="678180" y="34290"/>
                </a:lnTo>
                <a:lnTo>
                  <a:pt x="704850" y="0"/>
                </a:lnTo>
                <a:lnTo>
                  <a:pt x="750570" y="0"/>
                </a:lnTo>
                <a:lnTo>
                  <a:pt x="826770" y="19050"/>
                </a:lnTo>
                <a:lnTo>
                  <a:pt x="861060" y="30480"/>
                </a:lnTo>
                <a:lnTo>
                  <a:pt x="880110" y="57150"/>
                </a:lnTo>
                <a:lnTo>
                  <a:pt x="880110" y="95250"/>
                </a:lnTo>
                <a:lnTo>
                  <a:pt x="872490" y="152400"/>
                </a:lnTo>
                <a:lnTo>
                  <a:pt x="849630" y="213360"/>
                </a:lnTo>
                <a:lnTo>
                  <a:pt x="842010" y="278130"/>
                </a:lnTo>
                <a:lnTo>
                  <a:pt x="845820" y="354330"/>
                </a:lnTo>
                <a:lnTo>
                  <a:pt x="861060" y="426720"/>
                </a:lnTo>
                <a:lnTo>
                  <a:pt x="876300" y="472440"/>
                </a:lnTo>
                <a:lnTo>
                  <a:pt x="906780" y="537210"/>
                </a:lnTo>
                <a:lnTo>
                  <a:pt x="933450" y="579120"/>
                </a:lnTo>
                <a:lnTo>
                  <a:pt x="902970" y="609600"/>
                </a:lnTo>
                <a:lnTo>
                  <a:pt x="861060" y="651510"/>
                </a:lnTo>
                <a:lnTo>
                  <a:pt x="815340" y="659130"/>
                </a:lnTo>
                <a:lnTo>
                  <a:pt x="777240" y="681990"/>
                </a:lnTo>
                <a:lnTo>
                  <a:pt x="727710" y="742950"/>
                </a:lnTo>
                <a:lnTo>
                  <a:pt x="685800" y="777240"/>
                </a:lnTo>
                <a:lnTo>
                  <a:pt x="621030" y="822960"/>
                </a:lnTo>
                <a:lnTo>
                  <a:pt x="575310" y="842010"/>
                </a:lnTo>
                <a:lnTo>
                  <a:pt x="567690" y="826770"/>
                </a:lnTo>
                <a:lnTo>
                  <a:pt x="537210" y="838200"/>
                </a:lnTo>
                <a:lnTo>
                  <a:pt x="495300" y="887730"/>
                </a:lnTo>
                <a:lnTo>
                  <a:pt x="461010" y="933450"/>
                </a:lnTo>
                <a:lnTo>
                  <a:pt x="419100" y="952500"/>
                </a:lnTo>
                <a:lnTo>
                  <a:pt x="377190" y="952500"/>
                </a:lnTo>
                <a:lnTo>
                  <a:pt x="304800" y="956310"/>
                </a:lnTo>
                <a:lnTo>
                  <a:pt x="270510" y="971550"/>
                </a:lnTo>
                <a:lnTo>
                  <a:pt x="220980" y="1005840"/>
                </a:lnTo>
                <a:lnTo>
                  <a:pt x="198120" y="1032510"/>
                </a:lnTo>
                <a:lnTo>
                  <a:pt x="121920" y="1002030"/>
                </a:lnTo>
                <a:lnTo>
                  <a:pt x="99060" y="1036320"/>
                </a:lnTo>
                <a:lnTo>
                  <a:pt x="80010" y="1078230"/>
                </a:lnTo>
                <a:lnTo>
                  <a:pt x="38100" y="1131570"/>
                </a:lnTo>
                <a:close/>
              </a:path>
            </a:pathLst>
          </a:custGeom>
          <a:solidFill>
            <a:schemeClr val="tx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7" name="任意多边形 36"/>
          <p:cNvSpPr/>
          <p:nvPr/>
        </p:nvSpPr>
        <p:spPr bwMode="auto">
          <a:xfrm>
            <a:off x="5201540" y="2037269"/>
            <a:ext cx="880571" cy="1171480"/>
          </a:xfrm>
          <a:custGeom>
            <a:avLst/>
            <a:gdLst>
              <a:gd name="connsiteX0" fmla="*/ 293370 w 689610"/>
              <a:gd name="connsiteY0" fmla="*/ 1299210 h 1341120"/>
              <a:gd name="connsiteX1" fmla="*/ 358140 w 689610"/>
              <a:gd name="connsiteY1" fmla="*/ 1261110 h 1341120"/>
              <a:gd name="connsiteX2" fmla="*/ 403860 w 689610"/>
              <a:gd name="connsiteY2" fmla="*/ 1249680 h 1341120"/>
              <a:gd name="connsiteX3" fmla="*/ 457200 w 689610"/>
              <a:gd name="connsiteY3" fmla="*/ 1280160 h 1341120"/>
              <a:gd name="connsiteX4" fmla="*/ 495300 w 689610"/>
              <a:gd name="connsiteY4" fmla="*/ 1341120 h 1341120"/>
              <a:gd name="connsiteX5" fmla="*/ 529590 w 689610"/>
              <a:gd name="connsiteY5" fmla="*/ 1337310 h 1341120"/>
              <a:gd name="connsiteX6" fmla="*/ 579120 w 689610"/>
              <a:gd name="connsiteY6" fmla="*/ 1295400 h 1341120"/>
              <a:gd name="connsiteX7" fmla="*/ 636270 w 689610"/>
              <a:gd name="connsiteY7" fmla="*/ 1287780 h 1341120"/>
              <a:gd name="connsiteX8" fmla="*/ 678180 w 689610"/>
              <a:gd name="connsiteY8" fmla="*/ 1272540 h 1341120"/>
              <a:gd name="connsiteX9" fmla="*/ 689610 w 689610"/>
              <a:gd name="connsiteY9" fmla="*/ 1177290 h 1341120"/>
              <a:gd name="connsiteX10" fmla="*/ 651510 w 689610"/>
              <a:gd name="connsiteY10" fmla="*/ 1116330 h 1341120"/>
              <a:gd name="connsiteX11" fmla="*/ 556260 w 689610"/>
              <a:gd name="connsiteY11" fmla="*/ 1040130 h 1341120"/>
              <a:gd name="connsiteX12" fmla="*/ 529590 w 689610"/>
              <a:gd name="connsiteY12" fmla="*/ 990600 h 1341120"/>
              <a:gd name="connsiteX13" fmla="*/ 521970 w 689610"/>
              <a:gd name="connsiteY13" fmla="*/ 922020 h 1341120"/>
              <a:gd name="connsiteX14" fmla="*/ 483870 w 689610"/>
              <a:gd name="connsiteY14" fmla="*/ 880110 h 1341120"/>
              <a:gd name="connsiteX15" fmla="*/ 468630 w 689610"/>
              <a:gd name="connsiteY15" fmla="*/ 803910 h 1341120"/>
              <a:gd name="connsiteX16" fmla="*/ 453390 w 689610"/>
              <a:gd name="connsiteY16" fmla="*/ 708660 h 1341120"/>
              <a:gd name="connsiteX17" fmla="*/ 468630 w 689610"/>
              <a:gd name="connsiteY17" fmla="*/ 643890 h 1341120"/>
              <a:gd name="connsiteX18" fmla="*/ 506730 w 689610"/>
              <a:gd name="connsiteY18" fmla="*/ 571500 h 1341120"/>
              <a:gd name="connsiteX19" fmla="*/ 560070 w 689610"/>
              <a:gd name="connsiteY19" fmla="*/ 506730 h 1341120"/>
              <a:gd name="connsiteX20" fmla="*/ 605790 w 689610"/>
              <a:gd name="connsiteY20" fmla="*/ 453390 h 1341120"/>
              <a:gd name="connsiteX21" fmla="*/ 651510 w 689610"/>
              <a:gd name="connsiteY21" fmla="*/ 419100 h 1341120"/>
              <a:gd name="connsiteX22" fmla="*/ 666750 w 689610"/>
              <a:gd name="connsiteY22" fmla="*/ 361950 h 1341120"/>
              <a:gd name="connsiteX23" fmla="*/ 613410 w 689610"/>
              <a:gd name="connsiteY23" fmla="*/ 323850 h 1341120"/>
              <a:gd name="connsiteX24" fmla="*/ 567690 w 689610"/>
              <a:gd name="connsiteY24" fmla="*/ 323850 h 1341120"/>
              <a:gd name="connsiteX25" fmla="*/ 537210 w 689610"/>
              <a:gd name="connsiteY25" fmla="*/ 308610 h 1341120"/>
              <a:gd name="connsiteX26" fmla="*/ 525780 w 689610"/>
              <a:gd name="connsiteY26" fmla="*/ 270510 h 1341120"/>
              <a:gd name="connsiteX27" fmla="*/ 457200 w 689610"/>
              <a:gd name="connsiteY27" fmla="*/ 316230 h 1341120"/>
              <a:gd name="connsiteX28" fmla="*/ 358140 w 689610"/>
              <a:gd name="connsiteY28" fmla="*/ 217170 h 1341120"/>
              <a:gd name="connsiteX29" fmla="*/ 369570 w 689610"/>
              <a:gd name="connsiteY29" fmla="*/ 121920 h 1341120"/>
              <a:gd name="connsiteX30" fmla="*/ 377190 w 689610"/>
              <a:gd name="connsiteY30" fmla="*/ 83820 h 1341120"/>
              <a:gd name="connsiteX31" fmla="*/ 361950 w 689610"/>
              <a:gd name="connsiteY31" fmla="*/ 22860 h 1341120"/>
              <a:gd name="connsiteX32" fmla="*/ 300990 w 689610"/>
              <a:gd name="connsiteY32" fmla="*/ 0 h 1341120"/>
              <a:gd name="connsiteX33" fmla="*/ 262890 w 689610"/>
              <a:gd name="connsiteY33" fmla="*/ 15240 h 1341120"/>
              <a:gd name="connsiteX34" fmla="*/ 201930 w 689610"/>
              <a:gd name="connsiteY34" fmla="*/ 26670 h 1341120"/>
              <a:gd name="connsiteX35" fmla="*/ 156210 w 689610"/>
              <a:gd name="connsiteY35" fmla="*/ 49530 h 1341120"/>
              <a:gd name="connsiteX36" fmla="*/ 87630 w 689610"/>
              <a:gd name="connsiteY36" fmla="*/ 41910 h 1341120"/>
              <a:gd name="connsiteX37" fmla="*/ 15240 w 689610"/>
              <a:gd name="connsiteY37" fmla="*/ 110490 h 1341120"/>
              <a:gd name="connsiteX38" fmla="*/ 0 w 689610"/>
              <a:gd name="connsiteY38" fmla="*/ 148590 h 1341120"/>
              <a:gd name="connsiteX39" fmla="*/ 22860 w 689610"/>
              <a:gd name="connsiteY39" fmla="*/ 179070 h 1341120"/>
              <a:gd name="connsiteX40" fmla="*/ 83820 w 689610"/>
              <a:gd name="connsiteY40" fmla="*/ 209550 h 1341120"/>
              <a:gd name="connsiteX41" fmla="*/ 118110 w 689610"/>
              <a:gd name="connsiteY41" fmla="*/ 224790 h 1341120"/>
              <a:gd name="connsiteX42" fmla="*/ 152400 w 689610"/>
              <a:gd name="connsiteY42" fmla="*/ 228600 h 1341120"/>
              <a:gd name="connsiteX43" fmla="*/ 190500 w 689610"/>
              <a:gd name="connsiteY43" fmla="*/ 240030 h 1341120"/>
              <a:gd name="connsiteX44" fmla="*/ 201930 w 689610"/>
              <a:gd name="connsiteY44" fmla="*/ 304800 h 1341120"/>
              <a:gd name="connsiteX45" fmla="*/ 247650 w 689610"/>
              <a:gd name="connsiteY45" fmla="*/ 354330 h 1341120"/>
              <a:gd name="connsiteX46" fmla="*/ 266700 w 689610"/>
              <a:gd name="connsiteY46" fmla="*/ 381000 h 1341120"/>
              <a:gd name="connsiteX47" fmla="*/ 262890 w 689610"/>
              <a:gd name="connsiteY47" fmla="*/ 403860 h 1341120"/>
              <a:gd name="connsiteX48" fmla="*/ 201930 w 689610"/>
              <a:gd name="connsiteY48" fmla="*/ 441960 h 1341120"/>
              <a:gd name="connsiteX49" fmla="*/ 175260 w 689610"/>
              <a:gd name="connsiteY49" fmla="*/ 457200 h 1341120"/>
              <a:gd name="connsiteX50" fmla="*/ 167640 w 689610"/>
              <a:gd name="connsiteY50" fmla="*/ 533400 h 1341120"/>
              <a:gd name="connsiteX51" fmla="*/ 137160 w 689610"/>
              <a:gd name="connsiteY51" fmla="*/ 567690 h 1341120"/>
              <a:gd name="connsiteX52" fmla="*/ 87630 w 689610"/>
              <a:gd name="connsiteY52" fmla="*/ 586740 h 1341120"/>
              <a:gd name="connsiteX53" fmla="*/ 80010 w 689610"/>
              <a:gd name="connsiteY53" fmla="*/ 640080 h 1341120"/>
              <a:gd name="connsiteX54" fmla="*/ 110490 w 689610"/>
              <a:gd name="connsiteY54" fmla="*/ 685800 h 1341120"/>
              <a:gd name="connsiteX55" fmla="*/ 110490 w 689610"/>
              <a:gd name="connsiteY55" fmla="*/ 735330 h 1341120"/>
              <a:gd name="connsiteX56" fmla="*/ 144780 w 689610"/>
              <a:gd name="connsiteY56" fmla="*/ 800100 h 1341120"/>
              <a:gd name="connsiteX57" fmla="*/ 167640 w 689610"/>
              <a:gd name="connsiteY57" fmla="*/ 822960 h 1341120"/>
              <a:gd name="connsiteX58" fmla="*/ 205740 w 689610"/>
              <a:gd name="connsiteY58" fmla="*/ 834390 h 1341120"/>
              <a:gd name="connsiteX59" fmla="*/ 255270 w 689610"/>
              <a:gd name="connsiteY59" fmla="*/ 910590 h 1341120"/>
              <a:gd name="connsiteX60" fmla="*/ 289560 w 689610"/>
              <a:gd name="connsiteY60" fmla="*/ 979170 h 1341120"/>
              <a:gd name="connsiteX61" fmla="*/ 289560 w 689610"/>
              <a:gd name="connsiteY61" fmla="*/ 1013460 h 1341120"/>
              <a:gd name="connsiteX62" fmla="*/ 259080 w 689610"/>
              <a:gd name="connsiteY62" fmla="*/ 1051560 h 1341120"/>
              <a:gd name="connsiteX63" fmla="*/ 243840 w 689610"/>
              <a:gd name="connsiteY63" fmla="*/ 1078230 h 1341120"/>
              <a:gd name="connsiteX64" fmla="*/ 232410 w 689610"/>
              <a:gd name="connsiteY64" fmla="*/ 1139190 h 1341120"/>
              <a:gd name="connsiteX65" fmla="*/ 167640 w 689610"/>
              <a:gd name="connsiteY65" fmla="*/ 1181100 h 1341120"/>
              <a:gd name="connsiteX66" fmla="*/ 175260 w 689610"/>
              <a:gd name="connsiteY66" fmla="*/ 1211580 h 1341120"/>
              <a:gd name="connsiteX67" fmla="*/ 217170 w 689610"/>
              <a:gd name="connsiteY67" fmla="*/ 1238250 h 1341120"/>
              <a:gd name="connsiteX68" fmla="*/ 293370 w 689610"/>
              <a:gd name="connsiteY68" fmla="*/ 1299210 h 134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89610" h="1341120">
                <a:moveTo>
                  <a:pt x="293370" y="1299210"/>
                </a:moveTo>
                <a:lnTo>
                  <a:pt x="358140" y="1261110"/>
                </a:lnTo>
                <a:lnTo>
                  <a:pt x="403860" y="1249680"/>
                </a:lnTo>
                <a:lnTo>
                  <a:pt x="457200" y="1280160"/>
                </a:lnTo>
                <a:lnTo>
                  <a:pt x="495300" y="1341120"/>
                </a:lnTo>
                <a:lnTo>
                  <a:pt x="529590" y="1337310"/>
                </a:lnTo>
                <a:lnTo>
                  <a:pt x="579120" y="1295400"/>
                </a:lnTo>
                <a:lnTo>
                  <a:pt x="636270" y="1287780"/>
                </a:lnTo>
                <a:lnTo>
                  <a:pt x="678180" y="1272540"/>
                </a:lnTo>
                <a:lnTo>
                  <a:pt x="689610" y="1177290"/>
                </a:lnTo>
                <a:lnTo>
                  <a:pt x="651510" y="1116330"/>
                </a:lnTo>
                <a:lnTo>
                  <a:pt x="556260" y="1040130"/>
                </a:lnTo>
                <a:lnTo>
                  <a:pt x="529590" y="990600"/>
                </a:lnTo>
                <a:lnTo>
                  <a:pt x="521970" y="922020"/>
                </a:lnTo>
                <a:lnTo>
                  <a:pt x="483870" y="880110"/>
                </a:lnTo>
                <a:lnTo>
                  <a:pt x="468630" y="803910"/>
                </a:lnTo>
                <a:lnTo>
                  <a:pt x="453390" y="708660"/>
                </a:lnTo>
                <a:lnTo>
                  <a:pt x="468630" y="643890"/>
                </a:lnTo>
                <a:lnTo>
                  <a:pt x="506730" y="571500"/>
                </a:lnTo>
                <a:lnTo>
                  <a:pt x="560070" y="506730"/>
                </a:lnTo>
                <a:lnTo>
                  <a:pt x="605790" y="453390"/>
                </a:lnTo>
                <a:lnTo>
                  <a:pt x="651510" y="419100"/>
                </a:lnTo>
                <a:lnTo>
                  <a:pt x="666750" y="361950"/>
                </a:lnTo>
                <a:lnTo>
                  <a:pt x="613410" y="323850"/>
                </a:lnTo>
                <a:lnTo>
                  <a:pt x="567690" y="323850"/>
                </a:lnTo>
                <a:lnTo>
                  <a:pt x="537210" y="308610"/>
                </a:lnTo>
                <a:lnTo>
                  <a:pt x="525780" y="270510"/>
                </a:lnTo>
                <a:lnTo>
                  <a:pt x="457200" y="316230"/>
                </a:lnTo>
                <a:lnTo>
                  <a:pt x="358140" y="217170"/>
                </a:lnTo>
                <a:lnTo>
                  <a:pt x="369570" y="121920"/>
                </a:lnTo>
                <a:lnTo>
                  <a:pt x="377190" y="83820"/>
                </a:lnTo>
                <a:lnTo>
                  <a:pt x="361950" y="22860"/>
                </a:lnTo>
                <a:lnTo>
                  <a:pt x="300990" y="0"/>
                </a:lnTo>
                <a:lnTo>
                  <a:pt x="262890" y="15240"/>
                </a:lnTo>
                <a:lnTo>
                  <a:pt x="201930" y="26670"/>
                </a:lnTo>
                <a:lnTo>
                  <a:pt x="156210" y="49530"/>
                </a:lnTo>
                <a:lnTo>
                  <a:pt x="87630" y="41910"/>
                </a:lnTo>
                <a:lnTo>
                  <a:pt x="15240" y="110490"/>
                </a:lnTo>
                <a:lnTo>
                  <a:pt x="0" y="148590"/>
                </a:lnTo>
                <a:lnTo>
                  <a:pt x="22860" y="179070"/>
                </a:lnTo>
                <a:lnTo>
                  <a:pt x="83820" y="209550"/>
                </a:lnTo>
                <a:lnTo>
                  <a:pt x="118110" y="224790"/>
                </a:lnTo>
                <a:lnTo>
                  <a:pt x="152400" y="228600"/>
                </a:lnTo>
                <a:lnTo>
                  <a:pt x="190500" y="240030"/>
                </a:lnTo>
                <a:lnTo>
                  <a:pt x="201930" y="304800"/>
                </a:lnTo>
                <a:lnTo>
                  <a:pt x="247650" y="354330"/>
                </a:lnTo>
                <a:lnTo>
                  <a:pt x="266700" y="381000"/>
                </a:lnTo>
                <a:lnTo>
                  <a:pt x="262890" y="403860"/>
                </a:lnTo>
                <a:lnTo>
                  <a:pt x="201930" y="441960"/>
                </a:lnTo>
                <a:lnTo>
                  <a:pt x="175260" y="457200"/>
                </a:lnTo>
                <a:lnTo>
                  <a:pt x="167640" y="533400"/>
                </a:lnTo>
                <a:lnTo>
                  <a:pt x="137160" y="567690"/>
                </a:lnTo>
                <a:lnTo>
                  <a:pt x="87630" y="586740"/>
                </a:lnTo>
                <a:lnTo>
                  <a:pt x="80010" y="640080"/>
                </a:lnTo>
                <a:lnTo>
                  <a:pt x="110490" y="685800"/>
                </a:lnTo>
                <a:lnTo>
                  <a:pt x="110490" y="735330"/>
                </a:lnTo>
                <a:lnTo>
                  <a:pt x="144780" y="800100"/>
                </a:lnTo>
                <a:lnTo>
                  <a:pt x="167640" y="822960"/>
                </a:lnTo>
                <a:lnTo>
                  <a:pt x="205740" y="834390"/>
                </a:lnTo>
                <a:lnTo>
                  <a:pt x="255270" y="910590"/>
                </a:lnTo>
                <a:lnTo>
                  <a:pt x="289560" y="979170"/>
                </a:lnTo>
                <a:lnTo>
                  <a:pt x="289560" y="1013460"/>
                </a:lnTo>
                <a:lnTo>
                  <a:pt x="259080" y="1051560"/>
                </a:lnTo>
                <a:lnTo>
                  <a:pt x="243840" y="1078230"/>
                </a:lnTo>
                <a:lnTo>
                  <a:pt x="232410" y="1139190"/>
                </a:lnTo>
                <a:lnTo>
                  <a:pt x="167640" y="1181100"/>
                </a:lnTo>
                <a:lnTo>
                  <a:pt x="175260" y="1211580"/>
                </a:lnTo>
                <a:lnTo>
                  <a:pt x="217170" y="1238250"/>
                </a:lnTo>
                <a:lnTo>
                  <a:pt x="293370" y="1299210"/>
                </a:lnTo>
                <a:close/>
              </a:path>
            </a:pathLst>
          </a:custGeom>
          <a:solidFill>
            <a:schemeClr val="accent5">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8" name="任意多边形 37"/>
          <p:cNvSpPr/>
          <p:nvPr/>
        </p:nvSpPr>
        <p:spPr bwMode="auto">
          <a:xfrm>
            <a:off x="5785882" y="2067769"/>
            <a:ext cx="1718535" cy="1310116"/>
          </a:xfrm>
          <a:custGeom>
            <a:avLst/>
            <a:gdLst>
              <a:gd name="connsiteX0" fmla="*/ 537210 w 1344930"/>
              <a:gd name="connsiteY0" fmla="*/ 0 h 1501140"/>
              <a:gd name="connsiteX1" fmla="*/ 468630 w 1344930"/>
              <a:gd name="connsiteY1" fmla="*/ 0 h 1501140"/>
              <a:gd name="connsiteX2" fmla="*/ 384810 w 1344930"/>
              <a:gd name="connsiteY2" fmla="*/ 41910 h 1501140"/>
              <a:gd name="connsiteX3" fmla="*/ 354330 w 1344930"/>
              <a:gd name="connsiteY3" fmla="*/ 99060 h 1501140"/>
              <a:gd name="connsiteX4" fmla="*/ 342900 w 1344930"/>
              <a:gd name="connsiteY4" fmla="*/ 171450 h 1501140"/>
              <a:gd name="connsiteX5" fmla="*/ 266700 w 1344930"/>
              <a:gd name="connsiteY5" fmla="*/ 228600 h 1501140"/>
              <a:gd name="connsiteX6" fmla="*/ 270510 w 1344930"/>
              <a:gd name="connsiteY6" fmla="*/ 304800 h 1501140"/>
              <a:gd name="connsiteX7" fmla="*/ 251460 w 1344930"/>
              <a:gd name="connsiteY7" fmla="*/ 331470 h 1501140"/>
              <a:gd name="connsiteX8" fmla="*/ 209550 w 1344930"/>
              <a:gd name="connsiteY8" fmla="*/ 331470 h 1501140"/>
              <a:gd name="connsiteX9" fmla="*/ 198120 w 1344930"/>
              <a:gd name="connsiteY9" fmla="*/ 384810 h 1501140"/>
              <a:gd name="connsiteX10" fmla="*/ 144780 w 1344930"/>
              <a:gd name="connsiteY10" fmla="*/ 419100 h 1501140"/>
              <a:gd name="connsiteX11" fmla="*/ 102870 w 1344930"/>
              <a:gd name="connsiteY11" fmla="*/ 468630 h 1501140"/>
              <a:gd name="connsiteX12" fmla="*/ 49530 w 1344930"/>
              <a:gd name="connsiteY12" fmla="*/ 537210 h 1501140"/>
              <a:gd name="connsiteX13" fmla="*/ 15240 w 1344930"/>
              <a:gd name="connsiteY13" fmla="*/ 613410 h 1501140"/>
              <a:gd name="connsiteX14" fmla="*/ 0 w 1344930"/>
              <a:gd name="connsiteY14" fmla="*/ 662940 h 1501140"/>
              <a:gd name="connsiteX15" fmla="*/ 3810 w 1344930"/>
              <a:gd name="connsiteY15" fmla="*/ 739140 h 1501140"/>
              <a:gd name="connsiteX16" fmla="*/ 22860 w 1344930"/>
              <a:gd name="connsiteY16" fmla="*/ 849630 h 1501140"/>
              <a:gd name="connsiteX17" fmla="*/ 64770 w 1344930"/>
              <a:gd name="connsiteY17" fmla="*/ 883920 h 1501140"/>
              <a:gd name="connsiteX18" fmla="*/ 68580 w 1344930"/>
              <a:gd name="connsiteY18" fmla="*/ 937260 h 1501140"/>
              <a:gd name="connsiteX19" fmla="*/ 87630 w 1344930"/>
              <a:gd name="connsiteY19" fmla="*/ 982980 h 1501140"/>
              <a:gd name="connsiteX20" fmla="*/ 102870 w 1344930"/>
              <a:gd name="connsiteY20" fmla="*/ 1013460 h 1501140"/>
              <a:gd name="connsiteX21" fmla="*/ 205740 w 1344930"/>
              <a:gd name="connsiteY21" fmla="*/ 1085850 h 1501140"/>
              <a:gd name="connsiteX22" fmla="*/ 228600 w 1344930"/>
              <a:gd name="connsiteY22" fmla="*/ 1135380 h 1501140"/>
              <a:gd name="connsiteX23" fmla="*/ 259080 w 1344930"/>
              <a:gd name="connsiteY23" fmla="*/ 1104900 h 1501140"/>
              <a:gd name="connsiteX24" fmla="*/ 278130 w 1344930"/>
              <a:gd name="connsiteY24" fmla="*/ 1070610 h 1501140"/>
              <a:gd name="connsiteX25" fmla="*/ 308610 w 1344930"/>
              <a:gd name="connsiteY25" fmla="*/ 1066800 h 1501140"/>
              <a:gd name="connsiteX26" fmla="*/ 358140 w 1344930"/>
              <a:gd name="connsiteY26" fmla="*/ 1055370 h 1501140"/>
              <a:gd name="connsiteX27" fmla="*/ 419100 w 1344930"/>
              <a:gd name="connsiteY27" fmla="*/ 1028700 h 1501140"/>
              <a:gd name="connsiteX28" fmla="*/ 468630 w 1344930"/>
              <a:gd name="connsiteY28" fmla="*/ 1055370 h 1501140"/>
              <a:gd name="connsiteX29" fmla="*/ 510540 w 1344930"/>
              <a:gd name="connsiteY29" fmla="*/ 1097280 h 1501140"/>
              <a:gd name="connsiteX30" fmla="*/ 560070 w 1344930"/>
              <a:gd name="connsiteY30" fmla="*/ 1116330 h 1501140"/>
              <a:gd name="connsiteX31" fmla="*/ 598170 w 1344930"/>
              <a:gd name="connsiteY31" fmla="*/ 1158240 h 1501140"/>
              <a:gd name="connsiteX32" fmla="*/ 609600 w 1344930"/>
              <a:gd name="connsiteY32" fmla="*/ 1192530 h 1501140"/>
              <a:gd name="connsiteX33" fmla="*/ 621030 w 1344930"/>
              <a:gd name="connsiteY33" fmla="*/ 1215390 h 1501140"/>
              <a:gd name="connsiteX34" fmla="*/ 701040 w 1344930"/>
              <a:gd name="connsiteY34" fmla="*/ 1245870 h 1501140"/>
              <a:gd name="connsiteX35" fmla="*/ 754380 w 1344930"/>
              <a:gd name="connsiteY35" fmla="*/ 1303020 h 1501140"/>
              <a:gd name="connsiteX36" fmla="*/ 868680 w 1344930"/>
              <a:gd name="connsiteY36" fmla="*/ 1360170 h 1501140"/>
              <a:gd name="connsiteX37" fmla="*/ 960120 w 1344930"/>
              <a:gd name="connsiteY37" fmla="*/ 1432560 h 1501140"/>
              <a:gd name="connsiteX38" fmla="*/ 990600 w 1344930"/>
              <a:gd name="connsiteY38" fmla="*/ 1501140 h 1501140"/>
              <a:gd name="connsiteX39" fmla="*/ 1002030 w 1344930"/>
              <a:gd name="connsiteY39" fmla="*/ 1463040 h 1501140"/>
              <a:gd name="connsiteX40" fmla="*/ 1040130 w 1344930"/>
              <a:gd name="connsiteY40" fmla="*/ 1409700 h 1501140"/>
              <a:gd name="connsiteX41" fmla="*/ 1082040 w 1344930"/>
              <a:gd name="connsiteY41" fmla="*/ 1348740 h 1501140"/>
              <a:gd name="connsiteX42" fmla="*/ 1116330 w 1344930"/>
              <a:gd name="connsiteY42" fmla="*/ 1287780 h 1501140"/>
              <a:gd name="connsiteX43" fmla="*/ 1101090 w 1344930"/>
              <a:gd name="connsiteY43" fmla="*/ 1245870 h 1501140"/>
              <a:gd name="connsiteX44" fmla="*/ 1097280 w 1344930"/>
              <a:gd name="connsiteY44" fmla="*/ 1181100 h 1501140"/>
              <a:gd name="connsiteX45" fmla="*/ 1093470 w 1344930"/>
              <a:gd name="connsiteY45" fmla="*/ 1143000 h 1501140"/>
              <a:gd name="connsiteX46" fmla="*/ 1074420 w 1344930"/>
              <a:gd name="connsiteY46" fmla="*/ 1093470 h 1501140"/>
              <a:gd name="connsiteX47" fmla="*/ 1097280 w 1344930"/>
              <a:gd name="connsiteY47" fmla="*/ 1059180 h 1501140"/>
              <a:gd name="connsiteX48" fmla="*/ 1177290 w 1344930"/>
              <a:gd name="connsiteY48" fmla="*/ 1036320 h 1501140"/>
              <a:gd name="connsiteX49" fmla="*/ 1215390 w 1344930"/>
              <a:gd name="connsiteY49" fmla="*/ 986790 h 1501140"/>
              <a:gd name="connsiteX50" fmla="*/ 1215390 w 1344930"/>
              <a:gd name="connsiteY50" fmla="*/ 941070 h 1501140"/>
              <a:gd name="connsiteX51" fmla="*/ 1264920 w 1344930"/>
              <a:gd name="connsiteY51" fmla="*/ 864870 h 1501140"/>
              <a:gd name="connsiteX52" fmla="*/ 1299210 w 1344930"/>
              <a:gd name="connsiteY52" fmla="*/ 811530 h 1501140"/>
              <a:gd name="connsiteX53" fmla="*/ 1344930 w 1344930"/>
              <a:gd name="connsiteY53" fmla="*/ 769620 h 1501140"/>
              <a:gd name="connsiteX54" fmla="*/ 1337310 w 1344930"/>
              <a:gd name="connsiteY54" fmla="*/ 739140 h 1501140"/>
              <a:gd name="connsiteX55" fmla="*/ 1215390 w 1344930"/>
              <a:gd name="connsiteY55" fmla="*/ 701040 h 1501140"/>
              <a:gd name="connsiteX56" fmla="*/ 1131570 w 1344930"/>
              <a:gd name="connsiteY56" fmla="*/ 666750 h 1501140"/>
              <a:gd name="connsiteX57" fmla="*/ 1070610 w 1344930"/>
              <a:gd name="connsiteY57" fmla="*/ 598170 h 1501140"/>
              <a:gd name="connsiteX58" fmla="*/ 1024890 w 1344930"/>
              <a:gd name="connsiteY58" fmla="*/ 510540 h 1501140"/>
              <a:gd name="connsiteX59" fmla="*/ 1005840 w 1344930"/>
              <a:gd name="connsiteY59" fmla="*/ 441960 h 1501140"/>
              <a:gd name="connsiteX60" fmla="*/ 1013460 w 1344930"/>
              <a:gd name="connsiteY60" fmla="*/ 403860 h 1501140"/>
              <a:gd name="connsiteX61" fmla="*/ 1040130 w 1344930"/>
              <a:gd name="connsiteY61" fmla="*/ 350520 h 1501140"/>
              <a:gd name="connsiteX62" fmla="*/ 1059180 w 1344930"/>
              <a:gd name="connsiteY62" fmla="*/ 274320 h 1501140"/>
              <a:gd name="connsiteX63" fmla="*/ 1043940 w 1344930"/>
              <a:gd name="connsiteY63" fmla="*/ 232410 h 1501140"/>
              <a:gd name="connsiteX64" fmla="*/ 1013460 w 1344930"/>
              <a:gd name="connsiteY64" fmla="*/ 179070 h 1501140"/>
              <a:gd name="connsiteX65" fmla="*/ 1021080 w 1344930"/>
              <a:gd name="connsiteY65" fmla="*/ 156210 h 1501140"/>
              <a:gd name="connsiteX66" fmla="*/ 986790 w 1344930"/>
              <a:gd name="connsiteY66" fmla="*/ 144780 h 1501140"/>
              <a:gd name="connsiteX67" fmla="*/ 914400 w 1344930"/>
              <a:gd name="connsiteY67" fmla="*/ 160020 h 1501140"/>
              <a:gd name="connsiteX68" fmla="*/ 868680 w 1344930"/>
              <a:gd name="connsiteY68" fmla="*/ 171450 h 1501140"/>
              <a:gd name="connsiteX69" fmla="*/ 822960 w 1344930"/>
              <a:gd name="connsiteY69" fmla="*/ 160020 h 1501140"/>
              <a:gd name="connsiteX70" fmla="*/ 788670 w 1344930"/>
              <a:gd name="connsiteY70" fmla="*/ 148590 h 1501140"/>
              <a:gd name="connsiteX71" fmla="*/ 735330 w 1344930"/>
              <a:gd name="connsiteY71" fmla="*/ 163830 h 1501140"/>
              <a:gd name="connsiteX72" fmla="*/ 697230 w 1344930"/>
              <a:gd name="connsiteY72" fmla="*/ 125730 h 1501140"/>
              <a:gd name="connsiteX73" fmla="*/ 666750 w 1344930"/>
              <a:gd name="connsiteY73" fmla="*/ 83820 h 1501140"/>
              <a:gd name="connsiteX74" fmla="*/ 621030 w 1344930"/>
              <a:gd name="connsiteY74" fmla="*/ 91440 h 1501140"/>
              <a:gd name="connsiteX75" fmla="*/ 594360 w 1344930"/>
              <a:gd name="connsiteY75" fmla="*/ 72390 h 1501140"/>
              <a:gd name="connsiteX76" fmla="*/ 617220 w 1344930"/>
              <a:gd name="connsiteY76" fmla="*/ 45720 h 1501140"/>
              <a:gd name="connsiteX77" fmla="*/ 605790 w 1344930"/>
              <a:gd name="connsiteY77" fmla="*/ 19050 h 1501140"/>
              <a:gd name="connsiteX78" fmla="*/ 537210 w 1344930"/>
              <a:gd name="connsiteY78" fmla="*/ 0 h 150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44930" h="1501140">
                <a:moveTo>
                  <a:pt x="537210" y="0"/>
                </a:moveTo>
                <a:lnTo>
                  <a:pt x="468630" y="0"/>
                </a:lnTo>
                <a:lnTo>
                  <a:pt x="384810" y="41910"/>
                </a:lnTo>
                <a:lnTo>
                  <a:pt x="354330" y="99060"/>
                </a:lnTo>
                <a:lnTo>
                  <a:pt x="342900" y="171450"/>
                </a:lnTo>
                <a:lnTo>
                  <a:pt x="266700" y="228600"/>
                </a:lnTo>
                <a:lnTo>
                  <a:pt x="270510" y="304800"/>
                </a:lnTo>
                <a:lnTo>
                  <a:pt x="251460" y="331470"/>
                </a:lnTo>
                <a:lnTo>
                  <a:pt x="209550" y="331470"/>
                </a:lnTo>
                <a:lnTo>
                  <a:pt x="198120" y="384810"/>
                </a:lnTo>
                <a:lnTo>
                  <a:pt x="144780" y="419100"/>
                </a:lnTo>
                <a:lnTo>
                  <a:pt x="102870" y="468630"/>
                </a:lnTo>
                <a:lnTo>
                  <a:pt x="49530" y="537210"/>
                </a:lnTo>
                <a:lnTo>
                  <a:pt x="15240" y="613410"/>
                </a:lnTo>
                <a:lnTo>
                  <a:pt x="0" y="662940"/>
                </a:lnTo>
                <a:lnTo>
                  <a:pt x="3810" y="739140"/>
                </a:lnTo>
                <a:lnTo>
                  <a:pt x="22860" y="849630"/>
                </a:lnTo>
                <a:lnTo>
                  <a:pt x="64770" y="883920"/>
                </a:lnTo>
                <a:lnTo>
                  <a:pt x="68580" y="937260"/>
                </a:lnTo>
                <a:lnTo>
                  <a:pt x="87630" y="982980"/>
                </a:lnTo>
                <a:lnTo>
                  <a:pt x="102870" y="1013460"/>
                </a:lnTo>
                <a:lnTo>
                  <a:pt x="205740" y="1085850"/>
                </a:lnTo>
                <a:lnTo>
                  <a:pt x="228600" y="1135380"/>
                </a:lnTo>
                <a:lnTo>
                  <a:pt x="259080" y="1104900"/>
                </a:lnTo>
                <a:lnTo>
                  <a:pt x="278130" y="1070610"/>
                </a:lnTo>
                <a:lnTo>
                  <a:pt x="308610" y="1066800"/>
                </a:lnTo>
                <a:lnTo>
                  <a:pt x="358140" y="1055370"/>
                </a:lnTo>
                <a:lnTo>
                  <a:pt x="419100" y="1028700"/>
                </a:lnTo>
                <a:lnTo>
                  <a:pt x="468630" y="1055370"/>
                </a:lnTo>
                <a:lnTo>
                  <a:pt x="510540" y="1097280"/>
                </a:lnTo>
                <a:lnTo>
                  <a:pt x="560070" y="1116330"/>
                </a:lnTo>
                <a:lnTo>
                  <a:pt x="598170" y="1158240"/>
                </a:lnTo>
                <a:lnTo>
                  <a:pt x="609600" y="1192530"/>
                </a:lnTo>
                <a:lnTo>
                  <a:pt x="621030" y="1215390"/>
                </a:lnTo>
                <a:lnTo>
                  <a:pt x="701040" y="1245870"/>
                </a:lnTo>
                <a:lnTo>
                  <a:pt x="754380" y="1303020"/>
                </a:lnTo>
                <a:lnTo>
                  <a:pt x="868680" y="1360170"/>
                </a:lnTo>
                <a:lnTo>
                  <a:pt x="960120" y="1432560"/>
                </a:lnTo>
                <a:lnTo>
                  <a:pt x="990600" y="1501140"/>
                </a:lnTo>
                <a:lnTo>
                  <a:pt x="1002030" y="1463040"/>
                </a:lnTo>
                <a:lnTo>
                  <a:pt x="1040130" y="1409700"/>
                </a:lnTo>
                <a:lnTo>
                  <a:pt x="1082040" y="1348740"/>
                </a:lnTo>
                <a:lnTo>
                  <a:pt x="1116330" y="1287780"/>
                </a:lnTo>
                <a:lnTo>
                  <a:pt x="1101090" y="1245870"/>
                </a:lnTo>
                <a:lnTo>
                  <a:pt x="1097280" y="1181100"/>
                </a:lnTo>
                <a:lnTo>
                  <a:pt x="1093470" y="1143000"/>
                </a:lnTo>
                <a:lnTo>
                  <a:pt x="1074420" y="1093470"/>
                </a:lnTo>
                <a:lnTo>
                  <a:pt x="1097280" y="1059180"/>
                </a:lnTo>
                <a:lnTo>
                  <a:pt x="1177290" y="1036320"/>
                </a:lnTo>
                <a:lnTo>
                  <a:pt x="1215390" y="986790"/>
                </a:lnTo>
                <a:lnTo>
                  <a:pt x="1215390" y="941070"/>
                </a:lnTo>
                <a:lnTo>
                  <a:pt x="1264920" y="864870"/>
                </a:lnTo>
                <a:lnTo>
                  <a:pt x="1299210" y="811530"/>
                </a:lnTo>
                <a:lnTo>
                  <a:pt x="1344930" y="769620"/>
                </a:lnTo>
                <a:lnTo>
                  <a:pt x="1337310" y="739140"/>
                </a:lnTo>
                <a:lnTo>
                  <a:pt x="1215390" y="701040"/>
                </a:lnTo>
                <a:lnTo>
                  <a:pt x="1131570" y="666750"/>
                </a:lnTo>
                <a:lnTo>
                  <a:pt x="1070610" y="598170"/>
                </a:lnTo>
                <a:lnTo>
                  <a:pt x="1024890" y="510540"/>
                </a:lnTo>
                <a:lnTo>
                  <a:pt x="1005840" y="441960"/>
                </a:lnTo>
                <a:lnTo>
                  <a:pt x="1013460" y="403860"/>
                </a:lnTo>
                <a:lnTo>
                  <a:pt x="1040130" y="350520"/>
                </a:lnTo>
                <a:lnTo>
                  <a:pt x="1059180" y="274320"/>
                </a:lnTo>
                <a:lnTo>
                  <a:pt x="1043940" y="232410"/>
                </a:lnTo>
                <a:lnTo>
                  <a:pt x="1013460" y="179070"/>
                </a:lnTo>
                <a:lnTo>
                  <a:pt x="1021080" y="156210"/>
                </a:lnTo>
                <a:lnTo>
                  <a:pt x="986790" y="144780"/>
                </a:lnTo>
                <a:lnTo>
                  <a:pt x="914400" y="160020"/>
                </a:lnTo>
                <a:lnTo>
                  <a:pt x="868680" y="171450"/>
                </a:lnTo>
                <a:lnTo>
                  <a:pt x="822960" y="160020"/>
                </a:lnTo>
                <a:lnTo>
                  <a:pt x="788670" y="148590"/>
                </a:lnTo>
                <a:lnTo>
                  <a:pt x="735330" y="163830"/>
                </a:lnTo>
                <a:lnTo>
                  <a:pt x="697230" y="125730"/>
                </a:lnTo>
                <a:lnTo>
                  <a:pt x="666750" y="83820"/>
                </a:lnTo>
                <a:lnTo>
                  <a:pt x="621030" y="91440"/>
                </a:lnTo>
                <a:lnTo>
                  <a:pt x="594360" y="72390"/>
                </a:lnTo>
                <a:lnTo>
                  <a:pt x="617220" y="45720"/>
                </a:lnTo>
                <a:lnTo>
                  <a:pt x="605790" y="19050"/>
                </a:lnTo>
                <a:lnTo>
                  <a:pt x="537210" y="0"/>
                </a:lnTo>
                <a:close/>
              </a:path>
            </a:pathLst>
          </a:custGeom>
          <a:solidFill>
            <a:schemeClr val="accent5">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9" name="任意多边形 38"/>
          <p:cNvSpPr/>
          <p:nvPr/>
        </p:nvSpPr>
        <p:spPr bwMode="auto">
          <a:xfrm>
            <a:off x="7076304" y="1615814"/>
            <a:ext cx="2209544" cy="1030070"/>
          </a:xfrm>
          <a:custGeom>
            <a:avLst/>
            <a:gdLst>
              <a:gd name="connsiteX0" fmla="*/ 689610 w 1729740"/>
              <a:gd name="connsiteY0" fmla="*/ 647700 h 1181100"/>
              <a:gd name="connsiteX1" fmla="*/ 632460 w 1729740"/>
              <a:gd name="connsiteY1" fmla="*/ 670560 h 1181100"/>
              <a:gd name="connsiteX2" fmla="*/ 560070 w 1729740"/>
              <a:gd name="connsiteY2" fmla="*/ 674370 h 1181100"/>
              <a:gd name="connsiteX3" fmla="*/ 502920 w 1729740"/>
              <a:gd name="connsiteY3" fmla="*/ 674370 h 1181100"/>
              <a:gd name="connsiteX4" fmla="*/ 483870 w 1729740"/>
              <a:gd name="connsiteY4" fmla="*/ 689610 h 1181100"/>
              <a:gd name="connsiteX5" fmla="*/ 464820 w 1729740"/>
              <a:gd name="connsiteY5" fmla="*/ 742950 h 1181100"/>
              <a:gd name="connsiteX6" fmla="*/ 422910 w 1729740"/>
              <a:gd name="connsiteY6" fmla="*/ 758190 h 1181100"/>
              <a:gd name="connsiteX7" fmla="*/ 354330 w 1729740"/>
              <a:gd name="connsiteY7" fmla="*/ 754380 h 1181100"/>
              <a:gd name="connsiteX8" fmla="*/ 300990 w 1729740"/>
              <a:gd name="connsiteY8" fmla="*/ 754380 h 1181100"/>
              <a:gd name="connsiteX9" fmla="*/ 259080 w 1729740"/>
              <a:gd name="connsiteY9" fmla="*/ 762000 h 1181100"/>
              <a:gd name="connsiteX10" fmla="*/ 201930 w 1729740"/>
              <a:gd name="connsiteY10" fmla="*/ 788670 h 1181100"/>
              <a:gd name="connsiteX11" fmla="*/ 152400 w 1729740"/>
              <a:gd name="connsiteY11" fmla="*/ 773430 h 1181100"/>
              <a:gd name="connsiteX12" fmla="*/ 129540 w 1729740"/>
              <a:gd name="connsiteY12" fmla="*/ 762000 h 1181100"/>
              <a:gd name="connsiteX13" fmla="*/ 80010 w 1729740"/>
              <a:gd name="connsiteY13" fmla="*/ 777240 h 1181100"/>
              <a:gd name="connsiteX14" fmla="*/ 49530 w 1729740"/>
              <a:gd name="connsiteY14" fmla="*/ 781050 h 1181100"/>
              <a:gd name="connsiteX15" fmla="*/ 0 w 1729740"/>
              <a:gd name="connsiteY15" fmla="*/ 704850 h 1181100"/>
              <a:gd name="connsiteX16" fmla="*/ 7620 w 1729740"/>
              <a:gd name="connsiteY16" fmla="*/ 681990 h 1181100"/>
              <a:gd name="connsiteX17" fmla="*/ 34290 w 1729740"/>
              <a:gd name="connsiteY17" fmla="*/ 685800 h 1181100"/>
              <a:gd name="connsiteX18" fmla="*/ 76200 w 1729740"/>
              <a:gd name="connsiteY18" fmla="*/ 670560 h 1181100"/>
              <a:gd name="connsiteX19" fmla="*/ 102870 w 1729740"/>
              <a:gd name="connsiteY19" fmla="*/ 666750 h 1181100"/>
              <a:gd name="connsiteX20" fmla="*/ 129540 w 1729740"/>
              <a:gd name="connsiteY20" fmla="*/ 678180 h 1181100"/>
              <a:gd name="connsiteX21" fmla="*/ 167640 w 1729740"/>
              <a:gd name="connsiteY21" fmla="*/ 659130 h 1181100"/>
              <a:gd name="connsiteX22" fmla="*/ 175260 w 1729740"/>
              <a:gd name="connsiteY22" fmla="*/ 609600 h 1181100"/>
              <a:gd name="connsiteX23" fmla="*/ 209550 w 1729740"/>
              <a:gd name="connsiteY23" fmla="*/ 590550 h 1181100"/>
              <a:gd name="connsiteX24" fmla="*/ 259080 w 1729740"/>
              <a:gd name="connsiteY24" fmla="*/ 548640 h 1181100"/>
              <a:gd name="connsiteX25" fmla="*/ 262890 w 1729740"/>
              <a:gd name="connsiteY25" fmla="*/ 521970 h 1181100"/>
              <a:gd name="connsiteX26" fmla="*/ 240030 w 1729740"/>
              <a:gd name="connsiteY26" fmla="*/ 487680 h 1181100"/>
              <a:gd name="connsiteX27" fmla="*/ 209550 w 1729740"/>
              <a:gd name="connsiteY27" fmla="*/ 457200 h 1181100"/>
              <a:gd name="connsiteX28" fmla="*/ 270510 w 1729740"/>
              <a:gd name="connsiteY28" fmla="*/ 422910 h 1181100"/>
              <a:gd name="connsiteX29" fmla="*/ 285750 w 1729740"/>
              <a:gd name="connsiteY29" fmla="*/ 392430 h 1181100"/>
              <a:gd name="connsiteX30" fmla="*/ 335280 w 1729740"/>
              <a:gd name="connsiteY30" fmla="*/ 392430 h 1181100"/>
              <a:gd name="connsiteX31" fmla="*/ 388620 w 1729740"/>
              <a:gd name="connsiteY31" fmla="*/ 361950 h 1181100"/>
              <a:gd name="connsiteX32" fmla="*/ 464820 w 1729740"/>
              <a:gd name="connsiteY32" fmla="*/ 297180 h 1181100"/>
              <a:gd name="connsiteX33" fmla="*/ 533400 w 1729740"/>
              <a:gd name="connsiteY33" fmla="*/ 236220 h 1181100"/>
              <a:gd name="connsiteX34" fmla="*/ 552450 w 1729740"/>
              <a:gd name="connsiteY34" fmla="*/ 186690 h 1181100"/>
              <a:gd name="connsiteX35" fmla="*/ 529590 w 1729740"/>
              <a:gd name="connsiteY35" fmla="*/ 152400 h 1181100"/>
              <a:gd name="connsiteX36" fmla="*/ 491490 w 1729740"/>
              <a:gd name="connsiteY36" fmla="*/ 148590 h 1181100"/>
              <a:gd name="connsiteX37" fmla="*/ 480060 w 1729740"/>
              <a:gd name="connsiteY37" fmla="*/ 129540 h 1181100"/>
              <a:gd name="connsiteX38" fmla="*/ 556260 w 1729740"/>
              <a:gd name="connsiteY38" fmla="*/ 129540 h 1181100"/>
              <a:gd name="connsiteX39" fmla="*/ 605790 w 1729740"/>
              <a:gd name="connsiteY39" fmla="*/ 110490 h 1181100"/>
              <a:gd name="connsiteX40" fmla="*/ 628650 w 1729740"/>
              <a:gd name="connsiteY40" fmla="*/ 76200 h 1181100"/>
              <a:gd name="connsiteX41" fmla="*/ 708660 w 1729740"/>
              <a:gd name="connsiteY41" fmla="*/ 68580 h 1181100"/>
              <a:gd name="connsiteX42" fmla="*/ 769620 w 1729740"/>
              <a:gd name="connsiteY42" fmla="*/ 49530 h 1181100"/>
              <a:gd name="connsiteX43" fmla="*/ 834390 w 1729740"/>
              <a:gd name="connsiteY43" fmla="*/ 7620 h 1181100"/>
              <a:gd name="connsiteX44" fmla="*/ 910590 w 1729740"/>
              <a:gd name="connsiteY44" fmla="*/ 0 h 1181100"/>
              <a:gd name="connsiteX45" fmla="*/ 975360 w 1729740"/>
              <a:gd name="connsiteY45" fmla="*/ 3810 h 1181100"/>
              <a:gd name="connsiteX46" fmla="*/ 1002030 w 1729740"/>
              <a:gd name="connsiteY46" fmla="*/ 38100 h 1181100"/>
              <a:gd name="connsiteX47" fmla="*/ 1036320 w 1729740"/>
              <a:gd name="connsiteY47" fmla="*/ 80010 h 1181100"/>
              <a:gd name="connsiteX48" fmla="*/ 1066800 w 1729740"/>
              <a:gd name="connsiteY48" fmla="*/ 106680 h 1181100"/>
              <a:gd name="connsiteX49" fmla="*/ 1120140 w 1729740"/>
              <a:gd name="connsiteY49" fmla="*/ 106680 h 1181100"/>
              <a:gd name="connsiteX50" fmla="*/ 1146810 w 1729740"/>
              <a:gd name="connsiteY50" fmla="*/ 129540 h 1181100"/>
              <a:gd name="connsiteX51" fmla="*/ 1143000 w 1729740"/>
              <a:gd name="connsiteY51" fmla="*/ 171450 h 1181100"/>
              <a:gd name="connsiteX52" fmla="*/ 1139190 w 1729740"/>
              <a:gd name="connsiteY52" fmla="*/ 194310 h 1181100"/>
              <a:gd name="connsiteX53" fmla="*/ 1150620 w 1729740"/>
              <a:gd name="connsiteY53" fmla="*/ 217170 h 1181100"/>
              <a:gd name="connsiteX54" fmla="*/ 1173480 w 1729740"/>
              <a:gd name="connsiteY54" fmla="*/ 232410 h 1181100"/>
              <a:gd name="connsiteX55" fmla="*/ 1223010 w 1729740"/>
              <a:gd name="connsiteY55" fmla="*/ 236220 h 1181100"/>
              <a:gd name="connsiteX56" fmla="*/ 1242060 w 1729740"/>
              <a:gd name="connsiteY56" fmla="*/ 259080 h 1181100"/>
              <a:gd name="connsiteX57" fmla="*/ 1291590 w 1729740"/>
              <a:gd name="connsiteY57" fmla="*/ 224790 h 1181100"/>
              <a:gd name="connsiteX58" fmla="*/ 1341120 w 1729740"/>
              <a:gd name="connsiteY58" fmla="*/ 259080 h 1181100"/>
              <a:gd name="connsiteX59" fmla="*/ 1371600 w 1729740"/>
              <a:gd name="connsiteY59" fmla="*/ 300990 h 1181100"/>
              <a:gd name="connsiteX60" fmla="*/ 1371600 w 1729740"/>
              <a:gd name="connsiteY60" fmla="*/ 320040 h 1181100"/>
              <a:gd name="connsiteX61" fmla="*/ 1436370 w 1729740"/>
              <a:gd name="connsiteY61" fmla="*/ 365760 h 1181100"/>
              <a:gd name="connsiteX62" fmla="*/ 1520190 w 1729740"/>
              <a:gd name="connsiteY62" fmla="*/ 369570 h 1181100"/>
              <a:gd name="connsiteX63" fmla="*/ 1546860 w 1729740"/>
              <a:gd name="connsiteY63" fmla="*/ 350520 h 1181100"/>
              <a:gd name="connsiteX64" fmla="*/ 1611630 w 1729740"/>
              <a:gd name="connsiteY64" fmla="*/ 396240 h 1181100"/>
              <a:gd name="connsiteX65" fmla="*/ 1611630 w 1729740"/>
              <a:gd name="connsiteY65" fmla="*/ 358140 h 1181100"/>
              <a:gd name="connsiteX66" fmla="*/ 1664970 w 1729740"/>
              <a:gd name="connsiteY66" fmla="*/ 339090 h 1181100"/>
              <a:gd name="connsiteX67" fmla="*/ 1729740 w 1729740"/>
              <a:gd name="connsiteY67" fmla="*/ 342900 h 1181100"/>
              <a:gd name="connsiteX68" fmla="*/ 1710690 w 1729740"/>
              <a:gd name="connsiteY68" fmla="*/ 392430 h 1181100"/>
              <a:gd name="connsiteX69" fmla="*/ 1695450 w 1729740"/>
              <a:gd name="connsiteY69" fmla="*/ 430530 h 1181100"/>
              <a:gd name="connsiteX70" fmla="*/ 1642110 w 1729740"/>
              <a:gd name="connsiteY70" fmla="*/ 480060 h 1181100"/>
              <a:gd name="connsiteX71" fmla="*/ 1630680 w 1729740"/>
              <a:gd name="connsiteY71" fmla="*/ 529590 h 1181100"/>
              <a:gd name="connsiteX72" fmla="*/ 1619250 w 1729740"/>
              <a:gd name="connsiteY72" fmla="*/ 605790 h 1181100"/>
              <a:gd name="connsiteX73" fmla="*/ 1581150 w 1729740"/>
              <a:gd name="connsiteY73" fmla="*/ 628650 h 1181100"/>
              <a:gd name="connsiteX74" fmla="*/ 1524000 w 1729740"/>
              <a:gd name="connsiteY74" fmla="*/ 643890 h 1181100"/>
              <a:gd name="connsiteX75" fmla="*/ 1463040 w 1729740"/>
              <a:gd name="connsiteY75" fmla="*/ 651510 h 1181100"/>
              <a:gd name="connsiteX76" fmla="*/ 1383030 w 1729740"/>
              <a:gd name="connsiteY76" fmla="*/ 655320 h 1181100"/>
              <a:gd name="connsiteX77" fmla="*/ 1283970 w 1729740"/>
              <a:gd name="connsiteY77" fmla="*/ 655320 h 1181100"/>
              <a:gd name="connsiteX78" fmla="*/ 1234440 w 1729740"/>
              <a:gd name="connsiteY78" fmla="*/ 674370 h 1181100"/>
              <a:gd name="connsiteX79" fmla="*/ 1215390 w 1729740"/>
              <a:gd name="connsiteY79" fmla="*/ 701040 h 1181100"/>
              <a:gd name="connsiteX80" fmla="*/ 1223010 w 1729740"/>
              <a:gd name="connsiteY80" fmla="*/ 742950 h 1181100"/>
              <a:gd name="connsiteX81" fmla="*/ 1242060 w 1729740"/>
              <a:gd name="connsiteY81" fmla="*/ 788670 h 1181100"/>
              <a:gd name="connsiteX82" fmla="*/ 1318260 w 1729740"/>
              <a:gd name="connsiteY82" fmla="*/ 845820 h 1181100"/>
              <a:gd name="connsiteX83" fmla="*/ 1337310 w 1729740"/>
              <a:gd name="connsiteY83" fmla="*/ 906780 h 1181100"/>
              <a:gd name="connsiteX84" fmla="*/ 1363980 w 1729740"/>
              <a:gd name="connsiteY84" fmla="*/ 948690 h 1181100"/>
              <a:gd name="connsiteX85" fmla="*/ 1394460 w 1729740"/>
              <a:gd name="connsiteY85" fmla="*/ 960120 h 1181100"/>
              <a:gd name="connsiteX86" fmla="*/ 1405890 w 1729740"/>
              <a:gd name="connsiteY86" fmla="*/ 994410 h 1181100"/>
              <a:gd name="connsiteX87" fmla="*/ 1383030 w 1729740"/>
              <a:gd name="connsiteY87" fmla="*/ 1024890 h 1181100"/>
              <a:gd name="connsiteX88" fmla="*/ 1344930 w 1729740"/>
              <a:gd name="connsiteY88" fmla="*/ 1032510 h 1181100"/>
              <a:gd name="connsiteX89" fmla="*/ 1348740 w 1729740"/>
              <a:gd name="connsiteY89" fmla="*/ 1066800 h 1181100"/>
              <a:gd name="connsiteX90" fmla="*/ 1310640 w 1729740"/>
              <a:gd name="connsiteY90" fmla="*/ 1074420 h 1181100"/>
              <a:gd name="connsiteX91" fmla="*/ 1238250 w 1729740"/>
              <a:gd name="connsiteY91" fmla="*/ 1070610 h 1181100"/>
              <a:gd name="connsiteX92" fmla="*/ 1169670 w 1729740"/>
              <a:gd name="connsiteY92" fmla="*/ 1101090 h 1181100"/>
              <a:gd name="connsiteX93" fmla="*/ 1101090 w 1729740"/>
              <a:gd name="connsiteY93" fmla="*/ 1162050 h 1181100"/>
              <a:gd name="connsiteX94" fmla="*/ 1085850 w 1729740"/>
              <a:gd name="connsiteY94" fmla="*/ 1116330 h 1181100"/>
              <a:gd name="connsiteX95" fmla="*/ 1070610 w 1729740"/>
              <a:gd name="connsiteY95" fmla="*/ 1146810 h 1181100"/>
              <a:gd name="connsiteX96" fmla="*/ 1078230 w 1729740"/>
              <a:gd name="connsiteY96" fmla="*/ 1181100 h 1181100"/>
              <a:gd name="connsiteX97" fmla="*/ 1036320 w 1729740"/>
              <a:gd name="connsiteY97" fmla="*/ 1177290 h 1181100"/>
              <a:gd name="connsiteX98" fmla="*/ 1017270 w 1729740"/>
              <a:gd name="connsiteY98" fmla="*/ 1150620 h 1181100"/>
              <a:gd name="connsiteX99" fmla="*/ 956310 w 1729740"/>
              <a:gd name="connsiteY99" fmla="*/ 1135380 h 1181100"/>
              <a:gd name="connsiteX100" fmla="*/ 914400 w 1729740"/>
              <a:gd name="connsiteY100" fmla="*/ 1131570 h 1181100"/>
              <a:gd name="connsiteX101" fmla="*/ 826770 w 1729740"/>
              <a:gd name="connsiteY101" fmla="*/ 1150620 h 1181100"/>
              <a:gd name="connsiteX102" fmla="*/ 792480 w 1729740"/>
              <a:gd name="connsiteY102" fmla="*/ 1139190 h 1181100"/>
              <a:gd name="connsiteX103" fmla="*/ 781050 w 1729740"/>
              <a:gd name="connsiteY103" fmla="*/ 1104900 h 1181100"/>
              <a:gd name="connsiteX104" fmla="*/ 777240 w 1729740"/>
              <a:gd name="connsiteY104" fmla="*/ 1059180 h 1181100"/>
              <a:gd name="connsiteX105" fmla="*/ 735330 w 1729740"/>
              <a:gd name="connsiteY105" fmla="*/ 990600 h 1181100"/>
              <a:gd name="connsiteX106" fmla="*/ 735330 w 1729740"/>
              <a:gd name="connsiteY106" fmla="*/ 952500 h 1181100"/>
              <a:gd name="connsiteX107" fmla="*/ 762000 w 1729740"/>
              <a:gd name="connsiteY107" fmla="*/ 906780 h 1181100"/>
              <a:gd name="connsiteX108" fmla="*/ 765810 w 1729740"/>
              <a:gd name="connsiteY108" fmla="*/ 845820 h 1181100"/>
              <a:gd name="connsiteX109" fmla="*/ 769620 w 1729740"/>
              <a:gd name="connsiteY109" fmla="*/ 788670 h 1181100"/>
              <a:gd name="connsiteX110" fmla="*/ 762000 w 1729740"/>
              <a:gd name="connsiteY110" fmla="*/ 746760 h 1181100"/>
              <a:gd name="connsiteX111" fmla="*/ 739140 w 1729740"/>
              <a:gd name="connsiteY111" fmla="*/ 708660 h 1181100"/>
              <a:gd name="connsiteX112" fmla="*/ 712470 w 1729740"/>
              <a:gd name="connsiteY112" fmla="*/ 704850 h 1181100"/>
              <a:gd name="connsiteX113" fmla="*/ 689610 w 1729740"/>
              <a:gd name="connsiteY113" fmla="*/ 64770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729740" h="1181100">
                <a:moveTo>
                  <a:pt x="689610" y="647700"/>
                </a:moveTo>
                <a:lnTo>
                  <a:pt x="632460" y="670560"/>
                </a:lnTo>
                <a:lnTo>
                  <a:pt x="560070" y="674370"/>
                </a:lnTo>
                <a:lnTo>
                  <a:pt x="502920" y="674370"/>
                </a:lnTo>
                <a:lnTo>
                  <a:pt x="483870" y="689610"/>
                </a:lnTo>
                <a:lnTo>
                  <a:pt x="464820" y="742950"/>
                </a:lnTo>
                <a:lnTo>
                  <a:pt x="422910" y="758190"/>
                </a:lnTo>
                <a:lnTo>
                  <a:pt x="354330" y="754380"/>
                </a:lnTo>
                <a:lnTo>
                  <a:pt x="300990" y="754380"/>
                </a:lnTo>
                <a:lnTo>
                  <a:pt x="259080" y="762000"/>
                </a:lnTo>
                <a:lnTo>
                  <a:pt x="201930" y="788670"/>
                </a:lnTo>
                <a:lnTo>
                  <a:pt x="152400" y="773430"/>
                </a:lnTo>
                <a:lnTo>
                  <a:pt x="129540" y="762000"/>
                </a:lnTo>
                <a:lnTo>
                  <a:pt x="80010" y="777240"/>
                </a:lnTo>
                <a:lnTo>
                  <a:pt x="49530" y="781050"/>
                </a:lnTo>
                <a:lnTo>
                  <a:pt x="0" y="704850"/>
                </a:lnTo>
                <a:lnTo>
                  <a:pt x="7620" y="681990"/>
                </a:lnTo>
                <a:lnTo>
                  <a:pt x="34290" y="685800"/>
                </a:lnTo>
                <a:lnTo>
                  <a:pt x="76200" y="670560"/>
                </a:lnTo>
                <a:lnTo>
                  <a:pt x="102870" y="666750"/>
                </a:lnTo>
                <a:lnTo>
                  <a:pt x="129540" y="678180"/>
                </a:lnTo>
                <a:lnTo>
                  <a:pt x="167640" y="659130"/>
                </a:lnTo>
                <a:lnTo>
                  <a:pt x="175260" y="609600"/>
                </a:lnTo>
                <a:lnTo>
                  <a:pt x="209550" y="590550"/>
                </a:lnTo>
                <a:lnTo>
                  <a:pt x="259080" y="548640"/>
                </a:lnTo>
                <a:lnTo>
                  <a:pt x="262890" y="521970"/>
                </a:lnTo>
                <a:lnTo>
                  <a:pt x="240030" y="487680"/>
                </a:lnTo>
                <a:lnTo>
                  <a:pt x="209550" y="457200"/>
                </a:lnTo>
                <a:lnTo>
                  <a:pt x="270510" y="422910"/>
                </a:lnTo>
                <a:lnTo>
                  <a:pt x="285750" y="392430"/>
                </a:lnTo>
                <a:lnTo>
                  <a:pt x="335280" y="392430"/>
                </a:lnTo>
                <a:lnTo>
                  <a:pt x="388620" y="361950"/>
                </a:lnTo>
                <a:lnTo>
                  <a:pt x="464820" y="297180"/>
                </a:lnTo>
                <a:lnTo>
                  <a:pt x="533400" y="236220"/>
                </a:lnTo>
                <a:lnTo>
                  <a:pt x="552450" y="186690"/>
                </a:lnTo>
                <a:lnTo>
                  <a:pt x="529590" y="152400"/>
                </a:lnTo>
                <a:lnTo>
                  <a:pt x="491490" y="148590"/>
                </a:lnTo>
                <a:lnTo>
                  <a:pt x="480060" y="129540"/>
                </a:lnTo>
                <a:lnTo>
                  <a:pt x="556260" y="129540"/>
                </a:lnTo>
                <a:lnTo>
                  <a:pt x="605790" y="110490"/>
                </a:lnTo>
                <a:lnTo>
                  <a:pt x="628650" y="76200"/>
                </a:lnTo>
                <a:lnTo>
                  <a:pt x="708660" y="68580"/>
                </a:lnTo>
                <a:lnTo>
                  <a:pt x="769620" y="49530"/>
                </a:lnTo>
                <a:lnTo>
                  <a:pt x="834390" y="7620"/>
                </a:lnTo>
                <a:lnTo>
                  <a:pt x="910590" y="0"/>
                </a:lnTo>
                <a:lnTo>
                  <a:pt x="975360" y="3810"/>
                </a:lnTo>
                <a:lnTo>
                  <a:pt x="1002030" y="38100"/>
                </a:lnTo>
                <a:lnTo>
                  <a:pt x="1036320" y="80010"/>
                </a:lnTo>
                <a:lnTo>
                  <a:pt x="1066800" y="106680"/>
                </a:lnTo>
                <a:lnTo>
                  <a:pt x="1120140" y="106680"/>
                </a:lnTo>
                <a:lnTo>
                  <a:pt x="1146810" y="129540"/>
                </a:lnTo>
                <a:lnTo>
                  <a:pt x="1143000" y="171450"/>
                </a:lnTo>
                <a:lnTo>
                  <a:pt x="1139190" y="194310"/>
                </a:lnTo>
                <a:lnTo>
                  <a:pt x="1150620" y="217170"/>
                </a:lnTo>
                <a:lnTo>
                  <a:pt x="1173480" y="232410"/>
                </a:lnTo>
                <a:lnTo>
                  <a:pt x="1223010" y="236220"/>
                </a:lnTo>
                <a:lnTo>
                  <a:pt x="1242060" y="259080"/>
                </a:lnTo>
                <a:lnTo>
                  <a:pt x="1291590" y="224790"/>
                </a:lnTo>
                <a:lnTo>
                  <a:pt x="1341120" y="259080"/>
                </a:lnTo>
                <a:lnTo>
                  <a:pt x="1371600" y="300990"/>
                </a:lnTo>
                <a:lnTo>
                  <a:pt x="1371600" y="320040"/>
                </a:lnTo>
                <a:lnTo>
                  <a:pt x="1436370" y="365760"/>
                </a:lnTo>
                <a:lnTo>
                  <a:pt x="1520190" y="369570"/>
                </a:lnTo>
                <a:lnTo>
                  <a:pt x="1546860" y="350520"/>
                </a:lnTo>
                <a:lnTo>
                  <a:pt x="1611630" y="396240"/>
                </a:lnTo>
                <a:lnTo>
                  <a:pt x="1611630" y="358140"/>
                </a:lnTo>
                <a:lnTo>
                  <a:pt x="1664970" y="339090"/>
                </a:lnTo>
                <a:lnTo>
                  <a:pt x="1729740" y="342900"/>
                </a:lnTo>
                <a:lnTo>
                  <a:pt x="1710690" y="392430"/>
                </a:lnTo>
                <a:lnTo>
                  <a:pt x="1695450" y="430530"/>
                </a:lnTo>
                <a:lnTo>
                  <a:pt x="1642110" y="480060"/>
                </a:lnTo>
                <a:lnTo>
                  <a:pt x="1630680" y="529590"/>
                </a:lnTo>
                <a:lnTo>
                  <a:pt x="1619250" y="605790"/>
                </a:lnTo>
                <a:lnTo>
                  <a:pt x="1581150" y="628650"/>
                </a:lnTo>
                <a:lnTo>
                  <a:pt x="1524000" y="643890"/>
                </a:lnTo>
                <a:lnTo>
                  <a:pt x="1463040" y="651510"/>
                </a:lnTo>
                <a:lnTo>
                  <a:pt x="1383030" y="655320"/>
                </a:lnTo>
                <a:lnTo>
                  <a:pt x="1283970" y="655320"/>
                </a:lnTo>
                <a:lnTo>
                  <a:pt x="1234440" y="674370"/>
                </a:lnTo>
                <a:lnTo>
                  <a:pt x="1215390" y="701040"/>
                </a:lnTo>
                <a:lnTo>
                  <a:pt x="1223010" y="742950"/>
                </a:lnTo>
                <a:lnTo>
                  <a:pt x="1242060" y="788670"/>
                </a:lnTo>
                <a:lnTo>
                  <a:pt x="1318260" y="845820"/>
                </a:lnTo>
                <a:lnTo>
                  <a:pt x="1337310" y="906780"/>
                </a:lnTo>
                <a:lnTo>
                  <a:pt x="1363980" y="948690"/>
                </a:lnTo>
                <a:lnTo>
                  <a:pt x="1394460" y="960120"/>
                </a:lnTo>
                <a:lnTo>
                  <a:pt x="1405890" y="994410"/>
                </a:lnTo>
                <a:lnTo>
                  <a:pt x="1383030" y="1024890"/>
                </a:lnTo>
                <a:lnTo>
                  <a:pt x="1344930" y="1032510"/>
                </a:lnTo>
                <a:lnTo>
                  <a:pt x="1348740" y="1066800"/>
                </a:lnTo>
                <a:lnTo>
                  <a:pt x="1310640" y="1074420"/>
                </a:lnTo>
                <a:lnTo>
                  <a:pt x="1238250" y="1070610"/>
                </a:lnTo>
                <a:lnTo>
                  <a:pt x="1169670" y="1101090"/>
                </a:lnTo>
                <a:lnTo>
                  <a:pt x="1101090" y="1162050"/>
                </a:lnTo>
                <a:lnTo>
                  <a:pt x="1085850" y="1116330"/>
                </a:lnTo>
                <a:lnTo>
                  <a:pt x="1070610" y="1146810"/>
                </a:lnTo>
                <a:lnTo>
                  <a:pt x="1078230" y="1181100"/>
                </a:lnTo>
                <a:lnTo>
                  <a:pt x="1036320" y="1177290"/>
                </a:lnTo>
                <a:lnTo>
                  <a:pt x="1017270" y="1150620"/>
                </a:lnTo>
                <a:lnTo>
                  <a:pt x="956310" y="1135380"/>
                </a:lnTo>
                <a:lnTo>
                  <a:pt x="914400" y="1131570"/>
                </a:lnTo>
                <a:lnTo>
                  <a:pt x="826770" y="1150620"/>
                </a:lnTo>
                <a:lnTo>
                  <a:pt x="792480" y="1139190"/>
                </a:lnTo>
                <a:lnTo>
                  <a:pt x="781050" y="1104900"/>
                </a:lnTo>
                <a:lnTo>
                  <a:pt x="777240" y="1059180"/>
                </a:lnTo>
                <a:lnTo>
                  <a:pt x="735330" y="990600"/>
                </a:lnTo>
                <a:lnTo>
                  <a:pt x="735330" y="952500"/>
                </a:lnTo>
                <a:lnTo>
                  <a:pt x="762000" y="906780"/>
                </a:lnTo>
                <a:lnTo>
                  <a:pt x="765810" y="845820"/>
                </a:lnTo>
                <a:lnTo>
                  <a:pt x="769620" y="788670"/>
                </a:lnTo>
                <a:lnTo>
                  <a:pt x="762000" y="746760"/>
                </a:lnTo>
                <a:lnTo>
                  <a:pt x="739140" y="708660"/>
                </a:lnTo>
                <a:lnTo>
                  <a:pt x="712470" y="704850"/>
                </a:lnTo>
                <a:lnTo>
                  <a:pt x="689610" y="647700"/>
                </a:lnTo>
                <a:close/>
              </a:path>
            </a:pathLst>
          </a:cu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0" name="任意多边形 39"/>
          <p:cNvSpPr/>
          <p:nvPr/>
        </p:nvSpPr>
        <p:spPr bwMode="auto">
          <a:xfrm>
            <a:off x="8634550" y="1825156"/>
            <a:ext cx="1367523" cy="704274"/>
          </a:xfrm>
          <a:custGeom>
            <a:avLst/>
            <a:gdLst>
              <a:gd name="connsiteX0" fmla="*/ 514350 w 1070610"/>
              <a:gd name="connsiteY0" fmla="*/ 106680 h 807720"/>
              <a:gd name="connsiteX1" fmla="*/ 468630 w 1070610"/>
              <a:gd name="connsiteY1" fmla="*/ 198120 h 807720"/>
              <a:gd name="connsiteX2" fmla="*/ 419100 w 1070610"/>
              <a:gd name="connsiteY2" fmla="*/ 240030 h 807720"/>
              <a:gd name="connsiteX3" fmla="*/ 407670 w 1070610"/>
              <a:gd name="connsiteY3" fmla="*/ 316230 h 807720"/>
              <a:gd name="connsiteX4" fmla="*/ 400050 w 1070610"/>
              <a:gd name="connsiteY4" fmla="*/ 373380 h 807720"/>
              <a:gd name="connsiteX5" fmla="*/ 342900 w 1070610"/>
              <a:gd name="connsiteY5" fmla="*/ 400050 h 807720"/>
              <a:gd name="connsiteX6" fmla="*/ 236220 w 1070610"/>
              <a:gd name="connsiteY6" fmla="*/ 411480 h 807720"/>
              <a:gd name="connsiteX7" fmla="*/ 125730 w 1070610"/>
              <a:gd name="connsiteY7" fmla="*/ 415290 h 807720"/>
              <a:gd name="connsiteX8" fmla="*/ 53340 w 1070610"/>
              <a:gd name="connsiteY8" fmla="*/ 415290 h 807720"/>
              <a:gd name="connsiteX9" fmla="*/ 15240 w 1070610"/>
              <a:gd name="connsiteY9" fmla="*/ 438150 h 807720"/>
              <a:gd name="connsiteX10" fmla="*/ 0 w 1070610"/>
              <a:gd name="connsiteY10" fmla="*/ 461010 h 807720"/>
              <a:gd name="connsiteX11" fmla="*/ 0 w 1070610"/>
              <a:gd name="connsiteY11" fmla="*/ 491490 h 807720"/>
              <a:gd name="connsiteX12" fmla="*/ 15240 w 1070610"/>
              <a:gd name="connsiteY12" fmla="*/ 525780 h 807720"/>
              <a:gd name="connsiteX13" fmla="*/ 22860 w 1070610"/>
              <a:gd name="connsiteY13" fmla="*/ 552450 h 807720"/>
              <a:gd name="connsiteX14" fmla="*/ 60960 w 1070610"/>
              <a:gd name="connsiteY14" fmla="*/ 571500 h 807720"/>
              <a:gd name="connsiteX15" fmla="*/ 95250 w 1070610"/>
              <a:gd name="connsiteY15" fmla="*/ 605790 h 807720"/>
              <a:gd name="connsiteX16" fmla="*/ 114300 w 1070610"/>
              <a:gd name="connsiteY16" fmla="*/ 666750 h 807720"/>
              <a:gd name="connsiteX17" fmla="*/ 148590 w 1070610"/>
              <a:gd name="connsiteY17" fmla="*/ 716280 h 807720"/>
              <a:gd name="connsiteX18" fmla="*/ 171450 w 1070610"/>
              <a:gd name="connsiteY18" fmla="*/ 716280 h 807720"/>
              <a:gd name="connsiteX19" fmla="*/ 163830 w 1070610"/>
              <a:gd name="connsiteY19" fmla="*/ 685800 h 807720"/>
              <a:gd name="connsiteX20" fmla="*/ 198120 w 1070610"/>
              <a:gd name="connsiteY20" fmla="*/ 720090 h 807720"/>
              <a:gd name="connsiteX21" fmla="*/ 220980 w 1070610"/>
              <a:gd name="connsiteY21" fmla="*/ 693420 h 807720"/>
              <a:gd name="connsiteX22" fmla="*/ 259080 w 1070610"/>
              <a:gd name="connsiteY22" fmla="*/ 697230 h 807720"/>
              <a:gd name="connsiteX23" fmla="*/ 278130 w 1070610"/>
              <a:gd name="connsiteY23" fmla="*/ 712470 h 807720"/>
              <a:gd name="connsiteX24" fmla="*/ 247650 w 1070610"/>
              <a:gd name="connsiteY24" fmla="*/ 742950 h 807720"/>
              <a:gd name="connsiteX25" fmla="*/ 220980 w 1070610"/>
              <a:gd name="connsiteY25" fmla="*/ 750570 h 807720"/>
              <a:gd name="connsiteX26" fmla="*/ 201930 w 1070610"/>
              <a:gd name="connsiteY26" fmla="*/ 765810 h 807720"/>
              <a:gd name="connsiteX27" fmla="*/ 236220 w 1070610"/>
              <a:gd name="connsiteY27" fmla="*/ 792480 h 807720"/>
              <a:gd name="connsiteX28" fmla="*/ 270510 w 1070610"/>
              <a:gd name="connsiteY28" fmla="*/ 773430 h 807720"/>
              <a:gd name="connsiteX29" fmla="*/ 300990 w 1070610"/>
              <a:gd name="connsiteY29" fmla="*/ 807720 h 807720"/>
              <a:gd name="connsiteX30" fmla="*/ 320040 w 1070610"/>
              <a:gd name="connsiteY30" fmla="*/ 788670 h 807720"/>
              <a:gd name="connsiteX31" fmla="*/ 300990 w 1070610"/>
              <a:gd name="connsiteY31" fmla="*/ 750570 h 807720"/>
              <a:gd name="connsiteX32" fmla="*/ 308610 w 1070610"/>
              <a:gd name="connsiteY32" fmla="*/ 723900 h 807720"/>
              <a:gd name="connsiteX33" fmla="*/ 354330 w 1070610"/>
              <a:gd name="connsiteY33" fmla="*/ 704850 h 807720"/>
              <a:gd name="connsiteX34" fmla="*/ 388620 w 1070610"/>
              <a:gd name="connsiteY34" fmla="*/ 689610 h 807720"/>
              <a:gd name="connsiteX35" fmla="*/ 403860 w 1070610"/>
              <a:gd name="connsiteY35" fmla="*/ 636270 h 807720"/>
              <a:gd name="connsiteX36" fmla="*/ 426720 w 1070610"/>
              <a:gd name="connsiteY36" fmla="*/ 617220 h 807720"/>
              <a:gd name="connsiteX37" fmla="*/ 491490 w 1070610"/>
              <a:gd name="connsiteY37" fmla="*/ 617220 h 807720"/>
              <a:gd name="connsiteX38" fmla="*/ 529590 w 1070610"/>
              <a:gd name="connsiteY38" fmla="*/ 613410 h 807720"/>
              <a:gd name="connsiteX39" fmla="*/ 533400 w 1070610"/>
              <a:gd name="connsiteY39" fmla="*/ 594360 h 807720"/>
              <a:gd name="connsiteX40" fmla="*/ 518160 w 1070610"/>
              <a:gd name="connsiteY40" fmla="*/ 579120 h 807720"/>
              <a:gd name="connsiteX41" fmla="*/ 518160 w 1070610"/>
              <a:gd name="connsiteY41" fmla="*/ 541020 h 807720"/>
              <a:gd name="connsiteX42" fmla="*/ 518160 w 1070610"/>
              <a:gd name="connsiteY42" fmla="*/ 541020 h 807720"/>
              <a:gd name="connsiteX43" fmla="*/ 598170 w 1070610"/>
              <a:gd name="connsiteY43" fmla="*/ 552450 h 807720"/>
              <a:gd name="connsiteX44" fmla="*/ 601980 w 1070610"/>
              <a:gd name="connsiteY44" fmla="*/ 575310 h 807720"/>
              <a:gd name="connsiteX45" fmla="*/ 590550 w 1070610"/>
              <a:gd name="connsiteY45" fmla="*/ 605790 h 807720"/>
              <a:gd name="connsiteX46" fmla="*/ 586740 w 1070610"/>
              <a:gd name="connsiteY46" fmla="*/ 613410 h 807720"/>
              <a:gd name="connsiteX47" fmla="*/ 609600 w 1070610"/>
              <a:gd name="connsiteY47" fmla="*/ 624840 h 807720"/>
              <a:gd name="connsiteX48" fmla="*/ 651510 w 1070610"/>
              <a:gd name="connsiteY48" fmla="*/ 621030 h 807720"/>
              <a:gd name="connsiteX49" fmla="*/ 643890 w 1070610"/>
              <a:gd name="connsiteY49" fmla="*/ 575310 h 807720"/>
              <a:gd name="connsiteX50" fmla="*/ 670560 w 1070610"/>
              <a:gd name="connsiteY50" fmla="*/ 521970 h 807720"/>
              <a:gd name="connsiteX51" fmla="*/ 697230 w 1070610"/>
              <a:gd name="connsiteY51" fmla="*/ 506730 h 807720"/>
              <a:gd name="connsiteX52" fmla="*/ 701040 w 1070610"/>
              <a:gd name="connsiteY52" fmla="*/ 487680 h 807720"/>
              <a:gd name="connsiteX53" fmla="*/ 716280 w 1070610"/>
              <a:gd name="connsiteY53" fmla="*/ 483870 h 807720"/>
              <a:gd name="connsiteX54" fmla="*/ 723900 w 1070610"/>
              <a:gd name="connsiteY54" fmla="*/ 502920 h 807720"/>
              <a:gd name="connsiteX55" fmla="*/ 689610 w 1070610"/>
              <a:gd name="connsiteY55" fmla="*/ 556260 h 807720"/>
              <a:gd name="connsiteX56" fmla="*/ 697230 w 1070610"/>
              <a:gd name="connsiteY56" fmla="*/ 598170 h 807720"/>
              <a:gd name="connsiteX57" fmla="*/ 762000 w 1070610"/>
              <a:gd name="connsiteY57" fmla="*/ 624840 h 807720"/>
              <a:gd name="connsiteX58" fmla="*/ 723900 w 1070610"/>
              <a:gd name="connsiteY58" fmla="*/ 636270 h 807720"/>
              <a:gd name="connsiteX59" fmla="*/ 708660 w 1070610"/>
              <a:gd name="connsiteY59" fmla="*/ 659130 h 807720"/>
              <a:gd name="connsiteX60" fmla="*/ 712470 w 1070610"/>
              <a:gd name="connsiteY60" fmla="*/ 681990 h 807720"/>
              <a:gd name="connsiteX61" fmla="*/ 765810 w 1070610"/>
              <a:gd name="connsiteY61" fmla="*/ 674370 h 807720"/>
              <a:gd name="connsiteX62" fmla="*/ 815340 w 1070610"/>
              <a:gd name="connsiteY62" fmla="*/ 697230 h 807720"/>
              <a:gd name="connsiteX63" fmla="*/ 826770 w 1070610"/>
              <a:gd name="connsiteY63" fmla="*/ 670560 h 807720"/>
              <a:gd name="connsiteX64" fmla="*/ 834390 w 1070610"/>
              <a:gd name="connsiteY64" fmla="*/ 655320 h 807720"/>
              <a:gd name="connsiteX65" fmla="*/ 883920 w 1070610"/>
              <a:gd name="connsiteY65" fmla="*/ 655320 h 807720"/>
              <a:gd name="connsiteX66" fmla="*/ 891540 w 1070610"/>
              <a:gd name="connsiteY66" fmla="*/ 640080 h 807720"/>
              <a:gd name="connsiteX67" fmla="*/ 876300 w 1070610"/>
              <a:gd name="connsiteY67" fmla="*/ 605790 h 807720"/>
              <a:gd name="connsiteX68" fmla="*/ 868680 w 1070610"/>
              <a:gd name="connsiteY68" fmla="*/ 586740 h 807720"/>
              <a:gd name="connsiteX69" fmla="*/ 891540 w 1070610"/>
              <a:gd name="connsiteY69" fmla="*/ 590550 h 807720"/>
              <a:gd name="connsiteX70" fmla="*/ 922020 w 1070610"/>
              <a:gd name="connsiteY70" fmla="*/ 601980 h 807720"/>
              <a:gd name="connsiteX71" fmla="*/ 941070 w 1070610"/>
              <a:gd name="connsiteY71" fmla="*/ 582930 h 807720"/>
              <a:gd name="connsiteX72" fmla="*/ 971550 w 1070610"/>
              <a:gd name="connsiteY72" fmla="*/ 537210 h 807720"/>
              <a:gd name="connsiteX73" fmla="*/ 986790 w 1070610"/>
              <a:gd name="connsiteY73" fmla="*/ 499110 h 807720"/>
              <a:gd name="connsiteX74" fmla="*/ 937260 w 1070610"/>
              <a:gd name="connsiteY74" fmla="*/ 502920 h 807720"/>
              <a:gd name="connsiteX75" fmla="*/ 918210 w 1070610"/>
              <a:gd name="connsiteY75" fmla="*/ 499110 h 807720"/>
              <a:gd name="connsiteX76" fmla="*/ 864870 w 1070610"/>
              <a:gd name="connsiteY76" fmla="*/ 541020 h 807720"/>
              <a:gd name="connsiteX77" fmla="*/ 849630 w 1070610"/>
              <a:gd name="connsiteY77" fmla="*/ 483870 h 807720"/>
              <a:gd name="connsiteX78" fmla="*/ 899160 w 1070610"/>
              <a:gd name="connsiteY78" fmla="*/ 483870 h 807720"/>
              <a:gd name="connsiteX79" fmla="*/ 895350 w 1070610"/>
              <a:gd name="connsiteY79" fmla="*/ 441960 h 807720"/>
              <a:gd name="connsiteX80" fmla="*/ 887730 w 1070610"/>
              <a:gd name="connsiteY80" fmla="*/ 407670 h 807720"/>
              <a:gd name="connsiteX81" fmla="*/ 914400 w 1070610"/>
              <a:gd name="connsiteY81" fmla="*/ 384810 h 807720"/>
              <a:gd name="connsiteX82" fmla="*/ 960120 w 1070610"/>
              <a:gd name="connsiteY82" fmla="*/ 392430 h 807720"/>
              <a:gd name="connsiteX83" fmla="*/ 971550 w 1070610"/>
              <a:gd name="connsiteY83" fmla="*/ 384810 h 807720"/>
              <a:gd name="connsiteX84" fmla="*/ 960120 w 1070610"/>
              <a:gd name="connsiteY84" fmla="*/ 346710 h 807720"/>
              <a:gd name="connsiteX85" fmla="*/ 975360 w 1070610"/>
              <a:gd name="connsiteY85" fmla="*/ 346710 h 807720"/>
              <a:gd name="connsiteX86" fmla="*/ 1013460 w 1070610"/>
              <a:gd name="connsiteY86" fmla="*/ 346710 h 807720"/>
              <a:gd name="connsiteX87" fmla="*/ 1005840 w 1070610"/>
              <a:gd name="connsiteY87" fmla="*/ 323850 h 807720"/>
              <a:gd name="connsiteX88" fmla="*/ 975360 w 1070610"/>
              <a:gd name="connsiteY88" fmla="*/ 281940 h 807720"/>
              <a:gd name="connsiteX89" fmla="*/ 967740 w 1070610"/>
              <a:gd name="connsiteY89" fmla="*/ 255270 h 807720"/>
              <a:gd name="connsiteX90" fmla="*/ 967740 w 1070610"/>
              <a:gd name="connsiteY90" fmla="*/ 232410 h 807720"/>
              <a:gd name="connsiteX91" fmla="*/ 979170 w 1070610"/>
              <a:gd name="connsiteY91" fmla="*/ 220980 h 807720"/>
              <a:gd name="connsiteX92" fmla="*/ 982980 w 1070610"/>
              <a:gd name="connsiteY92" fmla="*/ 190500 h 807720"/>
              <a:gd name="connsiteX93" fmla="*/ 1017270 w 1070610"/>
              <a:gd name="connsiteY93" fmla="*/ 171450 h 807720"/>
              <a:gd name="connsiteX94" fmla="*/ 1070610 w 1070610"/>
              <a:gd name="connsiteY94" fmla="*/ 160020 h 807720"/>
              <a:gd name="connsiteX95" fmla="*/ 1066800 w 1070610"/>
              <a:gd name="connsiteY95" fmla="*/ 133350 h 807720"/>
              <a:gd name="connsiteX96" fmla="*/ 1043940 w 1070610"/>
              <a:gd name="connsiteY96" fmla="*/ 121920 h 807720"/>
              <a:gd name="connsiteX97" fmla="*/ 1005840 w 1070610"/>
              <a:gd name="connsiteY97" fmla="*/ 125730 h 807720"/>
              <a:gd name="connsiteX98" fmla="*/ 956310 w 1070610"/>
              <a:gd name="connsiteY98" fmla="*/ 144780 h 807720"/>
              <a:gd name="connsiteX99" fmla="*/ 929640 w 1070610"/>
              <a:gd name="connsiteY99" fmla="*/ 171450 h 807720"/>
              <a:gd name="connsiteX100" fmla="*/ 902970 w 1070610"/>
              <a:gd name="connsiteY100" fmla="*/ 156210 h 807720"/>
              <a:gd name="connsiteX101" fmla="*/ 899160 w 1070610"/>
              <a:gd name="connsiteY101" fmla="*/ 129540 h 807720"/>
              <a:gd name="connsiteX102" fmla="*/ 845820 w 1070610"/>
              <a:gd name="connsiteY102" fmla="*/ 148590 h 807720"/>
              <a:gd name="connsiteX103" fmla="*/ 792480 w 1070610"/>
              <a:gd name="connsiteY103" fmla="*/ 144780 h 807720"/>
              <a:gd name="connsiteX104" fmla="*/ 746760 w 1070610"/>
              <a:gd name="connsiteY104" fmla="*/ 106680 h 807720"/>
              <a:gd name="connsiteX105" fmla="*/ 720090 w 1070610"/>
              <a:gd name="connsiteY105" fmla="*/ 91440 h 807720"/>
              <a:gd name="connsiteX106" fmla="*/ 681990 w 1070610"/>
              <a:gd name="connsiteY106" fmla="*/ 106680 h 807720"/>
              <a:gd name="connsiteX107" fmla="*/ 662940 w 1070610"/>
              <a:gd name="connsiteY107" fmla="*/ 76200 h 807720"/>
              <a:gd name="connsiteX108" fmla="*/ 659130 w 1070610"/>
              <a:gd name="connsiteY108" fmla="*/ 34290 h 807720"/>
              <a:gd name="connsiteX109" fmla="*/ 659130 w 1070610"/>
              <a:gd name="connsiteY109" fmla="*/ 19050 h 807720"/>
              <a:gd name="connsiteX110" fmla="*/ 651510 w 1070610"/>
              <a:gd name="connsiteY110" fmla="*/ 0 h 807720"/>
              <a:gd name="connsiteX111" fmla="*/ 594360 w 1070610"/>
              <a:gd name="connsiteY111" fmla="*/ 15240 h 807720"/>
              <a:gd name="connsiteX112" fmla="*/ 571500 w 1070610"/>
              <a:gd name="connsiteY112" fmla="*/ 38100 h 807720"/>
              <a:gd name="connsiteX113" fmla="*/ 514350 w 1070610"/>
              <a:gd name="connsiteY113" fmla="*/ 106680 h 80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070610" h="807720">
                <a:moveTo>
                  <a:pt x="514350" y="106680"/>
                </a:moveTo>
                <a:lnTo>
                  <a:pt x="468630" y="198120"/>
                </a:lnTo>
                <a:lnTo>
                  <a:pt x="419100" y="240030"/>
                </a:lnTo>
                <a:lnTo>
                  <a:pt x="407670" y="316230"/>
                </a:lnTo>
                <a:lnTo>
                  <a:pt x="400050" y="373380"/>
                </a:lnTo>
                <a:lnTo>
                  <a:pt x="342900" y="400050"/>
                </a:lnTo>
                <a:lnTo>
                  <a:pt x="236220" y="411480"/>
                </a:lnTo>
                <a:lnTo>
                  <a:pt x="125730" y="415290"/>
                </a:lnTo>
                <a:lnTo>
                  <a:pt x="53340" y="415290"/>
                </a:lnTo>
                <a:lnTo>
                  <a:pt x="15240" y="438150"/>
                </a:lnTo>
                <a:lnTo>
                  <a:pt x="0" y="461010"/>
                </a:lnTo>
                <a:lnTo>
                  <a:pt x="0" y="491490"/>
                </a:lnTo>
                <a:lnTo>
                  <a:pt x="15240" y="525780"/>
                </a:lnTo>
                <a:lnTo>
                  <a:pt x="22860" y="552450"/>
                </a:lnTo>
                <a:lnTo>
                  <a:pt x="60960" y="571500"/>
                </a:lnTo>
                <a:lnTo>
                  <a:pt x="95250" y="605790"/>
                </a:lnTo>
                <a:lnTo>
                  <a:pt x="114300" y="666750"/>
                </a:lnTo>
                <a:lnTo>
                  <a:pt x="148590" y="716280"/>
                </a:lnTo>
                <a:lnTo>
                  <a:pt x="171450" y="716280"/>
                </a:lnTo>
                <a:lnTo>
                  <a:pt x="163830" y="685800"/>
                </a:lnTo>
                <a:lnTo>
                  <a:pt x="198120" y="720090"/>
                </a:lnTo>
                <a:lnTo>
                  <a:pt x="220980" y="693420"/>
                </a:lnTo>
                <a:lnTo>
                  <a:pt x="259080" y="697230"/>
                </a:lnTo>
                <a:lnTo>
                  <a:pt x="278130" y="712470"/>
                </a:lnTo>
                <a:lnTo>
                  <a:pt x="247650" y="742950"/>
                </a:lnTo>
                <a:lnTo>
                  <a:pt x="220980" y="750570"/>
                </a:lnTo>
                <a:lnTo>
                  <a:pt x="201930" y="765810"/>
                </a:lnTo>
                <a:lnTo>
                  <a:pt x="236220" y="792480"/>
                </a:lnTo>
                <a:lnTo>
                  <a:pt x="270510" y="773430"/>
                </a:lnTo>
                <a:lnTo>
                  <a:pt x="300990" y="807720"/>
                </a:lnTo>
                <a:lnTo>
                  <a:pt x="320040" y="788670"/>
                </a:lnTo>
                <a:lnTo>
                  <a:pt x="300990" y="750570"/>
                </a:lnTo>
                <a:lnTo>
                  <a:pt x="308610" y="723900"/>
                </a:lnTo>
                <a:lnTo>
                  <a:pt x="354330" y="704850"/>
                </a:lnTo>
                <a:lnTo>
                  <a:pt x="388620" y="689610"/>
                </a:lnTo>
                <a:lnTo>
                  <a:pt x="403860" y="636270"/>
                </a:lnTo>
                <a:lnTo>
                  <a:pt x="426720" y="617220"/>
                </a:lnTo>
                <a:lnTo>
                  <a:pt x="491490" y="617220"/>
                </a:lnTo>
                <a:lnTo>
                  <a:pt x="529590" y="613410"/>
                </a:lnTo>
                <a:lnTo>
                  <a:pt x="533400" y="594360"/>
                </a:lnTo>
                <a:lnTo>
                  <a:pt x="518160" y="579120"/>
                </a:lnTo>
                <a:lnTo>
                  <a:pt x="518160" y="541020"/>
                </a:lnTo>
                <a:lnTo>
                  <a:pt x="518160" y="541020"/>
                </a:lnTo>
                <a:lnTo>
                  <a:pt x="598170" y="552450"/>
                </a:lnTo>
                <a:lnTo>
                  <a:pt x="601980" y="575310"/>
                </a:lnTo>
                <a:lnTo>
                  <a:pt x="590550" y="605790"/>
                </a:lnTo>
                <a:lnTo>
                  <a:pt x="586740" y="613410"/>
                </a:lnTo>
                <a:lnTo>
                  <a:pt x="609600" y="624840"/>
                </a:lnTo>
                <a:lnTo>
                  <a:pt x="651510" y="621030"/>
                </a:lnTo>
                <a:lnTo>
                  <a:pt x="643890" y="575310"/>
                </a:lnTo>
                <a:lnTo>
                  <a:pt x="670560" y="521970"/>
                </a:lnTo>
                <a:lnTo>
                  <a:pt x="697230" y="506730"/>
                </a:lnTo>
                <a:lnTo>
                  <a:pt x="701040" y="487680"/>
                </a:lnTo>
                <a:lnTo>
                  <a:pt x="716280" y="483870"/>
                </a:lnTo>
                <a:lnTo>
                  <a:pt x="723900" y="502920"/>
                </a:lnTo>
                <a:lnTo>
                  <a:pt x="689610" y="556260"/>
                </a:lnTo>
                <a:lnTo>
                  <a:pt x="697230" y="598170"/>
                </a:lnTo>
                <a:lnTo>
                  <a:pt x="762000" y="624840"/>
                </a:lnTo>
                <a:lnTo>
                  <a:pt x="723900" y="636270"/>
                </a:lnTo>
                <a:lnTo>
                  <a:pt x="708660" y="659130"/>
                </a:lnTo>
                <a:lnTo>
                  <a:pt x="712470" y="681990"/>
                </a:lnTo>
                <a:lnTo>
                  <a:pt x="765810" y="674370"/>
                </a:lnTo>
                <a:lnTo>
                  <a:pt x="815340" y="697230"/>
                </a:lnTo>
                <a:lnTo>
                  <a:pt x="826770" y="670560"/>
                </a:lnTo>
                <a:lnTo>
                  <a:pt x="834390" y="655320"/>
                </a:lnTo>
                <a:lnTo>
                  <a:pt x="883920" y="655320"/>
                </a:lnTo>
                <a:lnTo>
                  <a:pt x="891540" y="640080"/>
                </a:lnTo>
                <a:lnTo>
                  <a:pt x="876300" y="605790"/>
                </a:lnTo>
                <a:lnTo>
                  <a:pt x="868680" y="586740"/>
                </a:lnTo>
                <a:lnTo>
                  <a:pt x="891540" y="590550"/>
                </a:lnTo>
                <a:lnTo>
                  <a:pt x="922020" y="601980"/>
                </a:lnTo>
                <a:lnTo>
                  <a:pt x="941070" y="582930"/>
                </a:lnTo>
                <a:lnTo>
                  <a:pt x="971550" y="537210"/>
                </a:lnTo>
                <a:lnTo>
                  <a:pt x="986790" y="499110"/>
                </a:lnTo>
                <a:lnTo>
                  <a:pt x="937260" y="502920"/>
                </a:lnTo>
                <a:lnTo>
                  <a:pt x="918210" y="499110"/>
                </a:lnTo>
                <a:lnTo>
                  <a:pt x="864870" y="541020"/>
                </a:lnTo>
                <a:lnTo>
                  <a:pt x="849630" y="483870"/>
                </a:lnTo>
                <a:lnTo>
                  <a:pt x="899160" y="483870"/>
                </a:lnTo>
                <a:lnTo>
                  <a:pt x="895350" y="441960"/>
                </a:lnTo>
                <a:lnTo>
                  <a:pt x="887730" y="407670"/>
                </a:lnTo>
                <a:lnTo>
                  <a:pt x="914400" y="384810"/>
                </a:lnTo>
                <a:lnTo>
                  <a:pt x="960120" y="392430"/>
                </a:lnTo>
                <a:lnTo>
                  <a:pt x="971550" y="384810"/>
                </a:lnTo>
                <a:lnTo>
                  <a:pt x="960120" y="346710"/>
                </a:lnTo>
                <a:lnTo>
                  <a:pt x="975360" y="346710"/>
                </a:lnTo>
                <a:lnTo>
                  <a:pt x="1013460" y="346710"/>
                </a:lnTo>
                <a:lnTo>
                  <a:pt x="1005840" y="323850"/>
                </a:lnTo>
                <a:lnTo>
                  <a:pt x="975360" y="281940"/>
                </a:lnTo>
                <a:lnTo>
                  <a:pt x="967740" y="255270"/>
                </a:lnTo>
                <a:lnTo>
                  <a:pt x="967740" y="232410"/>
                </a:lnTo>
                <a:lnTo>
                  <a:pt x="979170" y="220980"/>
                </a:lnTo>
                <a:lnTo>
                  <a:pt x="982980" y="190500"/>
                </a:lnTo>
                <a:lnTo>
                  <a:pt x="1017270" y="171450"/>
                </a:lnTo>
                <a:lnTo>
                  <a:pt x="1070610" y="160020"/>
                </a:lnTo>
                <a:lnTo>
                  <a:pt x="1066800" y="133350"/>
                </a:lnTo>
                <a:lnTo>
                  <a:pt x="1043940" y="121920"/>
                </a:lnTo>
                <a:lnTo>
                  <a:pt x="1005840" y="125730"/>
                </a:lnTo>
                <a:lnTo>
                  <a:pt x="956310" y="144780"/>
                </a:lnTo>
                <a:lnTo>
                  <a:pt x="929640" y="171450"/>
                </a:lnTo>
                <a:lnTo>
                  <a:pt x="902970" y="156210"/>
                </a:lnTo>
                <a:lnTo>
                  <a:pt x="899160" y="129540"/>
                </a:lnTo>
                <a:lnTo>
                  <a:pt x="845820" y="148590"/>
                </a:lnTo>
                <a:lnTo>
                  <a:pt x="792480" y="144780"/>
                </a:lnTo>
                <a:lnTo>
                  <a:pt x="746760" y="106680"/>
                </a:lnTo>
                <a:lnTo>
                  <a:pt x="720090" y="91440"/>
                </a:lnTo>
                <a:lnTo>
                  <a:pt x="681990" y="106680"/>
                </a:lnTo>
                <a:lnTo>
                  <a:pt x="662940" y="76200"/>
                </a:lnTo>
                <a:lnTo>
                  <a:pt x="659130" y="34290"/>
                </a:lnTo>
                <a:lnTo>
                  <a:pt x="659130" y="19050"/>
                </a:lnTo>
                <a:lnTo>
                  <a:pt x="651510" y="0"/>
                </a:lnTo>
                <a:lnTo>
                  <a:pt x="594360" y="15240"/>
                </a:lnTo>
                <a:lnTo>
                  <a:pt x="571500" y="38100"/>
                </a:lnTo>
                <a:lnTo>
                  <a:pt x="514350" y="106680"/>
                </a:lnTo>
                <a:close/>
              </a:path>
            </a:pathLst>
          </a:cu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nvGrpSpPr>
          <p:cNvPr id="41" name="组合 19"/>
          <p:cNvGrpSpPr/>
          <p:nvPr/>
        </p:nvGrpSpPr>
        <p:grpSpPr bwMode="auto">
          <a:xfrm>
            <a:off x="7056016" y="2184224"/>
            <a:ext cx="1353321" cy="1303184"/>
            <a:chOff x="3798219" y="2712987"/>
            <a:chExt cx="1058930" cy="1492637"/>
          </a:xfrm>
          <a:solidFill>
            <a:schemeClr val="accent6">
              <a:lumMod val="60000"/>
              <a:lumOff val="40000"/>
            </a:schemeClr>
          </a:solidFill>
        </p:grpSpPr>
        <p:grpSp>
          <p:nvGrpSpPr>
            <p:cNvPr id="50" name="组合 17"/>
            <p:cNvGrpSpPr/>
            <p:nvPr/>
          </p:nvGrpSpPr>
          <p:grpSpPr bwMode="auto">
            <a:xfrm>
              <a:off x="3798219" y="2712987"/>
              <a:ext cx="1058930" cy="1492637"/>
              <a:chOff x="3798219" y="2712987"/>
              <a:chExt cx="1058930" cy="1492637"/>
            </a:xfrm>
            <a:grpFill/>
          </p:grpSpPr>
          <p:sp>
            <p:nvSpPr>
              <p:cNvPr id="52" name="任意多边形 51"/>
              <p:cNvSpPr/>
              <p:nvPr/>
            </p:nvSpPr>
            <p:spPr>
              <a:xfrm>
                <a:off x="3798219" y="2712987"/>
                <a:ext cx="1058930" cy="1492637"/>
              </a:xfrm>
              <a:custGeom>
                <a:avLst/>
                <a:gdLst>
                  <a:gd name="connsiteX0" fmla="*/ 76200 w 1059180"/>
                  <a:gd name="connsiteY0" fmla="*/ 1493520 h 1493520"/>
                  <a:gd name="connsiteX1" fmla="*/ 26670 w 1059180"/>
                  <a:gd name="connsiteY1" fmla="*/ 1478280 h 1493520"/>
                  <a:gd name="connsiteX2" fmla="*/ 11430 w 1059180"/>
                  <a:gd name="connsiteY2" fmla="*/ 1482090 h 1493520"/>
                  <a:gd name="connsiteX3" fmla="*/ 0 w 1059180"/>
                  <a:gd name="connsiteY3" fmla="*/ 1421130 h 1493520"/>
                  <a:gd name="connsiteX4" fmla="*/ 0 w 1059180"/>
                  <a:gd name="connsiteY4" fmla="*/ 1363980 h 1493520"/>
                  <a:gd name="connsiteX5" fmla="*/ 7620 w 1059180"/>
                  <a:gd name="connsiteY5" fmla="*/ 1333500 h 1493520"/>
                  <a:gd name="connsiteX6" fmla="*/ 83820 w 1059180"/>
                  <a:gd name="connsiteY6" fmla="*/ 1215390 h 1493520"/>
                  <a:gd name="connsiteX7" fmla="*/ 125730 w 1059180"/>
                  <a:gd name="connsiteY7" fmla="*/ 1154430 h 1493520"/>
                  <a:gd name="connsiteX8" fmla="*/ 110490 w 1059180"/>
                  <a:gd name="connsiteY8" fmla="*/ 1116330 h 1493520"/>
                  <a:gd name="connsiteX9" fmla="*/ 102870 w 1059180"/>
                  <a:gd name="connsiteY9" fmla="*/ 1047750 h 1493520"/>
                  <a:gd name="connsiteX10" fmla="*/ 83820 w 1059180"/>
                  <a:gd name="connsiteY10" fmla="*/ 960120 h 1493520"/>
                  <a:gd name="connsiteX11" fmla="*/ 106680 w 1059180"/>
                  <a:gd name="connsiteY11" fmla="*/ 922020 h 1493520"/>
                  <a:gd name="connsiteX12" fmla="*/ 179070 w 1059180"/>
                  <a:gd name="connsiteY12" fmla="*/ 906780 h 1493520"/>
                  <a:gd name="connsiteX13" fmla="*/ 217170 w 1059180"/>
                  <a:gd name="connsiteY13" fmla="*/ 861060 h 1493520"/>
                  <a:gd name="connsiteX14" fmla="*/ 224790 w 1059180"/>
                  <a:gd name="connsiteY14" fmla="*/ 815340 h 1493520"/>
                  <a:gd name="connsiteX15" fmla="*/ 304800 w 1059180"/>
                  <a:gd name="connsiteY15" fmla="*/ 678180 h 1493520"/>
                  <a:gd name="connsiteX16" fmla="*/ 354330 w 1059180"/>
                  <a:gd name="connsiteY16" fmla="*/ 632460 h 1493520"/>
                  <a:gd name="connsiteX17" fmla="*/ 320040 w 1059180"/>
                  <a:gd name="connsiteY17" fmla="*/ 590550 h 1493520"/>
                  <a:gd name="connsiteX18" fmla="*/ 186690 w 1059180"/>
                  <a:gd name="connsiteY18" fmla="*/ 548640 h 1493520"/>
                  <a:gd name="connsiteX19" fmla="*/ 129540 w 1059180"/>
                  <a:gd name="connsiteY19" fmla="*/ 525780 h 1493520"/>
                  <a:gd name="connsiteX20" fmla="*/ 64770 w 1059180"/>
                  <a:gd name="connsiteY20" fmla="*/ 438150 h 1493520"/>
                  <a:gd name="connsiteX21" fmla="*/ 22860 w 1059180"/>
                  <a:gd name="connsiteY21" fmla="*/ 358140 h 1493520"/>
                  <a:gd name="connsiteX22" fmla="*/ 15240 w 1059180"/>
                  <a:gd name="connsiteY22" fmla="*/ 300990 h 1493520"/>
                  <a:gd name="connsiteX23" fmla="*/ 38100 w 1059180"/>
                  <a:gd name="connsiteY23" fmla="*/ 228600 h 1493520"/>
                  <a:gd name="connsiteX24" fmla="*/ 60960 w 1059180"/>
                  <a:gd name="connsiteY24" fmla="*/ 156210 h 1493520"/>
                  <a:gd name="connsiteX25" fmla="*/ 68580 w 1059180"/>
                  <a:gd name="connsiteY25" fmla="*/ 129540 h 1493520"/>
                  <a:gd name="connsiteX26" fmla="*/ 137160 w 1059180"/>
                  <a:gd name="connsiteY26" fmla="*/ 110490 h 1493520"/>
                  <a:gd name="connsiteX27" fmla="*/ 213360 w 1059180"/>
                  <a:gd name="connsiteY27" fmla="*/ 137160 h 1493520"/>
                  <a:gd name="connsiteX28" fmla="*/ 281940 w 1059180"/>
                  <a:gd name="connsiteY28" fmla="*/ 110490 h 1493520"/>
                  <a:gd name="connsiteX29" fmla="*/ 369570 w 1059180"/>
                  <a:gd name="connsiteY29" fmla="*/ 102870 h 1493520"/>
                  <a:gd name="connsiteX30" fmla="*/ 438150 w 1059180"/>
                  <a:gd name="connsiteY30" fmla="*/ 110490 h 1493520"/>
                  <a:gd name="connsiteX31" fmla="*/ 476250 w 1059180"/>
                  <a:gd name="connsiteY31" fmla="*/ 95250 h 1493520"/>
                  <a:gd name="connsiteX32" fmla="*/ 499110 w 1059180"/>
                  <a:gd name="connsiteY32" fmla="*/ 41910 h 1493520"/>
                  <a:gd name="connsiteX33" fmla="*/ 514350 w 1059180"/>
                  <a:gd name="connsiteY33" fmla="*/ 15240 h 1493520"/>
                  <a:gd name="connsiteX34" fmla="*/ 628650 w 1059180"/>
                  <a:gd name="connsiteY34" fmla="*/ 19050 h 1493520"/>
                  <a:gd name="connsiteX35" fmla="*/ 704850 w 1059180"/>
                  <a:gd name="connsiteY35" fmla="*/ 0 h 1493520"/>
                  <a:gd name="connsiteX36" fmla="*/ 731520 w 1059180"/>
                  <a:gd name="connsiteY36" fmla="*/ 53340 h 1493520"/>
                  <a:gd name="connsiteX37" fmla="*/ 762000 w 1059180"/>
                  <a:gd name="connsiteY37" fmla="*/ 60960 h 1493520"/>
                  <a:gd name="connsiteX38" fmla="*/ 781050 w 1059180"/>
                  <a:gd name="connsiteY38" fmla="*/ 106680 h 1493520"/>
                  <a:gd name="connsiteX39" fmla="*/ 781050 w 1059180"/>
                  <a:gd name="connsiteY39" fmla="*/ 148590 h 1493520"/>
                  <a:gd name="connsiteX40" fmla="*/ 784860 w 1059180"/>
                  <a:gd name="connsiteY40" fmla="*/ 224790 h 1493520"/>
                  <a:gd name="connsiteX41" fmla="*/ 781050 w 1059180"/>
                  <a:gd name="connsiteY41" fmla="*/ 259080 h 1493520"/>
                  <a:gd name="connsiteX42" fmla="*/ 754380 w 1059180"/>
                  <a:gd name="connsiteY42" fmla="*/ 297180 h 1493520"/>
                  <a:gd name="connsiteX43" fmla="*/ 754380 w 1059180"/>
                  <a:gd name="connsiteY43" fmla="*/ 335280 h 1493520"/>
                  <a:gd name="connsiteX44" fmla="*/ 784860 w 1059180"/>
                  <a:gd name="connsiteY44" fmla="*/ 400050 h 1493520"/>
                  <a:gd name="connsiteX45" fmla="*/ 807720 w 1059180"/>
                  <a:gd name="connsiteY45" fmla="*/ 468630 h 1493520"/>
                  <a:gd name="connsiteX46" fmla="*/ 834390 w 1059180"/>
                  <a:gd name="connsiteY46" fmla="*/ 502920 h 1493520"/>
                  <a:gd name="connsiteX47" fmla="*/ 891540 w 1059180"/>
                  <a:gd name="connsiteY47" fmla="*/ 487680 h 1493520"/>
                  <a:gd name="connsiteX48" fmla="*/ 937260 w 1059180"/>
                  <a:gd name="connsiteY48" fmla="*/ 483870 h 1493520"/>
                  <a:gd name="connsiteX49" fmla="*/ 906780 w 1059180"/>
                  <a:gd name="connsiteY49" fmla="*/ 560070 h 1493520"/>
                  <a:gd name="connsiteX50" fmla="*/ 948690 w 1059180"/>
                  <a:gd name="connsiteY50" fmla="*/ 544830 h 1493520"/>
                  <a:gd name="connsiteX51" fmla="*/ 971550 w 1059180"/>
                  <a:gd name="connsiteY51" fmla="*/ 529590 h 1493520"/>
                  <a:gd name="connsiteX52" fmla="*/ 1009650 w 1059180"/>
                  <a:gd name="connsiteY52" fmla="*/ 563880 h 1493520"/>
                  <a:gd name="connsiteX53" fmla="*/ 1017270 w 1059180"/>
                  <a:gd name="connsiteY53" fmla="*/ 567690 h 1493520"/>
                  <a:gd name="connsiteX54" fmla="*/ 1059180 w 1059180"/>
                  <a:gd name="connsiteY54" fmla="*/ 571500 h 1493520"/>
                  <a:gd name="connsiteX55" fmla="*/ 1055370 w 1059180"/>
                  <a:gd name="connsiteY55" fmla="*/ 621030 h 1493520"/>
                  <a:gd name="connsiteX56" fmla="*/ 1032510 w 1059180"/>
                  <a:gd name="connsiteY56" fmla="*/ 659130 h 1493520"/>
                  <a:gd name="connsiteX57" fmla="*/ 1009650 w 1059180"/>
                  <a:gd name="connsiteY57" fmla="*/ 647700 h 1493520"/>
                  <a:gd name="connsiteX58" fmla="*/ 994410 w 1059180"/>
                  <a:gd name="connsiteY58" fmla="*/ 655320 h 1493520"/>
                  <a:gd name="connsiteX59" fmla="*/ 1028700 w 1059180"/>
                  <a:gd name="connsiteY59" fmla="*/ 712470 h 1493520"/>
                  <a:gd name="connsiteX60" fmla="*/ 994410 w 1059180"/>
                  <a:gd name="connsiteY60" fmla="*/ 720090 h 1493520"/>
                  <a:gd name="connsiteX61" fmla="*/ 979170 w 1059180"/>
                  <a:gd name="connsiteY61" fmla="*/ 701040 h 1493520"/>
                  <a:gd name="connsiteX62" fmla="*/ 963930 w 1059180"/>
                  <a:gd name="connsiteY62" fmla="*/ 659130 h 1493520"/>
                  <a:gd name="connsiteX63" fmla="*/ 929640 w 1059180"/>
                  <a:gd name="connsiteY63" fmla="*/ 640080 h 1493520"/>
                  <a:gd name="connsiteX64" fmla="*/ 899160 w 1059180"/>
                  <a:gd name="connsiteY64" fmla="*/ 640080 h 1493520"/>
                  <a:gd name="connsiteX65" fmla="*/ 883920 w 1059180"/>
                  <a:gd name="connsiteY65" fmla="*/ 662940 h 1493520"/>
                  <a:gd name="connsiteX66" fmla="*/ 868680 w 1059180"/>
                  <a:gd name="connsiteY66" fmla="*/ 704850 h 1493520"/>
                  <a:gd name="connsiteX67" fmla="*/ 864870 w 1059180"/>
                  <a:gd name="connsiteY67" fmla="*/ 739140 h 1493520"/>
                  <a:gd name="connsiteX68" fmla="*/ 868680 w 1059180"/>
                  <a:gd name="connsiteY68" fmla="*/ 781050 h 1493520"/>
                  <a:gd name="connsiteX69" fmla="*/ 830580 w 1059180"/>
                  <a:gd name="connsiteY69" fmla="*/ 773430 h 1493520"/>
                  <a:gd name="connsiteX70" fmla="*/ 830580 w 1059180"/>
                  <a:gd name="connsiteY70" fmla="*/ 803910 h 1493520"/>
                  <a:gd name="connsiteX71" fmla="*/ 853440 w 1059180"/>
                  <a:gd name="connsiteY71" fmla="*/ 880110 h 1493520"/>
                  <a:gd name="connsiteX72" fmla="*/ 895350 w 1059180"/>
                  <a:gd name="connsiteY72" fmla="*/ 941070 h 1493520"/>
                  <a:gd name="connsiteX73" fmla="*/ 883920 w 1059180"/>
                  <a:gd name="connsiteY73" fmla="*/ 975360 h 1493520"/>
                  <a:gd name="connsiteX74" fmla="*/ 842010 w 1059180"/>
                  <a:gd name="connsiteY74" fmla="*/ 994410 h 1493520"/>
                  <a:gd name="connsiteX75" fmla="*/ 826770 w 1059180"/>
                  <a:gd name="connsiteY75" fmla="*/ 986790 h 1493520"/>
                  <a:gd name="connsiteX76" fmla="*/ 792480 w 1059180"/>
                  <a:gd name="connsiteY76" fmla="*/ 1002030 h 1493520"/>
                  <a:gd name="connsiteX77" fmla="*/ 781050 w 1059180"/>
                  <a:gd name="connsiteY77" fmla="*/ 994410 h 1493520"/>
                  <a:gd name="connsiteX78" fmla="*/ 762000 w 1059180"/>
                  <a:gd name="connsiteY78" fmla="*/ 998220 h 1493520"/>
                  <a:gd name="connsiteX79" fmla="*/ 731520 w 1059180"/>
                  <a:gd name="connsiteY79" fmla="*/ 1021080 h 1493520"/>
                  <a:gd name="connsiteX80" fmla="*/ 697230 w 1059180"/>
                  <a:gd name="connsiteY80" fmla="*/ 1002030 h 1493520"/>
                  <a:gd name="connsiteX81" fmla="*/ 666750 w 1059180"/>
                  <a:gd name="connsiteY81" fmla="*/ 1051560 h 1493520"/>
                  <a:gd name="connsiteX82" fmla="*/ 640080 w 1059180"/>
                  <a:gd name="connsiteY82" fmla="*/ 1055370 h 1493520"/>
                  <a:gd name="connsiteX83" fmla="*/ 594360 w 1059180"/>
                  <a:gd name="connsiteY83" fmla="*/ 1055370 h 1493520"/>
                  <a:gd name="connsiteX84" fmla="*/ 556260 w 1059180"/>
                  <a:gd name="connsiteY84" fmla="*/ 1040130 h 1493520"/>
                  <a:gd name="connsiteX85" fmla="*/ 579120 w 1059180"/>
                  <a:gd name="connsiteY85" fmla="*/ 998220 h 1493520"/>
                  <a:gd name="connsiteX86" fmla="*/ 605790 w 1059180"/>
                  <a:gd name="connsiteY86" fmla="*/ 967740 h 1493520"/>
                  <a:gd name="connsiteX87" fmla="*/ 609600 w 1059180"/>
                  <a:gd name="connsiteY87" fmla="*/ 906780 h 1493520"/>
                  <a:gd name="connsiteX88" fmla="*/ 609600 w 1059180"/>
                  <a:gd name="connsiteY88" fmla="*/ 876300 h 1493520"/>
                  <a:gd name="connsiteX89" fmla="*/ 628650 w 1059180"/>
                  <a:gd name="connsiteY89" fmla="*/ 861060 h 1493520"/>
                  <a:gd name="connsiteX90" fmla="*/ 598170 w 1059180"/>
                  <a:gd name="connsiteY90" fmla="*/ 842010 h 1493520"/>
                  <a:gd name="connsiteX91" fmla="*/ 575310 w 1059180"/>
                  <a:gd name="connsiteY91" fmla="*/ 834390 h 1493520"/>
                  <a:gd name="connsiteX92" fmla="*/ 560070 w 1059180"/>
                  <a:gd name="connsiteY92" fmla="*/ 876300 h 1493520"/>
                  <a:gd name="connsiteX93" fmla="*/ 560070 w 1059180"/>
                  <a:gd name="connsiteY93" fmla="*/ 914400 h 1493520"/>
                  <a:gd name="connsiteX94" fmla="*/ 556260 w 1059180"/>
                  <a:gd name="connsiteY94" fmla="*/ 933450 h 1493520"/>
                  <a:gd name="connsiteX95" fmla="*/ 521970 w 1059180"/>
                  <a:gd name="connsiteY95" fmla="*/ 902970 h 1493520"/>
                  <a:gd name="connsiteX96" fmla="*/ 514350 w 1059180"/>
                  <a:gd name="connsiteY96" fmla="*/ 887730 h 149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059180" h="1493520">
                    <a:moveTo>
                      <a:pt x="76200" y="1493520"/>
                    </a:moveTo>
                    <a:lnTo>
                      <a:pt x="26670" y="1478280"/>
                    </a:lnTo>
                    <a:lnTo>
                      <a:pt x="11430" y="1482090"/>
                    </a:lnTo>
                    <a:lnTo>
                      <a:pt x="0" y="1421130"/>
                    </a:lnTo>
                    <a:lnTo>
                      <a:pt x="0" y="1363980"/>
                    </a:lnTo>
                    <a:lnTo>
                      <a:pt x="7620" y="1333500"/>
                    </a:lnTo>
                    <a:lnTo>
                      <a:pt x="83820" y="1215390"/>
                    </a:lnTo>
                    <a:lnTo>
                      <a:pt x="125730" y="1154430"/>
                    </a:lnTo>
                    <a:lnTo>
                      <a:pt x="110490" y="1116330"/>
                    </a:lnTo>
                    <a:lnTo>
                      <a:pt x="102870" y="1047750"/>
                    </a:lnTo>
                    <a:lnTo>
                      <a:pt x="83820" y="960120"/>
                    </a:lnTo>
                    <a:lnTo>
                      <a:pt x="106680" y="922020"/>
                    </a:lnTo>
                    <a:lnTo>
                      <a:pt x="179070" y="906780"/>
                    </a:lnTo>
                    <a:lnTo>
                      <a:pt x="217170" y="861060"/>
                    </a:lnTo>
                    <a:lnTo>
                      <a:pt x="224790" y="815340"/>
                    </a:lnTo>
                    <a:lnTo>
                      <a:pt x="304800" y="678180"/>
                    </a:lnTo>
                    <a:lnTo>
                      <a:pt x="354330" y="632460"/>
                    </a:lnTo>
                    <a:lnTo>
                      <a:pt x="320040" y="590550"/>
                    </a:lnTo>
                    <a:lnTo>
                      <a:pt x="186690" y="548640"/>
                    </a:lnTo>
                    <a:lnTo>
                      <a:pt x="129540" y="525780"/>
                    </a:lnTo>
                    <a:lnTo>
                      <a:pt x="64770" y="438150"/>
                    </a:lnTo>
                    <a:lnTo>
                      <a:pt x="22860" y="358140"/>
                    </a:lnTo>
                    <a:lnTo>
                      <a:pt x="15240" y="300990"/>
                    </a:lnTo>
                    <a:lnTo>
                      <a:pt x="38100" y="228600"/>
                    </a:lnTo>
                    <a:lnTo>
                      <a:pt x="60960" y="156210"/>
                    </a:lnTo>
                    <a:lnTo>
                      <a:pt x="68580" y="129540"/>
                    </a:lnTo>
                    <a:lnTo>
                      <a:pt x="137160" y="110490"/>
                    </a:lnTo>
                    <a:lnTo>
                      <a:pt x="213360" y="137160"/>
                    </a:lnTo>
                    <a:lnTo>
                      <a:pt x="281940" y="110490"/>
                    </a:lnTo>
                    <a:lnTo>
                      <a:pt x="369570" y="102870"/>
                    </a:lnTo>
                    <a:lnTo>
                      <a:pt x="438150" y="110490"/>
                    </a:lnTo>
                    <a:lnTo>
                      <a:pt x="476250" y="95250"/>
                    </a:lnTo>
                    <a:lnTo>
                      <a:pt x="499110" y="41910"/>
                    </a:lnTo>
                    <a:lnTo>
                      <a:pt x="514350" y="15240"/>
                    </a:lnTo>
                    <a:lnTo>
                      <a:pt x="628650" y="19050"/>
                    </a:lnTo>
                    <a:lnTo>
                      <a:pt x="704850" y="0"/>
                    </a:lnTo>
                    <a:lnTo>
                      <a:pt x="731520" y="53340"/>
                    </a:lnTo>
                    <a:lnTo>
                      <a:pt x="762000" y="60960"/>
                    </a:lnTo>
                    <a:lnTo>
                      <a:pt x="781050" y="106680"/>
                    </a:lnTo>
                    <a:lnTo>
                      <a:pt x="781050" y="148590"/>
                    </a:lnTo>
                    <a:lnTo>
                      <a:pt x="784860" y="224790"/>
                    </a:lnTo>
                    <a:lnTo>
                      <a:pt x="781050" y="259080"/>
                    </a:lnTo>
                    <a:lnTo>
                      <a:pt x="754380" y="297180"/>
                    </a:lnTo>
                    <a:lnTo>
                      <a:pt x="754380" y="335280"/>
                    </a:lnTo>
                    <a:lnTo>
                      <a:pt x="784860" y="400050"/>
                    </a:lnTo>
                    <a:lnTo>
                      <a:pt x="807720" y="468630"/>
                    </a:lnTo>
                    <a:lnTo>
                      <a:pt x="834390" y="502920"/>
                    </a:lnTo>
                    <a:lnTo>
                      <a:pt x="891540" y="487680"/>
                    </a:lnTo>
                    <a:lnTo>
                      <a:pt x="937260" y="483870"/>
                    </a:lnTo>
                    <a:lnTo>
                      <a:pt x="906780" y="560070"/>
                    </a:lnTo>
                    <a:lnTo>
                      <a:pt x="948690" y="544830"/>
                    </a:lnTo>
                    <a:lnTo>
                      <a:pt x="971550" y="529590"/>
                    </a:lnTo>
                    <a:lnTo>
                      <a:pt x="1009650" y="563880"/>
                    </a:lnTo>
                    <a:lnTo>
                      <a:pt x="1017270" y="567690"/>
                    </a:lnTo>
                    <a:lnTo>
                      <a:pt x="1059180" y="571500"/>
                    </a:lnTo>
                    <a:lnTo>
                      <a:pt x="1055370" y="621030"/>
                    </a:lnTo>
                    <a:lnTo>
                      <a:pt x="1032510" y="659130"/>
                    </a:lnTo>
                    <a:lnTo>
                      <a:pt x="1009650" y="647700"/>
                    </a:lnTo>
                    <a:lnTo>
                      <a:pt x="994410" y="655320"/>
                    </a:lnTo>
                    <a:lnTo>
                      <a:pt x="1028700" y="712470"/>
                    </a:lnTo>
                    <a:lnTo>
                      <a:pt x="994410" y="720090"/>
                    </a:lnTo>
                    <a:lnTo>
                      <a:pt x="979170" y="701040"/>
                    </a:lnTo>
                    <a:lnTo>
                      <a:pt x="963930" y="659130"/>
                    </a:lnTo>
                    <a:lnTo>
                      <a:pt x="929640" y="640080"/>
                    </a:lnTo>
                    <a:lnTo>
                      <a:pt x="899160" y="640080"/>
                    </a:lnTo>
                    <a:lnTo>
                      <a:pt x="883920" y="662940"/>
                    </a:lnTo>
                    <a:lnTo>
                      <a:pt x="868680" y="704850"/>
                    </a:lnTo>
                    <a:lnTo>
                      <a:pt x="864870" y="739140"/>
                    </a:lnTo>
                    <a:lnTo>
                      <a:pt x="868680" y="781050"/>
                    </a:lnTo>
                    <a:lnTo>
                      <a:pt x="830580" y="773430"/>
                    </a:lnTo>
                    <a:lnTo>
                      <a:pt x="830580" y="803910"/>
                    </a:lnTo>
                    <a:lnTo>
                      <a:pt x="853440" y="880110"/>
                    </a:lnTo>
                    <a:lnTo>
                      <a:pt x="895350" y="941070"/>
                    </a:lnTo>
                    <a:lnTo>
                      <a:pt x="883920" y="975360"/>
                    </a:lnTo>
                    <a:lnTo>
                      <a:pt x="842010" y="994410"/>
                    </a:lnTo>
                    <a:lnTo>
                      <a:pt x="826770" y="986790"/>
                    </a:lnTo>
                    <a:lnTo>
                      <a:pt x="792480" y="1002030"/>
                    </a:lnTo>
                    <a:lnTo>
                      <a:pt x="781050" y="994410"/>
                    </a:lnTo>
                    <a:lnTo>
                      <a:pt x="762000" y="998220"/>
                    </a:lnTo>
                    <a:lnTo>
                      <a:pt x="731520" y="1021080"/>
                    </a:lnTo>
                    <a:lnTo>
                      <a:pt x="697230" y="1002030"/>
                    </a:lnTo>
                    <a:lnTo>
                      <a:pt x="666750" y="1051560"/>
                    </a:lnTo>
                    <a:lnTo>
                      <a:pt x="640080" y="1055370"/>
                    </a:lnTo>
                    <a:lnTo>
                      <a:pt x="594360" y="1055370"/>
                    </a:lnTo>
                    <a:lnTo>
                      <a:pt x="556260" y="1040130"/>
                    </a:lnTo>
                    <a:lnTo>
                      <a:pt x="579120" y="998220"/>
                    </a:lnTo>
                    <a:lnTo>
                      <a:pt x="605790" y="967740"/>
                    </a:lnTo>
                    <a:lnTo>
                      <a:pt x="609600" y="906780"/>
                    </a:lnTo>
                    <a:lnTo>
                      <a:pt x="609600" y="876300"/>
                    </a:lnTo>
                    <a:lnTo>
                      <a:pt x="628650" y="861060"/>
                    </a:lnTo>
                    <a:lnTo>
                      <a:pt x="598170" y="842010"/>
                    </a:lnTo>
                    <a:lnTo>
                      <a:pt x="575310" y="834390"/>
                    </a:lnTo>
                    <a:lnTo>
                      <a:pt x="560070" y="876300"/>
                    </a:lnTo>
                    <a:lnTo>
                      <a:pt x="560070" y="914400"/>
                    </a:lnTo>
                    <a:lnTo>
                      <a:pt x="556260" y="933450"/>
                    </a:lnTo>
                    <a:lnTo>
                      <a:pt x="521970" y="902970"/>
                    </a:lnTo>
                    <a:lnTo>
                      <a:pt x="514350" y="887730"/>
                    </a:lnTo>
                  </a:path>
                </a:pathLst>
              </a:cu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p>
            </p:txBody>
          </p:sp>
          <p:sp>
            <p:nvSpPr>
              <p:cNvPr id="53" name="任意多边形 52"/>
              <p:cNvSpPr/>
              <p:nvPr/>
            </p:nvSpPr>
            <p:spPr>
              <a:xfrm>
                <a:off x="3842865" y="3571451"/>
                <a:ext cx="441353" cy="612934"/>
              </a:xfrm>
              <a:custGeom>
                <a:avLst/>
                <a:gdLst>
                  <a:gd name="connsiteX0" fmla="*/ 0 w 441960"/>
                  <a:gd name="connsiteY0" fmla="*/ 613410 h 613410"/>
                  <a:gd name="connsiteX1" fmla="*/ 49530 w 441960"/>
                  <a:gd name="connsiteY1" fmla="*/ 598170 h 613410"/>
                  <a:gd name="connsiteX2" fmla="*/ 68580 w 441960"/>
                  <a:gd name="connsiteY2" fmla="*/ 567690 h 613410"/>
                  <a:gd name="connsiteX3" fmla="*/ 95250 w 441960"/>
                  <a:gd name="connsiteY3" fmla="*/ 594360 h 613410"/>
                  <a:gd name="connsiteX4" fmla="*/ 140970 w 441960"/>
                  <a:gd name="connsiteY4" fmla="*/ 548640 h 613410"/>
                  <a:gd name="connsiteX5" fmla="*/ 163830 w 441960"/>
                  <a:gd name="connsiteY5" fmla="*/ 563880 h 613410"/>
                  <a:gd name="connsiteX6" fmla="*/ 171450 w 441960"/>
                  <a:gd name="connsiteY6" fmla="*/ 586740 h 613410"/>
                  <a:gd name="connsiteX7" fmla="*/ 198120 w 441960"/>
                  <a:gd name="connsiteY7" fmla="*/ 579120 h 613410"/>
                  <a:gd name="connsiteX8" fmla="*/ 194310 w 441960"/>
                  <a:gd name="connsiteY8" fmla="*/ 541020 h 613410"/>
                  <a:gd name="connsiteX9" fmla="*/ 201930 w 441960"/>
                  <a:gd name="connsiteY9" fmla="*/ 514350 h 613410"/>
                  <a:gd name="connsiteX10" fmla="*/ 220980 w 441960"/>
                  <a:gd name="connsiteY10" fmla="*/ 491490 h 613410"/>
                  <a:gd name="connsiteX11" fmla="*/ 190500 w 441960"/>
                  <a:gd name="connsiteY11" fmla="*/ 464820 h 613410"/>
                  <a:gd name="connsiteX12" fmla="*/ 205740 w 441960"/>
                  <a:gd name="connsiteY12" fmla="*/ 445770 h 613410"/>
                  <a:gd name="connsiteX13" fmla="*/ 278130 w 441960"/>
                  <a:gd name="connsiteY13" fmla="*/ 480060 h 613410"/>
                  <a:gd name="connsiteX14" fmla="*/ 293370 w 441960"/>
                  <a:gd name="connsiteY14" fmla="*/ 445770 h 613410"/>
                  <a:gd name="connsiteX15" fmla="*/ 274320 w 441960"/>
                  <a:gd name="connsiteY15" fmla="*/ 354330 h 613410"/>
                  <a:gd name="connsiteX16" fmla="*/ 308610 w 441960"/>
                  <a:gd name="connsiteY16" fmla="*/ 339090 h 613410"/>
                  <a:gd name="connsiteX17" fmla="*/ 361950 w 441960"/>
                  <a:gd name="connsiteY17" fmla="*/ 312420 h 613410"/>
                  <a:gd name="connsiteX18" fmla="*/ 392430 w 441960"/>
                  <a:gd name="connsiteY18" fmla="*/ 281940 h 613410"/>
                  <a:gd name="connsiteX19" fmla="*/ 396240 w 441960"/>
                  <a:gd name="connsiteY19" fmla="*/ 232410 h 613410"/>
                  <a:gd name="connsiteX20" fmla="*/ 350520 w 441960"/>
                  <a:gd name="connsiteY20" fmla="*/ 201930 h 613410"/>
                  <a:gd name="connsiteX21" fmla="*/ 323850 w 441960"/>
                  <a:gd name="connsiteY21" fmla="*/ 198120 h 613410"/>
                  <a:gd name="connsiteX22" fmla="*/ 339090 w 441960"/>
                  <a:gd name="connsiteY22" fmla="*/ 160020 h 613410"/>
                  <a:gd name="connsiteX23" fmla="*/ 381000 w 441960"/>
                  <a:gd name="connsiteY23" fmla="*/ 144780 h 613410"/>
                  <a:gd name="connsiteX24" fmla="*/ 350520 w 441960"/>
                  <a:gd name="connsiteY24" fmla="*/ 110490 h 613410"/>
                  <a:gd name="connsiteX25" fmla="*/ 339090 w 441960"/>
                  <a:gd name="connsiteY25" fmla="*/ 83820 h 613410"/>
                  <a:gd name="connsiteX26" fmla="*/ 346710 w 441960"/>
                  <a:gd name="connsiteY26" fmla="*/ 34290 h 613410"/>
                  <a:gd name="connsiteX27" fmla="*/ 346710 w 441960"/>
                  <a:gd name="connsiteY27" fmla="*/ 15240 h 613410"/>
                  <a:gd name="connsiteX28" fmla="*/ 381000 w 441960"/>
                  <a:gd name="connsiteY28" fmla="*/ 19050 h 613410"/>
                  <a:gd name="connsiteX29" fmla="*/ 419100 w 441960"/>
                  <a:gd name="connsiteY29" fmla="*/ 7620 h 613410"/>
                  <a:gd name="connsiteX30" fmla="*/ 426720 w 441960"/>
                  <a:gd name="connsiteY30" fmla="*/ 0 h 613410"/>
                  <a:gd name="connsiteX31" fmla="*/ 441960 w 441960"/>
                  <a:gd name="connsiteY31" fmla="*/ 22860 h 613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41960" h="613410">
                    <a:moveTo>
                      <a:pt x="0" y="613410"/>
                    </a:moveTo>
                    <a:lnTo>
                      <a:pt x="49530" y="598170"/>
                    </a:lnTo>
                    <a:lnTo>
                      <a:pt x="68580" y="567690"/>
                    </a:lnTo>
                    <a:lnTo>
                      <a:pt x="95250" y="594360"/>
                    </a:lnTo>
                    <a:lnTo>
                      <a:pt x="140970" y="548640"/>
                    </a:lnTo>
                    <a:lnTo>
                      <a:pt x="163830" y="563880"/>
                    </a:lnTo>
                    <a:lnTo>
                      <a:pt x="171450" y="586740"/>
                    </a:lnTo>
                    <a:lnTo>
                      <a:pt x="198120" y="579120"/>
                    </a:lnTo>
                    <a:lnTo>
                      <a:pt x="194310" y="541020"/>
                    </a:lnTo>
                    <a:lnTo>
                      <a:pt x="201930" y="514350"/>
                    </a:lnTo>
                    <a:lnTo>
                      <a:pt x="220980" y="491490"/>
                    </a:lnTo>
                    <a:lnTo>
                      <a:pt x="190500" y="464820"/>
                    </a:lnTo>
                    <a:lnTo>
                      <a:pt x="205740" y="445770"/>
                    </a:lnTo>
                    <a:lnTo>
                      <a:pt x="278130" y="480060"/>
                    </a:lnTo>
                    <a:lnTo>
                      <a:pt x="293370" y="445770"/>
                    </a:lnTo>
                    <a:lnTo>
                      <a:pt x="274320" y="354330"/>
                    </a:lnTo>
                    <a:lnTo>
                      <a:pt x="308610" y="339090"/>
                    </a:lnTo>
                    <a:lnTo>
                      <a:pt x="361950" y="312420"/>
                    </a:lnTo>
                    <a:lnTo>
                      <a:pt x="392430" y="281940"/>
                    </a:lnTo>
                    <a:lnTo>
                      <a:pt x="396240" y="232410"/>
                    </a:lnTo>
                    <a:lnTo>
                      <a:pt x="350520" y="201930"/>
                    </a:lnTo>
                    <a:lnTo>
                      <a:pt x="323850" y="198120"/>
                    </a:lnTo>
                    <a:lnTo>
                      <a:pt x="339090" y="160020"/>
                    </a:lnTo>
                    <a:lnTo>
                      <a:pt x="381000" y="144780"/>
                    </a:lnTo>
                    <a:lnTo>
                      <a:pt x="350520" y="110490"/>
                    </a:lnTo>
                    <a:lnTo>
                      <a:pt x="339090" y="83820"/>
                    </a:lnTo>
                    <a:lnTo>
                      <a:pt x="346710" y="34290"/>
                    </a:lnTo>
                    <a:lnTo>
                      <a:pt x="346710" y="15240"/>
                    </a:lnTo>
                    <a:lnTo>
                      <a:pt x="381000" y="19050"/>
                    </a:lnTo>
                    <a:lnTo>
                      <a:pt x="419100" y="7620"/>
                    </a:lnTo>
                    <a:lnTo>
                      <a:pt x="426720" y="0"/>
                    </a:lnTo>
                    <a:lnTo>
                      <a:pt x="441960" y="22860"/>
                    </a:lnTo>
                  </a:path>
                </a:pathLst>
              </a:cu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p>
            </p:txBody>
          </p:sp>
        </p:grpSp>
        <p:sp>
          <p:nvSpPr>
            <p:cNvPr id="51" name="任意多边形 50"/>
            <p:cNvSpPr/>
            <p:nvPr/>
          </p:nvSpPr>
          <p:spPr>
            <a:xfrm>
              <a:off x="3871249" y="4194509"/>
              <a:ext cx="49216" cy="7939"/>
            </a:xfrm>
            <a:custGeom>
              <a:avLst/>
              <a:gdLst>
                <a:gd name="connsiteX0" fmla="*/ 0 w 49530"/>
                <a:gd name="connsiteY0" fmla="*/ 7620 h 7620"/>
                <a:gd name="connsiteX1" fmla="*/ 49530 w 49530"/>
                <a:gd name="connsiteY1" fmla="*/ 0 h 7620"/>
              </a:gdLst>
              <a:ahLst/>
              <a:cxnLst>
                <a:cxn ang="0">
                  <a:pos x="connsiteX0" y="connsiteY0"/>
                </a:cxn>
                <a:cxn ang="0">
                  <a:pos x="connsiteX1" y="connsiteY1"/>
                </a:cxn>
              </a:cxnLst>
              <a:rect l="l" t="t" r="r" b="b"/>
              <a:pathLst>
                <a:path w="49530" h="7620">
                  <a:moveTo>
                    <a:pt x="0" y="7620"/>
                  </a:moveTo>
                  <a:lnTo>
                    <a:pt x="49530" y="0"/>
                  </a:lnTo>
                </a:path>
              </a:pathLst>
            </a:cu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p>
          </p:txBody>
        </p:sp>
      </p:grpSp>
      <p:sp>
        <p:nvSpPr>
          <p:cNvPr id="42" name="任意多边形 41"/>
          <p:cNvSpPr/>
          <p:nvPr/>
        </p:nvSpPr>
        <p:spPr bwMode="auto">
          <a:xfrm>
            <a:off x="6161241" y="3104772"/>
            <a:ext cx="992164" cy="793001"/>
          </a:xfrm>
          <a:custGeom>
            <a:avLst/>
            <a:gdLst>
              <a:gd name="connsiteX0" fmla="*/ 773430 w 777240"/>
              <a:gd name="connsiteY0" fmla="*/ 445770 h 906780"/>
              <a:gd name="connsiteX1" fmla="*/ 777240 w 777240"/>
              <a:gd name="connsiteY1" fmla="*/ 506730 h 906780"/>
              <a:gd name="connsiteX2" fmla="*/ 746760 w 777240"/>
              <a:gd name="connsiteY2" fmla="*/ 594360 h 906780"/>
              <a:gd name="connsiteX3" fmla="*/ 720090 w 777240"/>
              <a:gd name="connsiteY3" fmla="*/ 640080 h 906780"/>
              <a:gd name="connsiteX4" fmla="*/ 678180 w 777240"/>
              <a:gd name="connsiteY4" fmla="*/ 689610 h 906780"/>
              <a:gd name="connsiteX5" fmla="*/ 617220 w 777240"/>
              <a:gd name="connsiteY5" fmla="*/ 720090 h 906780"/>
              <a:gd name="connsiteX6" fmla="*/ 590550 w 777240"/>
              <a:gd name="connsiteY6" fmla="*/ 777240 h 906780"/>
              <a:gd name="connsiteX7" fmla="*/ 594360 w 777240"/>
              <a:gd name="connsiteY7" fmla="*/ 830580 h 906780"/>
              <a:gd name="connsiteX8" fmla="*/ 590550 w 777240"/>
              <a:gd name="connsiteY8" fmla="*/ 895350 h 906780"/>
              <a:gd name="connsiteX9" fmla="*/ 575310 w 777240"/>
              <a:gd name="connsiteY9" fmla="*/ 906780 h 906780"/>
              <a:gd name="connsiteX10" fmla="*/ 537210 w 777240"/>
              <a:gd name="connsiteY10" fmla="*/ 880110 h 906780"/>
              <a:gd name="connsiteX11" fmla="*/ 510540 w 777240"/>
              <a:gd name="connsiteY11" fmla="*/ 880110 h 906780"/>
              <a:gd name="connsiteX12" fmla="*/ 491490 w 777240"/>
              <a:gd name="connsiteY12" fmla="*/ 887730 h 906780"/>
              <a:gd name="connsiteX13" fmla="*/ 468630 w 777240"/>
              <a:gd name="connsiteY13" fmla="*/ 864870 h 906780"/>
              <a:gd name="connsiteX14" fmla="*/ 441960 w 777240"/>
              <a:gd name="connsiteY14" fmla="*/ 830580 h 906780"/>
              <a:gd name="connsiteX15" fmla="*/ 438150 w 777240"/>
              <a:gd name="connsiteY15" fmla="*/ 784860 h 906780"/>
              <a:gd name="connsiteX16" fmla="*/ 457200 w 777240"/>
              <a:gd name="connsiteY16" fmla="*/ 731520 h 906780"/>
              <a:gd name="connsiteX17" fmla="*/ 453390 w 777240"/>
              <a:gd name="connsiteY17" fmla="*/ 712470 h 906780"/>
              <a:gd name="connsiteX18" fmla="*/ 426720 w 777240"/>
              <a:gd name="connsiteY18" fmla="*/ 693420 h 906780"/>
              <a:gd name="connsiteX19" fmla="*/ 396240 w 777240"/>
              <a:gd name="connsiteY19" fmla="*/ 662940 h 906780"/>
              <a:gd name="connsiteX20" fmla="*/ 373380 w 777240"/>
              <a:gd name="connsiteY20" fmla="*/ 624840 h 906780"/>
              <a:gd name="connsiteX21" fmla="*/ 373380 w 777240"/>
              <a:gd name="connsiteY21" fmla="*/ 613410 h 906780"/>
              <a:gd name="connsiteX22" fmla="*/ 342900 w 777240"/>
              <a:gd name="connsiteY22" fmla="*/ 613410 h 906780"/>
              <a:gd name="connsiteX23" fmla="*/ 331470 w 777240"/>
              <a:gd name="connsiteY23" fmla="*/ 636270 h 906780"/>
              <a:gd name="connsiteX24" fmla="*/ 266700 w 777240"/>
              <a:gd name="connsiteY24" fmla="*/ 655320 h 906780"/>
              <a:gd name="connsiteX25" fmla="*/ 224790 w 777240"/>
              <a:gd name="connsiteY25" fmla="*/ 647700 h 906780"/>
              <a:gd name="connsiteX26" fmla="*/ 175260 w 777240"/>
              <a:gd name="connsiteY26" fmla="*/ 647700 h 906780"/>
              <a:gd name="connsiteX27" fmla="*/ 140970 w 777240"/>
              <a:gd name="connsiteY27" fmla="*/ 640080 h 906780"/>
              <a:gd name="connsiteX28" fmla="*/ 110490 w 777240"/>
              <a:gd name="connsiteY28" fmla="*/ 636270 h 906780"/>
              <a:gd name="connsiteX29" fmla="*/ 68580 w 777240"/>
              <a:gd name="connsiteY29" fmla="*/ 636270 h 906780"/>
              <a:gd name="connsiteX30" fmla="*/ 38100 w 777240"/>
              <a:gd name="connsiteY30" fmla="*/ 636270 h 906780"/>
              <a:gd name="connsiteX31" fmla="*/ 11430 w 777240"/>
              <a:gd name="connsiteY31" fmla="*/ 636270 h 906780"/>
              <a:gd name="connsiteX32" fmla="*/ 0 w 777240"/>
              <a:gd name="connsiteY32" fmla="*/ 628650 h 906780"/>
              <a:gd name="connsiteX33" fmla="*/ 15240 w 777240"/>
              <a:gd name="connsiteY33" fmla="*/ 613410 h 906780"/>
              <a:gd name="connsiteX34" fmla="*/ 41910 w 777240"/>
              <a:gd name="connsiteY34" fmla="*/ 586740 h 906780"/>
              <a:gd name="connsiteX35" fmla="*/ 57150 w 777240"/>
              <a:gd name="connsiteY35" fmla="*/ 563880 h 906780"/>
              <a:gd name="connsiteX36" fmla="*/ 83820 w 777240"/>
              <a:gd name="connsiteY36" fmla="*/ 529590 h 906780"/>
              <a:gd name="connsiteX37" fmla="*/ 91440 w 777240"/>
              <a:gd name="connsiteY37" fmla="*/ 472440 h 906780"/>
              <a:gd name="connsiteX38" fmla="*/ 95250 w 777240"/>
              <a:gd name="connsiteY38" fmla="*/ 430530 h 906780"/>
              <a:gd name="connsiteX39" fmla="*/ 106680 w 777240"/>
              <a:gd name="connsiteY39" fmla="*/ 396240 h 906780"/>
              <a:gd name="connsiteX40" fmla="*/ 137160 w 777240"/>
              <a:gd name="connsiteY40" fmla="*/ 361950 h 906780"/>
              <a:gd name="connsiteX41" fmla="*/ 137160 w 777240"/>
              <a:gd name="connsiteY41" fmla="*/ 331470 h 906780"/>
              <a:gd name="connsiteX42" fmla="*/ 106680 w 777240"/>
              <a:gd name="connsiteY42" fmla="*/ 293370 h 906780"/>
              <a:gd name="connsiteX43" fmla="*/ 95250 w 777240"/>
              <a:gd name="connsiteY43" fmla="*/ 259080 h 906780"/>
              <a:gd name="connsiteX44" fmla="*/ 99060 w 777240"/>
              <a:gd name="connsiteY44" fmla="*/ 198120 h 906780"/>
              <a:gd name="connsiteX45" fmla="*/ 95250 w 777240"/>
              <a:gd name="connsiteY45" fmla="*/ 156210 h 906780"/>
              <a:gd name="connsiteX46" fmla="*/ 114300 w 777240"/>
              <a:gd name="connsiteY46" fmla="*/ 118110 h 906780"/>
              <a:gd name="connsiteX47" fmla="*/ 133350 w 777240"/>
              <a:gd name="connsiteY47" fmla="*/ 83820 h 906780"/>
              <a:gd name="connsiteX48" fmla="*/ 171450 w 777240"/>
              <a:gd name="connsiteY48" fmla="*/ 72390 h 906780"/>
              <a:gd name="connsiteX49" fmla="*/ 220980 w 777240"/>
              <a:gd name="connsiteY49" fmla="*/ 53340 h 906780"/>
              <a:gd name="connsiteX50" fmla="*/ 274320 w 777240"/>
              <a:gd name="connsiteY50" fmla="*/ 30480 h 906780"/>
              <a:gd name="connsiteX51" fmla="*/ 312420 w 777240"/>
              <a:gd name="connsiteY51" fmla="*/ 11430 h 906780"/>
              <a:gd name="connsiteX52" fmla="*/ 323850 w 777240"/>
              <a:gd name="connsiteY52" fmla="*/ 0 h 906780"/>
              <a:gd name="connsiteX53" fmla="*/ 339090 w 777240"/>
              <a:gd name="connsiteY53" fmla="*/ 26670 h 906780"/>
              <a:gd name="connsiteX54" fmla="*/ 381000 w 777240"/>
              <a:gd name="connsiteY54" fmla="*/ 41910 h 906780"/>
              <a:gd name="connsiteX55" fmla="*/ 419100 w 777240"/>
              <a:gd name="connsiteY55" fmla="*/ 60960 h 906780"/>
              <a:gd name="connsiteX56" fmla="*/ 449580 w 777240"/>
              <a:gd name="connsiteY56" fmla="*/ 95250 h 906780"/>
              <a:gd name="connsiteX57" fmla="*/ 461010 w 777240"/>
              <a:gd name="connsiteY57" fmla="*/ 118110 h 906780"/>
              <a:gd name="connsiteX58" fmla="*/ 510540 w 777240"/>
              <a:gd name="connsiteY58" fmla="*/ 144780 h 906780"/>
              <a:gd name="connsiteX59" fmla="*/ 560070 w 777240"/>
              <a:gd name="connsiteY59" fmla="*/ 167640 h 906780"/>
              <a:gd name="connsiteX60" fmla="*/ 598170 w 777240"/>
              <a:gd name="connsiteY60" fmla="*/ 190500 h 906780"/>
              <a:gd name="connsiteX61" fmla="*/ 643890 w 777240"/>
              <a:gd name="connsiteY61" fmla="*/ 220980 h 906780"/>
              <a:gd name="connsiteX62" fmla="*/ 674370 w 777240"/>
              <a:gd name="connsiteY62" fmla="*/ 251460 h 906780"/>
              <a:gd name="connsiteX63" fmla="*/ 697230 w 777240"/>
              <a:gd name="connsiteY63" fmla="*/ 289560 h 906780"/>
              <a:gd name="connsiteX64" fmla="*/ 704850 w 777240"/>
              <a:gd name="connsiteY64" fmla="*/ 331470 h 906780"/>
              <a:gd name="connsiteX65" fmla="*/ 704850 w 777240"/>
              <a:gd name="connsiteY65" fmla="*/ 381000 h 906780"/>
              <a:gd name="connsiteX66" fmla="*/ 716280 w 777240"/>
              <a:gd name="connsiteY66" fmla="*/ 426720 h 906780"/>
              <a:gd name="connsiteX67" fmla="*/ 773430 w 777240"/>
              <a:gd name="connsiteY67" fmla="*/ 445770 h 906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777240" h="906780">
                <a:moveTo>
                  <a:pt x="773430" y="445770"/>
                </a:moveTo>
                <a:lnTo>
                  <a:pt x="777240" y="506730"/>
                </a:lnTo>
                <a:lnTo>
                  <a:pt x="746760" y="594360"/>
                </a:lnTo>
                <a:lnTo>
                  <a:pt x="720090" y="640080"/>
                </a:lnTo>
                <a:lnTo>
                  <a:pt x="678180" y="689610"/>
                </a:lnTo>
                <a:lnTo>
                  <a:pt x="617220" y="720090"/>
                </a:lnTo>
                <a:lnTo>
                  <a:pt x="590550" y="777240"/>
                </a:lnTo>
                <a:lnTo>
                  <a:pt x="594360" y="830580"/>
                </a:lnTo>
                <a:lnTo>
                  <a:pt x="590550" y="895350"/>
                </a:lnTo>
                <a:lnTo>
                  <a:pt x="575310" y="906780"/>
                </a:lnTo>
                <a:lnTo>
                  <a:pt x="537210" y="880110"/>
                </a:lnTo>
                <a:lnTo>
                  <a:pt x="510540" y="880110"/>
                </a:lnTo>
                <a:lnTo>
                  <a:pt x="491490" y="887730"/>
                </a:lnTo>
                <a:lnTo>
                  <a:pt x="468630" y="864870"/>
                </a:lnTo>
                <a:lnTo>
                  <a:pt x="441960" y="830580"/>
                </a:lnTo>
                <a:lnTo>
                  <a:pt x="438150" y="784860"/>
                </a:lnTo>
                <a:lnTo>
                  <a:pt x="457200" y="731520"/>
                </a:lnTo>
                <a:lnTo>
                  <a:pt x="453390" y="712470"/>
                </a:lnTo>
                <a:lnTo>
                  <a:pt x="426720" y="693420"/>
                </a:lnTo>
                <a:lnTo>
                  <a:pt x="396240" y="662940"/>
                </a:lnTo>
                <a:lnTo>
                  <a:pt x="373380" y="624840"/>
                </a:lnTo>
                <a:lnTo>
                  <a:pt x="373380" y="613410"/>
                </a:lnTo>
                <a:lnTo>
                  <a:pt x="342900" y="613410"/>
                </a:lnTo>
                <a:lnTo>
                  <a:pt x="331470" y="636270"/>
                </a:lnTo>
                <a:lnTo>
                  <a:pt x="266700" y="655320"/>
                </a:lnTo>
                <a:lnTo>
                  <a:pt x="224790" y="647700"/>
                </a:lnTo>
                <a:lnTo>
                  <a:pt x="175260" y="647700"/>
                </a:lnTo>
                <a:lnTo>
                  <a:pt x="140970" y="640080"/>
                </a:lnTo>
                <a:lnTo>
                  <a:pt x="110490" y="636270"/>
                </a:lnTo>
                <a:lnTo>
                  <a:pt x="68580" y="636270"/>
                </a:lnTo>
                <a:lnTo>
                  <a:pt x="38100" y="636270"/>
                </a:lnTo>
                <a:lnTo>
                  <a:pt x="11430" y="636270"/>
                </a:lnTo>
                <a:lnTo>
                  <a:pt x="0" y="628650"/>
                </a:lnTo>
                <a:lnTo>
                  <a:pt x="15240" y="613410"/>
                </a:lnTo>
                <a:lnTo>
                  <a:pt x="41910" y="586740"/>
                </a:lnTo>
                <a:lnTo>
                  <a:pt x="57150" y="563880"/>
                </a:lnTo>
                <a:lnTo>
                  <a:pt x="83820" y="529590"/>
                </a:lnTo>
                <a:lnTo>
                  <a:pt x="91440" y="472440"/>
                </a:lnTo>
                <a:lnTo>
                  <a:pt x="95250" y="430530"/>
                </a:lnTo>
                <a:lnTo>
                  <a:pt x="106680" y="396240"/>
                </a:lnTo>
                <a:lnTo>
                  <a:pt x="137160" y="361950"/>
                </a:lnTo>
                <a:lnTo>
                  <a:pt x="137160" y="331470"/>
                </a:lnTo>
                <a:lnTo>
                  <a:pt x="106680" y="293370"/>
                </a:lnTo>
                <a:lnTo>
                  <a:pt x="95250" y="259080"/>
                </a:lnTo>
                <a:lnTo>
                  <a:pt x="99060" y="198120"/>
                </a:lnTo>
                <a:lnTo>
                  <a:pt x="95250" y="156210"/>
                </a:lnTo>
                <a:lnTo>
                  <a:pt x="114300" y="118110"/>
                </a:lnTo>
                <a:lnTo>
                  <a:pt x="133350" y="83820"/>
                </a:lnTo>
                <a:lnTo>
                  <a:pt x="171450" y="72390"/>
                </a:lnTo>
                <a:lnTo>
                  <a:pt x="220980" y="53340"/>
                </a:lnTo>
                <a:lnTo>
                  <a:pt x="274320" y="30480"/>
                </a:lnTo>
                <a:lnTo>
                  <a:pt x="312420" y="11430"/>
                </a:lnTo>
                <a:lnTo>
                  <a:pt x="323850" y="0"/>
                </a:lnTo>
                <a:lnTo>
                  <a:pt x="339090" y="26670"/>
                </a:lnTo>
                <a:lnTo>
                  <a:pt x="381000" y="41910"/>
                </a:lnTo>
                <a:lnTo>
                  <a:pt x="419100" y="60960"/>
                </a:lnTo>
                <a:lnTo>
                  <a:pt x="449580" y="95250"/>
                </a:lnTo>
                <a:lnTo>
                  <a:pt x="461010" y="118110"/>
                </a:lnTo>
                <a:lnTo>
                  <a:pt x="510540" y="144780"/>
                </a:lnTo>
                <a:lnTo>
                  <a:pt x="560070" y="167640"/>
                </a:lnTo>
                <a:lnTo>
                  <a:pt x="598170" y="190500"/>
                </a:lnTo>
                <a:lnTo>
                  <a:pt x="643890" y="220980"/>
                </a:lnTo>
                <a:lnTo>
                  <a:pt x="674370" y="251460"/>
                </a:lnTo>
                <a:lnTo>
                  <a:pt x="697230" y="289560"/>
                </a:lnTo>
                <a:lnTo>
                  <a:pt x="704850" y="331470"/>
                </a:lnTo>
                <a:lnTo>
                  <a:pt x="704850" y="381000"/>
                </a:lnTo>
                <a:lnTo>
                  <a:pt x="716280" y="426720"/>
                </a:lnTo>
                <a:lnTo>
                  <a:pt x="773430" y="445770"/>
                </a:lnTo>
                <a:close/>
              </a:path>
            </a:pathLst>
          </a:custGeom>
          <a:solidFill>
            <a:schemeClr val="accent6">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3" name="任意多边形 42"/>
          <p:cNvSpPr/>
          <p:nvPr/>
        </p:nvSpPr>
        <p:spPr bwMode="auto">
          <a:xfrm>
            <a:off x="5031108" y="2966135"/>
            <a:ext cx="1753025" cy="1526389"/>
          </a:xfrm>
          <a:custGeom>
            <a:avLst/>
            <a:gdLst>
              <a:gd name="connsiteX0" fmla="*/ 430530 w 1371600"/>
              <a:gd name="connsiteY0" fmla="*/ 236220 h 1748790"/>
              <a:gd name="connsiteX1" fmla="*/ 483870 w 1371600"/>
              <a:gd name="connsiteY1" fmla="*/ 201930 h 1748790"/>
              <a:gd name="connsiteX2" fmla="*/ 529590 w 1371600"/>
              <a:gd name="connsiteY2" fmla="*/ 186690 h 1748790"/>
              <a:gd name="connsiteX3" fmla="*/ 556260 w 1371600"/>
              <a:gd name="connsiteY3" fmla="*/ 198120 h 1748790"/>
              <a:gd name="connsiteX4" fmla="*/ 594360 w 1371600"/>
              <a:gd name="connsiteY4" fmla="*/ 217170 h 1748790"/>
              <a:gd name="connsiteX5" fmla="*/ 617220 w 1371600"/>
              <a:gd name="connsiteY5" fmla="*/ 255270 h 1748790"/>
              <a:gd name="connsiteX6" fmla="*/ 636270 w 1371600"/>
              <a:gd name="connsiteY6" fmla="*/ 278130 h 1748790"/>
              <a:gd name="connsiteX7" fmla="*/ 670560 w 1371600"/>
              <a:gd name="connsiteY7" fmla="*/ 274320 h 1748790"/>
              <a:gd name="connsiteX8" fmla="*/ 701040 w 1371600"/>
              <a:gd name="connsiteY8" fmla="*/ 240030 h 1748790"/>
              <a:gd name="connsiteX9" fmla="*/ 720090 w 1371600"/>
              <a:gd name="connsiteY9" fmla="*/ 228600 h 1748790"/>
              <a:gd name="connsiteX10" fmla="*/ 765810 w 1371600"/>
              <a:gd name="connsiteY10" fmla="*/ 224790 h 1748790"/>
              <a:gd name="connsiteX11" fmla="*/ 800100 w 1371600"/>
              <a:gd name="connsiteY11" fmla="*/ 217170 h 1748790"/>
              <a:gd name="connsiteX12" fmla="*/ 819150 w 1371600"/>
              <a:gd name="connsiteY12" fmla="*/ 213360 h 1748790"/>
              <a:gd name="connsiteX13" fmla="*/ 822960 w 1371600"/>
              <a:gd name="connsiteY13" fmla="*/ 102870 h 1748790"/>
              <a:gd name="connsiteX14" fmla="*/ 842010 w 1371600"/>
              <a:gd name="connsiteY14" fmla="*/ 91440 h 1748790"/>
              <a:gd name="connsiteX15" fmla="*/ 861060 w 1371600"/>
              <a:gd name="connsiteY15" fmla="*/ 49530 h 1748790"/>
              <a:gd name="connsiteX16" fmla="*/ 876300 w 1371600"/>
              <a:gd name="connsiteY16" fmla="*/ 41910 h 1748790"/>
              <a:gd name="connsiteX17" fmla="*/ 925830 w 1371600"/>
              <a:gd name="connsiteY17" fmla="*/ 34290 h 1748790"/>
              <a:gd name="connsiteX18" fmla="*/ 963930 w 1371600"/>
              <a:gd name="connsiteY18" fmla="*/ 22860 h 1748790"/>
              <a:gd name="connsiteX19" fmla="*/ 1005840 w 1371600"/>
              <a:gd name="connsiteY19" fmla="*/ 15240 h 1748790"/>
              <a:gd name="connsiteX20" fmla="*/ 1009650 w 1371600"/>
              <a:gd name="connsiteY20" fmla="*/ 0 h 1748790"/>
              <a:gd name="connsiteX21" fmla="*/ 1055370 w 1371600"/>
              <a:gd name="connsiteY21" fmla="*/ 26670 h 1748790"/>
              <a:gd name="connsiteX22" fmla="*/ 1082040 w 1371600"/>
              <a:gd name="connsiteY22" fmla="*/ 41910 h 1748790"/>
              <a:gd name="connsiteX23" fmla="*/ 1093470 w 1371600"/>
              <a:gd name="connsiteY23" fmla="*/ 60960 h 1748790"/>
              <a:gd name="connsiteX24" fmla="*/ 1131570 w 1371600"/>
              <a:gd name="connsiteY24" fmla="*/ 80010 h 1748790"/>
              <a:gd name="connsiteX25" fmla="*/ 1169670 w 1371600"/>
              <a:gd name="connsiteY25" fmla="*/ 99060 h 1748790"/>
              <a:gd name="connsiteX26" fmla="*/ 1192530 w 1371600"/>
              <a:gd name="connsiteY26" fmla="*/ 125730 h 1748790"/>
              <a:gd name="connsiteX27" fmla="*/ 1200150 w 1371600"/>
              <a:gd name="connsiteY27" fmla="*/ 163830 h 1748790"/>
              <a:gd name="connsiteX28" fmla="*/ 1196340 w 1371600"/>
              <a:gd name="connsiteY28" fmla="*/ 175260 h 1748790"/>
              <a:gd name="connsiteX29" fmla="*/ 1154430 w 1371600"/>
              <a:gd name="connsiteY29" fmla="*/ 201930 h 1748790"/>
              <a:gd name="connsiteX30" fmla="*/ 1085850 w 1371600"/>
              <a:gd name="connsiteY30" fmla="*/ 217170 h 1748790"/>
              <a:gd name="connsiteX31" fmla="*/ 1043940 w 1371600"/>
              <a:gd name="connsiteY31" fmla="*/ 240030 h 1748790"/>
              <a:gd name="connsiteX32" fmla="*/ 1021080 w 1371600"/>
              <a:gd name="connsiteY32" fmla="*/ 240030 h 1748790"/>
              <a:gd name="connsiteX33" fmla="*/ 986790 w 1371600"/>
              <a:gd name="connsiteY33" fmla="*/ 293370 h 1748790"/>
              <a:gd name="connsiteX34" fmla="*/ 979170 w 1371600"/>
              <a:gd name="connsiteY34" fmla="*/ 308610 h 1748790"/>
              <a:gd name="connsiteX35" fmla="*/ 982980 w 1371600"/>
              <a:gd name="connsiteY35" fmla="*/ 350520 h 1748790"/>
              <a:gd name="connsiteX36" fmla="*/ 982980 w 1371600"/>
              <a:gd name="connsiteY36" fmla="*/ 400050 h 1748790"/>
              <a:gd name="connsiteX37" fmla="*/ 979170 w 1371600"/>
              <a:gd name="connsiteY37" fmla="*/ 419100 h 1748790"/>
              <a:gd name="connsiteX38" fmla="*/ 986790 w 1371600"/>
              <a:gd name="connsiteY38" fmla="*/ 461010 h 1748790"/>
              <a:gd name="connsiteX39" fmla="*/ 1013460 w 1371600"/>
              <a:gd name="connsiteY39" fmla="*/ 476250 h 1748790"/>
              <a:gd name="connsiteX40" fmla="*/ 1028700 w 1371600"/>
              <a:gd name="connsiteY40" fmla="*/ 521970 h 1748790"/>
              <a:gd name="connsiteX41" fmla="*/ 1009650 w 1371600"/>
              <a:gd name="connsiteY41" fmla="*/ 541020 h 1748790"/>
              <a:gd name="connsiteX42" fmla="*/ 982980 w 1371600"/>
              <a:gd name="connsiteY42" fmla="*/ 575310 h 1748790"/>
              <a:gd name="connsiteX43" fmla="*/ 979170 w 1371600"/>
              <a:gd name="connsiteY43" fmla="*/ 605790 h 1748790"/>
              <a:gd name="connsiteX44" fmla="*/ 979170 w 1371600"/>
              <a:gd name="connsiteY44" fmla="*/ 640080 h 1748790"/>
              <a:gd name="connsiteX45" fmla="*/ 971550 w 1371600"/>
              <a:gd name="connsiteY45" fmla="*/ 678180 h 1748790"/>
              <a:gd name="connsiteX46" fmla="*/ 967740 w 1371600"/>
              <a:gd name="connsiteY46" fmla="*/ 701040 h 1748790"/>
              <a:gd name="connsiteX47" fmla="*/ 944880 w 1371600"/>
              <a:gd name="connsiteY47" fmla="*/ 727710 h 1748790"/>
              <a:gd name="connsiteX48" fmla="*/ 910590 w 1371600"/>
              <a:gd name="connsiteY48" fmla="*/ 758190 h 1748790"/>
              <a:gd name="connsiteX49" fmla="*/ 910590 w 1371600"/>
              <a:gd name="connsiteY49" fmla="*/ 758190 h 1748790"/>
              <a:gd name="connsiteX50" fmla="*/ 891540 w 1371600"/>
              <a:gd name="connsiteY50" fmla="*/ 792480 h 1748790"/>
              <a:gd name="connsiteX51" fmla="*/ 929640 w 1371600"/>
              <a:gd name="connsiteY51" fmla="*/ 796290 h 1748790"/>
              <a:gd name="connsiteX52" fmla="*/ 975360 w 1371600"/>
              <a:gd name="connsiteY52" fmla="*/ 796290 h 1748790"/>
              <a:gd name="connsiteX53" fmla="*/ 1013460 w 1371600"/>
              <a:gd name="connsiteY53" fmla="*/ 796290 h 1748790"/>
              <a:gd name="connsiteX54" fmla="*/ 1043940 w 1371600"/>
              <a:gd name="connsiteY54" fmla="*/ 800100 h 1748790"/>
              <a:gd name="connsiteX55" fmla="*/ 1059180 w 1371600"/>
              <a:gd name="connsiteY55" fmla="*/ 815340 h 1748790"/>
              <a:gd name="connsiteX56" fmla="*/ 1070610 w 1371600"/>
              <a:gd name="connsiteY56" fmla="*/ 815340 h 1748790"/>
              <a:gd name="connsiteX57" fmla="*/ 1104900 w 1371600"/>
              <a:gd name="connsiteY57" fmla="*/ 815340 h 1748790"/>
              <a:gd name="connsiteX58" fmla="*/ 1135380 w 1371600"/>
              <a:gd name="connsiteY58" fmla="*/ 815340 h 1748790"/>
              <a:gd name="connsiteX59" fmla="*/ 1169670 w 1371600"/>
              <a:gd name="connsiteY59" fmla="*/ 807720 h 1748790"/>
              <a:gd name="connsiteX60" fmla="*/ 1215390 w 1371600"/>
              <a:gd name="connsiteY60" fmla="*/ 784860 h 1748790"/>
              <a:gd name="connsiteX61" fmla="*/ 1234440 w 1371600"/>
              <a:gd name="connsiteY61" fmla="*/ 765810 h 1748790"/>
              <a:gd name="connsiteX62" fmla="*/ 1264920 w 1371600"/>
              <a:gd name="connsiteY62" fmla="*/ 773430 h 1748790"/>
              <a:gd name="connsiteX63" fmla="*/ 1272540 w 1371600"/>
              <a:gd name="connsiteY63" fmla="*/ 807720 h 1748790"/>
              <a:gd name="connsiteX64" fmla="*/ 1310640 w 1371600"/>
              <a:gd name="connsiteY64" fmla="*/ 849630 h 1748790"/>
              <a:gd name="connsiteX65" fmla="*/ 1344930 w 1371600"/>
              <a:gd name="connsiteY65" fmla="*/ 876300 h 1748790"/>
              <a:gd name="connsiteX66" fmla="*/ 1344930 w 1371600"/>
              <a:gd name="connsiteY66" fmla="*/ 899160 h 1748790"/>
              <a:gd name="connsiteX67" fmla="*/ 1329690 w 1371600"/>
              <a:gd name="connsiteY67" fmla="*/ 933450 h 1748790"/>
              <a:gd name="connsiteX68" fmla="*/ 1325880 w 1371600"/>
              <a:gd name="connsiteY68" fmla="*/ 963930 h 1748790"/>
              <a:gd name="connsiteX69" fmla="*/ 1333500 w 1371600"/>
              <a:gd name="connsiteY69" fmla="*/ 986790 h 1748790"/>
              <a:gd name="connsiteX70" fmla="*/ 1352550 w 1371600"/>
              <a:gd name="connsiteY70" fmla="*/ 1024890 h 1748790"/>
              <a:gd name="connsiteX71" fmla="*/ 1371600 w 1371600"/>
              <a:gd name="connsiteY71" fmla="*/ 1047750 h 1748790"/>
              <a:gd name="connsiteX72" fmla="*/ 1371600 w 1371600"/>
              <a:gd name="connsiteY72" fmla="*/ 1062990 h 1748790"/>
              <a:gd name="connsiteX73" fmla="*/ 1283970 w 1371600"/>
              <a:gd name="connsiteY73" fmla="*/ 1097280 h 1748790"/>
              <a:gd name="connsiteX74" fmla="*/ 1215390 w 1371600"/>
              <a:gd name="connsiteY74" fmla="*/ 1120140 h 1748790"/>
              <a:gd name="connsiteX75" fmla="*/ 1154430 w 1371600"/>
              <a:gd name="connsiteY75" fmla="*/ 1123950 h 1748790"/>
              <a:gd name="connsiteX76" fmla="*/ 1104900 w 1371600"/>
              <a:gd name="connsiteY76" fmla="*/ 1131570 h 1748790"/>
              <a:gd name="connsiteX77" fmla="*/ 1089660 w 1371600"/>
              <a:gd name="connsiteY77" fmla="*/ 1162050 h 1748790"/>
              <a:gd name="connsiteX78" fmla="*/ 1085850 w 1371600"/>
              <a:gd name="connsiteY78" fmla="*/ 1207770 h 1748790"/>
              <a:gd name="connsiteX79" fmla="*/ 1085850 w 1371600"/>
              <a:gd name="connsiteY79" fmla="*/ 1253490 h 1748790"/>
              <a:gd name="connsiteX80" fmla="*/ 1066800 w 1371600"/>
              <a:gd name="connsiteY80" fmla="*/ 1283970 h 1748790"/>
              <a:gd name="connsiteX81" fmla="*/ 1043940 w 1371600"/>
              <a:gd name="connsiteY81" fmla="*/ 1310640 h 1748790"/>
              <a:gd name="connsiteX82" fmla="*/ 1021080 w 1371600"/>
              <a:gd name="connsiteY82" fmla="*/ 1337310 h 1748790"/>
              <a:gd name="connsiteX83" fmla="*/ 1002030 w 1371600"/>
              <a:gd name="connsiteY83" fmla="*/ 1363980 h 1748790"/>
              <a:gd name="connsiteX84" fmla="*/ 986790 w 1371600"/>
              <a:gd name="connsiteY84" fmla="*/ 1383030 h 1748790"/>
              <a:gd name="connsiteX85" fmla="*/ 994410 w 1371600"/>
              <a:gd name="connsiteY85" fmla="*/ 1405890 h 1748790"/>
              <a:gd name="connsiteX86" fmla="*/ 1009650 w 1371600"/>
              <a:gd name="connsiteY86" fmla="*/ 1409700 h 1748790"/>
              <a:gd name="connsiteX87" fmla="*/ 1009650 w 1371600"/>
              <a:gd name="connsiteY87" fmla="*/ 1432560 h 1748790"/>
              <a:gd name="connsiteX88" fmla="*/ 979170 w 1371600"/>
              <a:gd name="connsiteY88" fmla="*/ 1432560 h 1748790"/>
              <a:gd name="connsiteX89" fmla="*/ 937260 w 1371600"/>
              <a:gd name="connsiteY89" fmla="*/ 1436370 h 1748790"/>
              <a:gd name="connsiteX90" fmla="*/ 899160 w 1371600"/>
              <a:gd name="connsiteY90" fmla="*/ 1432560 h 1748790"/>
              <a:gd name="connsiteX91" fmla="*/ 876300 w 1371600"/>
              <a:gd name="connsiteY91" fmla="*/ 1413510 h 1748790"/>
              <a:gd name="connsiteX92" fmla="*/ 842010 w 1371600"/>
              <a:gd name="connsiteY92" fmla="*/ 1424940 h 1748790"/>
              <a:gd name="connsiteX93" fmla="*/ 830580 w 1371600"/>
              <a:gd name="connsiteY93" fmla="*/ 1463040 h 1748790"/>
              <a:gd name="connsiteX94" fmla="*/ 819150 w 1371600"/>
              <a:gd name="connsiteY94" fmla="*/ 1508760 h 1748790"/>
              <a:gd name="connsiteX95" fmla="*/ 811530 w 1371600"/>
              <a:gd name="connsiteY95" fmla="*/ 1527810 h 1748790"/>
              <a:gd name="connsiteX96" fmla="*/ 792480 w 1371600"/>
              <a:gd name="connsiteY96" fmla="*/ 1527810 h 1748790"/>
              <a:gd name="connsiteX97" fmla="*/ 769620 w 1371600"/>
              <a:gd name="connsiteY97" fmla="*/ 1531620 h 1748790"/>
              <a:gd name="connsiteX98" fmla="*/ 781050 w 1371600"/>
              <a:gd name="connsiteY98" fmla="*/ 1581150 h 1748790"/>
              <a:gd name="connsiteX99" fmla="*/ 777240 w 1371600"/>
              <a:gd name="connsiteY99" fmla="*/ 1630680 h 1748790"/>
              <a:gd name="connsiteX100" fmla="*/ 746760 w 1371600"/>
              <a:gd name="connsiteY100" fmla="*/ 1661160 h 1748790"/>
              <a:gd name="connsiteX101" fmla="*/ 723900 w 1371600"/>
              <a:gd name="connsiteY101" fmla="*/ 1706880 h 1748790"/>
              <a:gd name="connsiteX102" fmla="*/ 697230 w 1371600"/>
              <a:gd name="connsiteY102" fmla="*/ 1710690 h 1748790"/>
              <a:gd name="connsiteX103" fmla="*/ 655320 w 1371600"/>
              <a:gd name="connsiteY103" fmla="*/ 1706880 h 1748790"/>
              <a:gd name="connsiteX104" fmla="*/ 636270 w 1371600"/>
              <a:gd name="connsiteY104" fmla="*/ 1699260 h 1748790"/>
              <a:gd name="connsiteX105" fmla="*/ 617220 w 1371600"/>
              <a:gd name="connsiteY105" fmla="*/ 1722120 h 1748790"/>
              <a:gd name="connsiteX106" fmla="*/ 575310 w 1371600"/>
              <a:gd name="connsiteY106" fmla="*/ 1748790 h 1748790"/>
              <a:gd name="connsiteX107" fmla="*/ 567690 w 1371600"/>
              <a:gd name="connsiteY107" fmla="*/ 1710690 h 1748790"/>
              <a:gd name="connsiteX108" fmla="*/ 560070 w 1371600"/>
              <a:gd name="connsiteY108" fmla="*/ 1664970 h 1748790"/>
              <a:gd name="connsiteX109" fmla="*/ 552450 w 1371600"/>
              <a:gd name="connsiteY109" fmla="*/ 1626870 h 1748790"/>
              <a:gd name="connsiteX110" fmla="*/ 533400 w 1371600"/>
              <a:gd name="connsiteY110" fmla="*/ 1592580 h 1748790"/>
              <a:gd name="connsiteX111" fmla="*/ 541020 w 1371600"/>
              <a:gd name="connsiteY111" fmla="*/ 1584960 h 1748790"/>
              <a:gd name="connsiteX112" fmla="*/ 510540 w 1371600"/>
              <a:gd name="connsiteY112" fmla="*/ 1565910 h 1748790"/>
              <a:gd name="connsiteX113" fmla="*/ 510540 w 1371600"/>
              <a:gd name="connsiteY113" fmla="*/ 1535430 h 1748790"/>
              <a:gd name="connsiteX114" fmla="*/ 510540 w 1371600"/>
              <a:gd name="connsiteY114" fmla="*/ 1520190 h 1748790"/>
              <a:gd name="connsiteX115" fmla="*/ 480060 w 1371600"/>
              <a:gd name="connsiteY115" fmla="*/ 1493520 h 1748790"/>
              <a:gd name="connsiteX116" fmla="*/ 449580 w 1371600"/>
              <a:gd name="connsiteY116" fmla="*/ 1482090 h 1748790"/>
              <a:gd name="connsiteX117" fmla="*/ 400050 w 1371600"/>
              <a:gd name="connsiteY117" fmla="*/ 1482090 h 1748790"/>
              <a:gd name="connsiteX118" fmla="*/ 342900 w 1371600"/>
              <a:gd name="connsiteY118" fmla="*/ 1474470 h 1748790"/>
              <a:gd name="connsiteX119" fmla="*/ 281940 w 1371600"/>
              <a:gd name="connsiteY119" fmla="*/ 1493520 h 1748790"/>
              <a:gd name="connsiteX120" fmla="*/ 278130 w 1371600"/>
              <a:gd name="connsiteY120" fmla="*/ 1455420 h 1748790"/>
              <a:gd name="connsiteX121" fmla="*/ 278130 w 1371600"/>
              <a:gd name="connsiteY121" fmla="*/ 1379220 h 1748790"/>
              <a:gd name="connsiteX122" fmla="*/ 240030 w 1371600"/>
              <a:gd name="connsiteY122" fmla="*/ 1329690 h 1748790"/>
              <a:gd name="connsiteX123" fmla="*/ 209550 w 1371600"/>
              <a:gd name="connsiteY123" fmla="*/ 1242060 h 1748790"/>
              <a:gd name="connsiteX124" fmla="*/ 213360 w 1371600"/>
              <a:gd name="connsiteY124" fmla="*/ 1184910 h 1748790"/>
              <a:gd name="connsiteX125" fmla="*/ 220980 w 1371600"/>
              <a:gd name="connsiteY125" fmla="*/ 1131570 h 1748790"/>
              <a:gd name="connsiteX126" fmla="*/ 190500 w 1371600"/>
              <a:gd name="connsiteY126" fmla="*/ 1101090 h 1748790"/>
              <a:gd name="connsiteX127" fmla="*/ 144780 w 1371600"/>
              <a:gd name="connsiteY127" fmla="*/ 1059180 h 1748790"/>
              <a:gd name="connsiteX128" fmla="*/ 99060 w 1371600"/>
              <a:gd name="connsiteY128" fmla="*/ 1002030 h 1748790"/>
              <a:gd name="connsiteX129" fmla="*/ 68580 w 1371600"/>
              <a:gd name="connsiteY129" fmla="*/ 956310 h 1748790"/>
              <a:gd name="connsiteX130" fmla="*/ 22860 w 1371600"/>
              <a:gd name="connsiteY130" fmla="*/ 918210 h 1748790"/>
              <a:gd name="connsiteX131" fmla="*/ 3810 w 1371600"/>
              <a:gd name="connsiteY131" fmla="*/ 876300 h 1748790"/>
              <a:gd name="connsiteX132" fmla="*/ 26670 w 1371600"/>
              <a:gd name="connsiteY132" fmla="*/ 815340 h 1748790"/>
              <a:gd name="connsiteX133" fmla="*/ 7620 w 1371600"/>
              <a:gd name="connsiteY133" fmla="*/ 758190 h 1748790"/>
              <a:gd name="connsiteX134" fmla="*/ 0 w 1371600"/>
              <a:gd name="connsiteY134" fmla="*/ 701040 h 1748790"/>
              <a:gd name="connsiteX135" fmla="*/ 26670 w 1371600"/>
              <a:gd name="connsiteY135" fmla="*/ 670560 h 1748790"/>
              <a:gd name="connsiteX136" fmla="*/ 76200 w 1371600"/>
              <a:gd name="connsiteY136" fmla="*/ 651510 h 1748790"/>
              <a:gd name="connsiteX137" fmla="*/ 106680 w 1371600"/>
              <a:gd name="connsiteY137" fmla="*/ 613410 h 1748790"/>
              <a:gd name="connsiteX138" fmla="*/ 121920 w 1371600"/>
              <a:gd name="connsiteY138" fmla="*/ 548640 h 1748790"/>
              <a:gd name="connsiteX139" fmla="*/ 133350 w 1371600"/>
              <a:gd name="connsiteY139" fmla="*/ 506730 h 1748790"/>
              <a:gd name="connsiteX140" fmla="*/ 167640 w 1371600"/>
              <a:gd name="connsiteY140" fmla="*/ 480060 h 1748790"/>
              <a:gd name="connsiteX141" fmla="*/ 236220 w 1371600"/>
              <a:gd name="connsiteY141" fmla="*/ 480060 h 1748790"/>
              <a:gd name="connsiteX142" fmla="*/ 266700 w 1371600"/>
              <a:gd name="connsiteY142" fmla="*/ 464820 h 1748790"/>
              <a:gd name="connsiteX143" fmla="*/ 281940 w 1371600"/>
              <a:gd name="connsiteY143" fmla="*/ 434340 h 1748790"/>
              <a:gd name="connsiteX144" fmla="*/ 300990 w 1371600"/>
              <a:gd name="connsiteY144" fmla="*/ 384810 h 1748790"/>
              <a:gd name="connsiteX145" fmla="*/ 320040 w 1371600"/>
              <a:gd name="connsiteY145" fmla="*/ 342900 h 1748790"/>
              <a:gd name="connsiteX146" fmla="*/ 342900 w 1371600"/>
              <a:gd name="connsiteY146" fmla="*/ 312420 h 1748790"/>
              <a:gd name="connsiteX147" fmla="*/ 361950 w 1371600"/>
              <a:gd name="connsiteY147" fmla="*/ 293370 h 1748790"/>
              <a:gd name="connsiteX148" fmla="*/ 411480 w 1371600"/>
              <a:gd name="connsiteY148" fmla="*/ 293370 h 1748790"/>
              <a:gd name="connsiteX149" fmla="*/ 430530 w 1371600"/>
              <a:gd name="connsiteY149" fmla="*/ 236220 h 1748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371600" h="1748790">
                <a:moveTo>
                  <a:pt x="430530" y="236220"/>
                </a:moveTo>
                <a:lnTo>
                  <a:pt x="483870" y="201930"/>
                </a:lnTo>
                <a:lnTo>
                  <a:pt x="529590" y="186690"/>
                </a:lnTo>
                <a:lnTo>
                  <a:pt x="556260" y="198120"/>
                </a:lnTo>
                <a:lnTo>
                  <a:pt x="594360" y="217170"/>
                </a:lnTo>
                <a:lnTo>
                  <a:pt x="617220" y="255270"/>
                </a:lnTo>
                <a:lnTo>
                  <a:pt x="636270" y="278130"/>
                </a:lnTo>
                <a:lnTo>
                  <a:pt x="670560" y="274320"/>
                </a:lnTo>
                <a:lnTo>
                  <a:pt x="701040" y="240030"/>
                </a:lnTo>
                <a:lnTo>
                  <a:pt x="720090" y="228600"/>
                </a:lnTo>
                <a:lnTo>
                  <a:pt x="765810" y="224790"/>
                </a:lnTo>
                <a:lnTo>
                  <a:pt x="800100" y="217170"/>
                </a:lnTo>
                <a:lnTo>
                  <a:pt x="819150" y="213360"/>
                </a:lnTo>
                <a:lnTo>
                  <a:pt x="822960" y="102870"/>
                </a:lnTo>
                <a:lnTo>
                  <a:pt x="842010" y="91440"/>
                </a:lnTo>
                <a:lnTo>
                  <a:pt x="861060" y="49530"/>
                </a:lnTo>
                <a:lnTo>
                  <a:pt x="876300" y="41910"/>
                </a:lnTo>
                <a:lnTo>
                  <a:pt x="925830" y="34290"/>
                </a:lnTo>
                <a:lnTo>
                  <a:pt x="963930" y="22860"/>
                </a:lnTo>
                <a:lnTo>
                  <a:pt x="1005840" y="15240"/>
                </a:lnTo>
                <a:lnTo>
                  <a:pt x="1009650" y="0"/>
                </a:lnTo>
                <a:lnTo>
                  <a:pt x="1055370" y="26670"/>
                </a:lnTo>
                <a:lnTo>
                  <a:pt x="1082040" y="41910"/>
                </a:lnTo>
                <a:lnTo>
                  <a:pt x="1093470" y="60960"/>
                </a:lnTo>
                <a:lnTo>
                  <a:pt x="1131570" y="80010"/>
                </a:lnTo>
                <a:lnTo>
                  <a:pt x="1169670" y="99060"/>
                </a:lnTo>
                <a:lnTo>
                  <a:pt x="1192530" y="125730"/>
                </a:lnTo>
                <a:lnTo>
                  <a:pt x="1200150" y="163830"/>
                </a:lnTo>
                <a:lnTo>
                  <a:pt x="1196340" y="175260"/>
                </a:lnTo>
                <a:lnTo>
                  <a:pt x="1154430" y="201930"/>
                </a:lnTo>
                <a:lnTo>
                  <a:pt x="1085850" y="217170"/>
                </a:lnTo>
                <a:lnTo>
                  <a:pt x="1043940" y="240030"/>
                </a:lnTo>
                <a:lnTo>
                  <a:pt x="1021080" y="240030"/>
                </a:lnTo>
                <a:lnTo>
                  <a:pt x="986790" y="293370"/>
                </a:lnTo>
                <a:lnTo>
                  <a:pt x="979170" y="308610"/>
                </a:lnTo>
                <a:lnTo>
                  <a:pt x="982980" y="350520"/>
                </a:lnTo>
                <a:lnTo>
                  <a:pt x="982980" y="400050"/>
                </a:lnTo>
                <a:lnTo>
                  <a:pt x="979170" y="419100"/>
                </a:lnTo>
                <a:lnTo>
                  <a:pt x="986790" y="461010"/>
                </a:lnTo>
                <a:lnTo>
                  <a:pt x="1013460" y="476250"/>
                </a:lnTo>
                <a:lnTo>
                  <a:pt x="1028700" y="521970"/>
                </a:lnTo>
                <a:lnTo>
                  <a:pt x="1009650" y="541020"/>
                </a:lnTo>
                <a:lnTo>
                  <a:pt x="982980" y="575310"/>
                </a:lnTo>
                <a:lnTo>
                  <a:pt x="979170" y="605790"/>
                </a:lnTo>
                <a:lnTo>
                  <a:pt x="979170" y="640080"/>
                </a:lnTo>
                <a:lnTo>
                  <a:pt x="971550" y="678180"/>
                </a:lnTo>
                <a:lnTo>
                  <a:pt x="967740" y="701040"/>
                </a:lnTo>
                <a:lnTo>
                  <a:pt x="944880" y="727710"/>
                </a:lnTo>
                <a:lnTo>
                  <a:pt x="910590" y="758190"/>
                </a:lnTo>
                <a:lnTo>
                  <a:pt x="910590" y="758190"/>
                </a:lnTo>
                <a:lnTo>
                  <a:pt x="891540" y="792480"/>
                </a:lnTo>
                <a:lnTo>
                  <a:pt x="929640" y="796290"/>
                </a:lnTo>
                <a:lnTo>
                  <a:pt x="975360" y="796290"/>
                </a:lnTo>
                <a:lnTo>
                  <a:pt x="1013460" y="796290"/>
                </a:lnTo>
                <a:lnTo>
                  <a:pt x="1043940" y="800100"/>
                </a:lnTo>
                <a:lnTo>
                  <a:pt x="1059180" y="815340"/>
                </a:lnTo>
                <a:lnTo>
                  <a:pt x="1070610" y="815340"/>
                </a:lnTo>
                <a:lnTo>
                  <a:pt x="1104900" y="815340"/>
                </a:lnTo>
                <a:lnTo>
                  <a:pt x="1135380" y="815340"/>
                </a:lnTo>
                <a:lnTo>
                  <a:pt x="1169670" y="807720"/>
                </a:lnTo>
                <a:lnTo>
                  <a:pt x="1215390" y="784860"/>
                </a:lnTo>
                <a:lnTo>
                  <a:pt x="1234440" y="765810"/>
                </a:lnTo>
                <a:lnTo>
                  <a:pt x="1264920" y="773430"/>
                </a:lnTo>
                <a:lnTo>
                  <a:pt x="1272540" y="807720"/>
                </a:lnTo>
                <a:lnTo>
                  <a:pt x="1310640" y="849630"/>
                </a:lnTo>
                <a:lnTo>
                  <a:pt x="1344930" y="876300"/>
                </a:lnTo>
                <a:lnTo>
                  <a:pt x="1344930" y="899160"/>
                </a:lnTo>
                <a:lnTo>
                  <a:pt x="1329690" y="933450"/>
                </a:lnTo>
                <a:lnTo>
                  <a:pt x="1325880" y="963930"/>
                </a:lnTo>
                <a:lnTo>
                  <a:pt x="1333500" y="986790"/>
                </a:lnTo>
                <a:lnTo>
                  <a:pt x="1352550" y="1024890"/>
                </a:lnTo>
                <a:lnTo>
                  <a:pt x="1371600" y="1047750"/>
                </a:lnTo>
                <a:lnTo>
                  <a:pt x="1371600" y="1062990"/>
                </a:lnTo>
                <a:lnTo>
                  <a:pt x="1283970" y="1097280"/>
                </a:lnTo>
                <a:lnTo>
                  <a:pt x="1215390" y="1120140"/>
                </a:lnTo>
                <a:lnTo>
                  <a:pt x="1154430" y="1123950"/>
                </a:lnTo>
                <a:lnTo>
                  <a:pt x="1104900" y="1131570"/>
                </a:lnTo>
                <a:lnTo>
                  <a:pt x="1089660" y="1162050"/>
                </a:lnTo>
                <a:lnTo>
                  <a:pt x="1085850" y="1207770"/>
                </a:lnTo>
                <a:lnTo>
                  <a:pt x="1085850" y="1253490"/>
                </a:lnTo>
                <a:lnTo>
                  <a:pt x="1066800" y="1283970"/>
                </a:lnTo>
                <a:lnTo>
                  <a:pt x="1043940" y="1310640"/>
                </a:lnTo>
                <a:lnTo>
                  <a:pt x="1021080" y="1337310"/>
                </a:lnTo>
                <a:lnTo>
                  <a:pt x="1002030" y="1363980"/>
                </a:lnTo>
                <a:lnTo>
                  <a:pt x="986790" y="1383030"/>
                </a:lnTo>
                <a:lnTo>
                  <a:pt x="994410" y="1405890"/>
                </a:lnTo>
                <a:lnTo>
                  <a:pt x="1009650" y="1409700"/>
                </a:lnTo>
                <a:lnTo>
                  <a:pt x="1009650" y="1432560"/>
                </a:lnTo>
                <a:lnTo>
                  <a:pt x="979170" y="1432560"/>
                </a:lnTo>
                <a:lnTo>
                  <a:pt x="937260" y="1436370"/>
                </a:lnTo>
                <a:lnTo>
                  <a:pt x="899160" y="1432560"/>
                </a:lnTo>
                <a:lnTo>
                  <a:pt x="876300" y="1413510"/>
                </a:lnTo>
                <a:lnTo>
                  <a:pt x="842010" y="1424940"/>
                </a:lnTo>
                <a:lnTo>
                  <a:pt x="830580" y="1463040"/>
                </a:lnTo>
                <a:lnTo>
                  <a:pt x="819150" y="1508760"/>
                </a:lnTo>
                <a:lnTo>
                  <a:pt x="811530" y="1527810"/>
                </a:lnTo>
                <a:lnTo>
                  <a:pt x="792480" y="1527810"/>
                </a:lnTo>
                <a:lnTo>
                  <a:pt x="769620" y="1531620"/>
                </a:lnTo>
                <a:lnTo>
                  <a:pt x="781050" y="1581150"/>
                </a:lnTo>
                <a:lnTo>
                  <a:pt x="777240" y="1630680"/>
                </a:lnTo>
                <a:lnTo>
                  <a:pt x="746760" y="1661160"/>
                </a:lnTo>
                <a:lnTo>
                  <a:pt x="723900" y="1706880"/>
                </a:lnTo>
                <a:lnTo>
                  <a:pt x="697230" y="1710690"/>
                </a:lnTo>
                <a:lnTo>
                  <a:pt x="655320" y="1706880"/>
                </a:lnTo>
                <a:lnTo>
                  <a:pt x="636270" y="1699260"/>
                </a:lnTo>
                <a:lnTo>
                  <a:pt x="617220" y="1722120"/>
                </a:lnTo>
                <a:lnTo>
                  <a:pt x="575310" y="1748790"/>
                </a:lnTo>
                <a:lnTo>
                  <a:pt x="567690" y="1710690"/>
                </a:lnTo>
                <a:lnTo>
                  <a:pt x="560070" y="1664970"/>
                </a:lnTo>
                <a:lnTo>
                  <a:pt x="552450" y="1626870"/>
                </a:lnTo>
                <a:lnTo>
                  <a:pt x="533400" y="1592580"/>
                </a:lnTo>
                <a:lnTo>
                  <a:pt x="541020" y="1584960"/>
                </a:lnTo>
                <a:lnTo>
                  <a:pt x="510540" y="1565910"/>
                </a:lnTo>
                <a:lnTo>
                  <a:pt x="510540" y="1535430"/>
                </a:lnTo>
                <a:lnTo>
                  <a:pt x="510540" y="1520190"/>
                </a:lnTo>
                <a:lnTo>
                  <a:pt x="480060" y="1493520"/>
                </a:lnTo>
                <a:lnTo>
                  <a:pt x="449580" y="1482090"/>
                </a:lnTo>
                <a:lnTo>
                  <a:pt x="400050" y="1482090"/>
                </a:lnTo>
                <a:lnTo>
                  <a:pt x="342900" y="1474470"/>
                </a:lnTo>
                <a:lnTo>
                  <a:pt x="281940" y="1493520"/>
                </a:lnTo>
                <a:lnTo>
                  <a:pt x="278130" y="1455420"/>
                </a:lnTo>
                <a:lnTo>
                  <a:pt x="278130" y="1379220"/>
                </a:lnTo>
                <a:lnTo>
                  <a:pt x="240030" y="1329690"/>
                </a:lnTo>
                <a:lnTo>
                  <a:pt x="209550" y="1242060"/>
                </a:lnTo>
                <a:lnTo>
                  <a:pt x="213360" y="1184910"/>
                </a:lnTo>
                <a:lnTo>
                  <a:pt x="220980" y="1131570"/>
                </a:lnTo>
                <a:lnTo>
                  <a:pt x="190500" y="1101090"/>
                </a:lnTo>
                <a:lnTo>
                  <a:pt x="144780" y="1059180"/>
                </a:lnTo>
                <a:lnTo>
                  <a:pt x="99060" y="1002030"/>
                </a:lnTo>
                <a:lnTo>
                  <a:pt x="68580" y="956310"/>
                </a:lnTo>
                <a:lnTo>
                  <a:pt x="22860" y="918210"/>
                </a:lnTo>
                <a:lnTo>
                  <a:pt x="3810" y="876300"/>
                </a:lnTo>
                <a:lnTo>
                  <a:pt x="26670" y="815340"/>
                </a:lnTo>
                <a:lnTo>
                  <a:pt x="7620" y="758190"/>
                </a:lnTo>
                <a:lnTo>
                  <a:pt x="0" y="701040"/>
                </a:lnTo>
                <a:lnTo>
                  <a:pt x="26670" y="670560"/>
                </a:lnTo>
                <a:lnTo>
                  <a:pt x="76200" y="651510"/>
                </a:lnTo>
                <a:lnTo>
                  <a:pt x="106680" y="613410"/>
                </a:lnTo>
                <a:lnTo>
                  <a:pt x="121920" y="548640"/>
                </a:lnTo>
                <a:lnTo>
                  <a:pt x="133350" y="506730"/>
                </a:lnTo>
                <a:lnTo>
                  <a:pt x="167640" y="480060"/>
                </a:lnTo>
                <a:lnTo>
                  <a:pt x="236220" y="480060"/>
                </a:lnTo>
                <a:lnTo>
                  <a:pt x="266700" y="464820"/>
                </a:lnTo>
                <a:lnTo>
                  <a:pt x="281940" y="434340"/>
                </a:lnTo>
                <a:lnTo>
                  <a:pt x="300990" y="384810"/>
                </a:lnTo>
                <a:lnTo>
                  <a:pt x="320040" y="342900"/>
                </a:lnTo>
                <a:lnTo>
                  <a:pt x="342900" y="312420"/>
                </a:lnTo>
                <a:lnTo>
                  <a:pt x="361950" y="293370"/>
                </a:lnTo>
                <a:lnTo>
                  <a:pt x="411480" y="293370"/>
                </a:lnTo>
                <a:lnTo>
                  <a:pt x="430530" y="236220"/>
                </a:lnTo>
                <a:close/>
              </a:path>
            </a:pathLst>
          </a:custGeom>
          <a:solidFill>
            <a:schemeClr val="accent3">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4" name="任意多边形 43"/>
          <p:cNvSpPr/>
          <p:nvPr/>
        </p:nvSpPr>
        <p:spPr bwMode="auto">
          <a:xfrm>
            <a:off x="4450824" y="3717545"/>
            <a:ext cx="949556" cy="694569"/>
          </a:xfrm>
          <a:custGeom>
            <a:avLst/>
            <a:gdLst>
              <a:gd name="connsiteX0" fmla="*/ 461010 w 742950"/>
              <a:gd name="connsiteY0" fmla="*/ 11430 h 796290"/>
              <a:gd name="connsiteX1" fmla="*/ 472440 w 742950"/>
              <a:gd name="connsiteY1" fmla="*/ 68580 h 796290"/>
              <a:gd name="connsiteX2" fmla="*/ 521970 w 742950"/>
              <a:gd name="connsiteY2" fmla="*/ 95250 h 796290"/>
              <a:gd name="connsiteX3" fmla="*/ 556260 w 742950"/>
              <a:gd name="connsiteY3" fmla="*/ 148590 h 796290"/>
              <a:gd name="connsiteX4" fmla="*/ 617220 w 742950"/>
              <a:gd name="connsiteY4" fmla="*/ 213360 h 796290"/>
              <a:gd name="connsiteX5" fmla="*/ 674370 w 742950"/>
              <a:gd name="connsiteY5" fmla="*/ 278130 h 796290"/>
              <a:gd name="connsiteX6" fmla="*/ 662940 w 742950"/>
              <a:gd name="connsiteY6" fmla="*/ 342900 h 796290"/>
              <a:gd name="connsiteX7" fmla="*/ 662940 w 742950"/>
              <a:gd name="connsiteY7" fmla="*/ 381000 h 796290"/>
              <a:gd name="connsiteX8" fmla="*/ 678180 w 742950"/>
              <a:gd name="connsiteY8" fmla="*/ 430530 h 796290"/>
              <a:gd name="connsiteX9" fmla="*/ 693420 w 742950"/>
              <a:gd name="connsiteY9" fmla="*/ 472440 h 796290"/>
              <a:gd name="connsiteX10" fmla="*/ 735330 w 742950"/>
              <a:gd name="connsiteY10" fmla="*/ 518160 h 796290"/>
              <a:gd name="connsiteX11" fmla="*/ 735330 w 742950"/>
              <a:gd name="connsiteY11" fmla="*/ 575310 h 796290"/>
              <a:gd name="connsiteX12" fmla="*/ 742950 w 742950"/>
              <a:gd name="connsiteY12" fmla="*/ 640080 h 796290"/>
              <a:gd name="connsiteX13" fmla="*/ 731520 w 742950"/>
              <a:gd name="connsiteY13" fmla="*/ 754380 h 796290"/>
              <a:gd name="connsiteX14" fmla="*/ 674370 w 742950"/>
              <a:gd name="connsiteY14" fmla="*/ 720090 h 796290"/>
              <a:gd name="connsiteX15" fmla="*/ 640080 w 742950"/>
              <a:gd name="connsiteY15" fmla="*/ 727710 h 796290"/>
              <a:gd name="connsiteX16" fmla="*/ 601980 w 742950"/>
              <a:gd name="connsiteY16" fmla="*/ 758190 h 796290"/>
              <a:gd name="connsiteX17" fmla="*/ 579120 w 742950"/>
              <a:gd name="connsiteY17" fmla="*/ 739140 h 796290"/>
              <a:gd name="connsiteX18" fmla="*/ 556260 w 742950"/>
              <a:gd name="connsiteY18" fmla="*/ 796290 h 796290"/>
              <a:gd name="connsiteX19" fmla="*/ 480060 w 742950"/>
              <a:gd name="connsiteY19" fmla="*/ 765810 h 796290"/>
              <a:gd name="connsiteX20" fmla="*/ 426720 w 742950"/>
              <a:gd name="connsiteY20" fmla="*/ 727710 h 796290"/>
              <a:gd name="connsiteX21" fmla="*/ 403860 w 742950"/>
              <a:gd name="connsiteY21" fmla="*/ 701040 h 796290"/>
              <a:gd name="connsiteX22" fmla="*/ 419100 w 742950"/>
              <a:gd name="connsiteY22" fmla="*/ 655320 h 796290"/>
              <a:gd name="connsiteX23" fmla="*/ 411480 w 742950"/>
              <a:gd name="connsiteY23" fmla="*/ 617220 h 796290"/>
              <a:gd name="connsiteX24" fmla="*/ 373380 w 742950"/>
              <a:gd name="connsiteY24" fmla="*/ 582930 h 796290"/>
              <a:gd name="connsiteX25" fmla="*/ 327660 w 742950"/>
              <a:gd name="connsiteY25" fmla="*/ 548640 h 796290"/>
              <a:gd name="connsiteX26" fmla="*/ 300990 w 742950"/>
              <a:gd name="connsiteY26" fmla="*/ 514350 h 796290"/>
              <a:gd name="connsiteX27" fmla="*/ 289560 w 742950"/>
              <a:gd name="connsiteY27" fmla="*/ 464820 h 796290"/>
              <a:gd name="connsiteX28" fmla="*/ 247650 w 742950"/>
              <a:gd name="connsiteY28" fmla="*/ 445770 h 796290"/>
              <a:gd name="connsiteX29" fmla="*/ 213360 w 742950"/>
              <a:gd name="connsiteY29" fmla="*/ 415290 h 796290"/>
              <a:gd name="connsiteX30" fmla="*/ 171450 w 742950"/>
              <a:gd name="connsiteY30" fmla="*/ 373380 h 796290"/>
              <a:gd name="connsiteX31" fmla="*/ 152400 w 742950"/>
              <a:gd name="connsiteY31" fmla="*/ 335280 h 796290"/>
              <a:gd name="connsiteX32" fmla="*/ 133350 w 742950"/>
              <a:gd name="connsiteY32" fmla="*/ 308610 h 796290"/>
              <a:gd name="connsiteX33" fmla="*/ 95250 w 742950"/>
              <a:gd name="connsiteY33" fmla="*/ 285750 h 796290"/>
              <a:gd name="connsiteX34" fmla="*/ 38100 w 742950"/>
              <a:gd name="connsiteY34" fmla="*/ 205740 h 796290"/>
              <a:gd name="connsiteX35" fmla="*/ 7620 w 742950"/>
              <a:gd name="connsiteY35" fmla="*/ 152400 h 796290"/>
              <a:gd name="connsiteX36" fmla="*/ 0 w 742950"/>
              <a:gd name="connsiteY36" fmla="*/ 118110 h 796290"/>
              <a:gd name="connsiteX37" fmla="*/ 34290 w 742950"/>
              <a:gd name="connsiteY37" fmla="*/ 91440 h 796290"/>
              <a:gd name="connsiteX38" fmla="*/ 95250 w 742950"/>
              <a:gd name="connsiteY38" fmla="*/ 72390 h 796290"/>
              <a:gd name="connsiteX39" fmla="*/ 167640 w 742950"/>
              <a:gd name="connsiteY39" fmla="*/ 72390 h 796290"/>
              <a:gd name="connsiteX40" fmla="*/ 236220 w 742950"/>
              <a:gd name="connsiteY40" fmla="*/ 64770 h 796290"/>
              <a:gd name="connsiteX41" fmla="*/ 281940 w 742950"/>
              <a:gd name="connsiteY41" fmla="*/ 41910 h 796290"/>
              <a:gd name="connsiteX42" fmla="*/ 335280 w 742950"/>
              <a:gd name="connsiteY42" fmla="*/ 19050 h 796290"/>
              <a:gd name="connsiteX43" fmla="*/ 369570 w 742950"/>
              <a:gd name="connsiteY43" fmla="*/ 0 h 796290"/>
              <a:gd name="connsiteX44" fmla="*/ 400050 w 742950"/>
              <a:gd name="connsiteY44" fmla="*/ 0 h 796290"/>
              <a:gd name="connsiteX45" fmla="*/ 461010 w 742950"/>
              <a:gd name="connsiteY45" fmla="*/ 11430 h 796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42950" h="796290">
                <a:moveTo>
                  <a:pt x="461010" y="11430"/>
                </a:moveTo>
                <a:lnTo>
                  <a:pt x="472440" y="68580"/>
                </a:lnTo>
                <a:lnTo>
                  <a:pt x="521970" y="95250"/>
                </a:lnTo>
                <a:lnTo>
                  <a:pt x="556260" y="148590"/>
                </a:lnTo>
                <a:lnTo>
                  <a:pt x="617220" y="213360"/>
                </a:lnTo>
                <a:lnTo>
                  <a:pt x="674370" y="278130"/>
                </a:lnTo>
                <a:lnTo>
                  <a:pt x="662940" y="342900"/>
                </a:lnTo>
                <a:lnTo>
                  <a:pt x="662940" y="381000"/>
                </a:lnTo>
                <a:lnTo>
                  <a:pt x="678180" y="430530"/>
                </a:lnTo>
                <a:lnTo>
                  <a:pt x="693420" y="472440"/>
                </a:lnTo>
                <a:lnTo>
                  <a:pt x="735330" y="518160"/>
                </a:lnTo>
                <a:lnTo>
                  <a:pt x="735330" y="575310"/>
                </a:lnTo>
                <a:lnTo>
                  <a:pt x="742950" y="640080"/>
                </a:lnTo>
                <a:lnTo>
                  <a:pt x="731520" y="754380"/>
                </a:lnTo>
                <a:lnTo>
                  <a:pt x="674370" y="720090"/>
                </a:lnTo>
                <a:lnTo>
                  <a:pt x="640080" y="727710"/>
                </a:lnTo>
                <a:lnTo>
                  <a:pt x="601980" y="758190"/>
                </a:lnTo>
                <a:lnTo>
                  <a:pt x="579120" y="739140"/>
                </a:lnTo>
                <a:lnTo>
                  <a:pt x="556260" y="796290"/>
                </a:lnTo>
                <a:lnTo>
                  <a:pt x="480060" y="765810"/>
                </a:lnTo>
                <a:lnTo>
                  <a:pt x="426720" y="727710"/>
                </a:lnTo>
                <a:lnTo>
                  <a:pt x="403860" y="701040"/>
                </a:lnTo>
                <a:lnTo>
                  <a:pt x="419100" y="655320"/>
                </a:lnTo>
                <a:lnTo>
                  <a:pt x="411480" y="617220"/>
                </a:lnTo>
                <a:lnTo>
                  <a:pt x="373380" y="582930"/>
                </a:lnTo>
                <a:lnTo>
                  <a:pt x="327660" y="548640"/>
                </a:lnTo>
                <a:lnTo>
                  <a:pt x="300990" y="514350"/>
                </a:lnTo>
                <a:lnTo>
                  <a:pt x="289560" y="464820"/>
                </a:lnTo>
                <a:lnTo>
                  <a:pt x="247650" y="445770"/>
                </a:lnTo>
                <a:lnTo>
                  <a:pt x="213360" y="415290"/>
                </a:lnTo>
                <a:lnTo>
                  <a:pt x="171450" y="373380"/>
                </a:lnTo>
                <a:lnTo>
                  <a:pt x="152400" y="335280"/>
                </a:lnTo>
                <a:lnTo>
                  <a:pt x="133350" y="308610"/>
                </a:lnTo>
                <a:lnTo>
                  <a:pt x="95250" y="285750"/>
                </a:lnTo>
                <a:lnTo>
                  <a:pt x="38100" y="205740"/>
                </a:lnTo>
                <a:lnTo>
                  <a:pt x="7620" y="152400"/>
                </a:lnTo>
                <a:lnTo>
                  <a:pt x="0" y="118110"/>
                </a:lnTo>
                <a:lnTo>
                  <a:pt x="34290" y="91440"/>
                </a:lnTo>
                <a:lnTo>
                  <a:pt x="95250" y="72390"/>
                </a:lnTo>
                <a:lnTo>
                  <a:pt x="167640" y="72390"/>
                </a:lnTo>
                <a:lnTo>
                  <a:pt x="236220" y="64770"/>
                </a:lnTo>
                <a:lnTo>
                  <a:pt x="281940" y="41910"/>
                </a:lnTo>
                <a:lnTo>
                  <a:pt x="335280" y="19050"/>
                </a:lnTo>
                <a:lnTo>
                  <a:pt x="369570" y="0"/>
                </a:lnTo>
                <a:lnTo>
                  <a:pt x="400050" y="0"/>
                </a:lnTo>
                <a:lnTo>
                  <a:pt x="461010" y="11430"/>
                </a:lnTo>
                <a:close/>
              </a:path>
            </a:pathLst>
          </a:cu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5" name="任意多边形 44"/>
          <p:cNvSpPr/>
          <p:nvPr/>
        </p:nvSpPr>
        <p:spPr bwMode="auto">
          <a:xfrm>
            <a:off x="3736627" y="2740157"/>
            <a:ext cx="1844331" cy="708432"/>
          </a:xfrm>
          <a:custGeom>
            <a:avLst/>
            <a:gdLst>
              <a:gd name="connsiteX0" fmla="*/ 944880 w 1443990"/>
              <a:gd name="connsiteY0" fmla="*/ 0 h 811530"/>
              <a:gd name="connsiteX1" fmla="*/ 952500 w 1443990"/>
              <a:gd name="connsiteY1" fmla="*/ 49530 h 811530"/>
              <a:gd name="connsiteX2" fmla="*/ 971550 w 1443990"/>
              <a:gd name="connsiteY2" fmla="*/ 102870 h 811530"/>
              <a:gd name="connsiteX3" fmla="*/ 994410 w 1443990"/>
              <a:gd name="connsiteY3" fmla="*/ 129540 h 811530"/>
              <a:gd name="connsiteX4" fmla="*/ 1009650 w 1443990"/>
              <a:gd name="connsiteY4" fmla="*/ 148590 h 811530"/>
              <a:gd name="connsiteX5" fmla="*/ 1013460 w 1443990"/>
              <a:gd name="connsiteY5" fmla="*/ 186690 h 811530"/>
              <a:gd name="connsiteX6" fmla="*/ 1024890 w 1443990"/>
              <a:gd name="connsiteY6" fmla="*/ 236220 h 811530"/>
              <a:gd name="connsiteX7" fmla="*/ 1040130 w 1443990"/>
              <a:gd name="connsiteY7" fmla="*/ 293370 h 811530"/>
              <a:gd name="connsiteX8" fmla="*/ 1047750 w 1443990"/>
              <a:gd name="connsiteY8" fmla="*/ 323850 h 811530"/>
              <a:gd name="connsiteX9" fmla="*/ 1070610 w 1443990"/>
              <a:gd name="connsiteY9" fmla="*/ 327660 h 811530"/>
              <a:gd name="connsiteX10" fmla="*/ 1116330 w 1443990"/>
              <a:gd name="connsiteY10" fmla="*/ 331470 h 811530"/>
              <a:gd name="connsiteX11" fmla="*/ 1162050 w 1443990"/>
              <a:gd name="connsiteY11" fmla="*/ 373380 h 811530"/>
              <a:gd name="connsiteX12" fmla="*/ 1238250 w 1443990"/>
              <a:gd name="connsiteY12" fmla="*/ 373380 h 811530"/>
              <a:gd name="connsiteX13" fmla="*/ 1310640 w 1443990"/>
              <a:gd name="connsiteY13" fmla="*/ 381000 h 811530"/>
              <a:gd name="connsiteX14" fmla="*/ 1318260 w 1443990"/>
              <a:gd name="connsiteY14" fmla="*/ 411480 h 811530"/>
              <a:gd name="connsiteX15" fmla="*/ 1383030 w 1443990"/>
              <a:gd name="connsiteY15" fmla="*/ 441960 h 811530"/>
              <a:gd name="connsiteX16" fmla="*/ 1443990 w 1443990"/>
              <a:gd name="connsiteY16" fmla="*/ 499110 h 811530"/>
              <a:gd name="connsiteX17" fmla="*/ 1424940 w 1443990"/>
              <a:gd name="connsiteY17" fmla="*/ 560070 h 811530"/>
              <a:gd name="connsiteX18" fmla="*/ 1379220 w 1443990"/>
              <a:gd name="connsiteY18" fmla="*/ 560070 h 811530"/>
              <a:gd name="connsiteX19" fmla="*/ 1333500 w 1443990"/>
              <a:gd name="connsiteY19" fmla="*/ 601980 h 811530"/>
              <a:gd name="connsiteX20" fmla="*/ 1310640 w 1443990"/>
              <a:gd name="connsiteY20" fmla="*/ 662940 h 811530"/>
              <a:gd name="connsiteX21" fmla="*/ 1287780 w 1443990"/>
              <a:gd name="connsiteY21" fmla="*/ 716280 h 811530"/>
              <a:gd name="connsiteX22" fmla="*/ 1253490 w 1443990"/>
              <a:gd name="connsiteY22" fmla="*/ 750570 h 811530"/>
              <a:gd name="connsiteX23" fmla="*/ 1200150 w 1443990"/>
              <a:gd name="connsiteY23" fmla="*/ 746760 h 811530"/>
              <a:gd name="connsiteX24" fmla="*/ 1200150 w 1443990"/>
              <a:gd name="connsiteY24" fmla="*/ 746760 h 811530"/>
              <a:gd name="connsiteX25" fmla="*/ 1177290 w 1443990"/>
              <a:gd name="connsiteY25" fmla="*/ 742950 h 811530"/>
              <a:gd name="connsiteX26" fmla="*/ 1146810 w 1443990"/>
              <a:gd name="connsiteY26" fmla="*/ 773430 h 811530"/>
              <a:gd name="connsiteX27" fmla="*/ 1120140 w 1443990"/>
              <a:gd name="connsiteY27" fmla="*/ 811530 h 811530"/>
              <a:gd name="connsiteX28" fmla="*/ 1097280 w 1443990"/>
              <a:gd name="connsiteY28" fmla="*/ 735330 h 811530"/>
              <a:gd name="connsiteX29" fmla="*/ 998220 w 1443990"/>
              <a:gd name="connsiteY29" fmla="*/ 651510 h 811530"/>
              <a:gd name="connsiteX30" fmla="*/ 952500 w 1443990"/>
              <a:gd name="connsiteY30" fmla="*/ 632460 h 811530"/>
              <a:gd name="connsiteX31" fmla="*/ 876300 w 1443990"/>
              <a:gd name="connsiteY31" fmla="*/ 647700 h 811530"/>
              <a:gd name="connsiteX32" fmla="*/ 773430 w 1443990"/>
              <a:gd name="connsiteY32" fmla="*/ 632460 h 811530"/>
              <a:gd name="connsiteX33" fmla="*/ 716280 w 1443990"/>
              <a:gd name="connsiteY33" fmla="*/ 621030 h 811530"/>
              <a:gd name="connsiteX34" fmla="*/ 681990 w 1443990"/>
              <a:gd name="connsiteY34" fmla="*/ 643890 h 811530"/>
              <a:gd name="connsiteX35" fmla="*/ 659130 w 1443990"/>
              <a:gd name="connsiteY35" fmla="*/ 666750 h 811530"/>
              <a:gd name="connsiteX36" fmla="*/ 621030 w 1443990"/>
              <a:gd name="connsiteY36" fmla="*/ 708660 h 811530"/>
              <a:gd name="connsiteX37" fmla="*/ 571500 w 1443990"/>
              <a:gd name="connsiteY37" fmla="*/ 727710 h 811530"/>
              <a:gd name="connsiteX38" fmla="*/ 502920 w 1443990"/>
              <a:gd name="connsiteY38" fmla="*/ 716280 h 811530"/>
              <a:gd name="connsiteX39" fmla="*/ 434340 w 1443990"/>
              <a:gd name="connsiteY39" fmla="*/ 689610 h 811530"/>
              <a:gd name="connsiteX40" fmla="*/ 445770 w 1443990"/>
              <a:gd name="connsiteY40" fmla="*/ 655320 h 811530"/>
              <a:gd name="connsiteX41" fmla="*/ 461010 w 1443990"/>
              <a:gd name="connsiteY41" fmla="*/ 598170 h 811530"/>
              <a:gd name="connsiteX42" fmla="*/ 445770 w 1443990"/>
              <a:gd name="connsiteY42" fmla="*/ 548640 h 811530"/>
              <a:gd name="connsiteX43" fmla="*/ 457200 w 1443990"/>
              <a:gd name="connsiteY43" fmla="*/ 518160 h 811530"/>
              <a:gd name="connsiteX44" fmla="*/ 441960 w 1443990"/>
              <a:gd name="connsiteY44" fmla="*/ 491490 h 811530"/>
              <a:gd name="connsiteX45" fmla="*/ 419100 w 1443990"/>
              <a:gd name="connsiteY45" fmla="*/ 491490 h 811530"/>
              <a:gd name="connsiteX46" fmla="*/ 396240 w 1443990"/>
              <a:gd name="connsiteY46" fmla="*/ 514350 h 811530"/>
              <a:gd name="connsiteX47" fmla="*/ 358140 w 1443990"/>
              <a:gd name="connsiteY47" fmla="*/ 571500 h 811530"/>
              <a:gd name="connsiteX48" fmla="*/ 316230 w 1443990"/>
              <a:gd name="connsiteY48" fmla="*/ 601980 h 811530"/>
              <a:gd name="connsiteX49" fmla="*/ 285750 w 1443990"/>
              <a:gd name="connsiteY49" fmla="*/ 621030 h 811530"/>
              <a:gd name="connsiteX50" fmla="*/ 228600 w 1443990"/>
              <a:gd name="connsiteY50" fmla="*/ 617220 h 811530"/>
              <a:gd name="connsiteX51" fmla="*/ 209550 w 1443990"/>
              <a:gd name="connsiteY51" fmla="*/ 624840 h 811530"/>
              <a:gd name="connsiteX52" fmla="*/ 167640 w 1443990"/>
              <a:gd name="connsiteY52" fmla="*/ 643890 h 811530"/>
              <a:gd name="connsiteX53" fmla="*/ 133350 w 1443990"/>
              <a:gd name="connsiteY53" fmla="*/ 605790 h 811530"/>
              <a:gd name="connsiteX54" fmla="*/ 125730 w 1443990"/>
              <a:gd name="connsiteY54" fmla="*/ 567690 h 811530"/>
              <a:gd name="connsiteX55" fmla="*/ 99060 w 1443990"/>
              <a:gd name="connsiteY55" fmla="*/ 548640 h 811530"/>
              <a:gd name="connsiteX56" fmla="*/ 57150 w 1443990"/>
              <a:gd name="connsiteY56" fmla="*/ 548640 h 811530"/>
              <a:gd name="connsiteX57" fmla="*/ 34290 w 1443990"/>
              <a:gd name="connsiteY57" fmla="*/ 541020 h 811530"/>
              <a:gd name="connsiteX58" fmla="*/ 0 w 1443990"/>
              <a:gd name="connsiteY58" fmla="*/ 506730 h 811530"/>
              <a:gd name="connsiteX59" fmla="*/ 3810 w 1443990"/>
              <a:gd name="connsiteY59" fmla="*/ 472440 h 811530"/>
              <a:gd name="connsiteX60" fmla="*/ 3810 w 1443990"/>
              <a:gd name="connsiteY60" fmla="*/ 434340 h 811530"/>
              <a:gd name="connsiteX61" fmla="*/ 7620 w 1443990"/>
              <a:gd name="connsiteY61" fmla="*/ 381000 h 811530"/>
              <a:gd name="connsiteX62" fmla="*/ 22860 w 1443990"/>
              <a:gd name="connsiteY62" fmla="*/ 316230 h 811530"/>
              <a:gd name="connsiteX63" fmla="*/ 68580 w 1443990"/>
              <a:gd name="connsiteY63" fmla="*/ 289560 h 811530"/>
              <a:gd name="connsiteX64" fmla="*/ 121920 w 1443990"/>
              <a:gd name="connsiteY64" fmla="*/ 251460 h 811530"/>
              <a:gd name="connsiteX65" fmla="*/ 137160 w 1443990"/>
              <a:gd name="connsiteY65" fmla="*/ 346710 h 811530"/>
              <a:gd name="connsiteX66" fmla="*/ 171450 w 1443990"/>
              <a:gd name="connsiteY66" fmla="*/ 354330 h 811530"/>
              <a:gd name="connsiteX67" fmla="*/ 240030 w 1443990"/>
              <a:gd name="connsiteY67" fmla="*/ 354330 h 811530"/>
              <a:gd name="connsiteX68" fmla="*/ 274320 w 1443990"/>
              <a:gd name="connsiteY68" fmla="*/ 358140 h 811530"/>
              <a:gd name="connsiteX69" fmla="*/ 323850 w 1443990"/>
              <a:gd name="connsiteY69" fmla="*/ 384810 h 811530"/>
              <a:gd name="connsiteX70" fmla="*/ 365760 w 1443990"/>
              <a:gd name="connsiteY70" fmla="*/ 377190 h 811530"/>
              <a:gd name="connsiteX71" fmla="*/ 377190 w 1443990"/>
              <a:gd name="connsiteY71" fmla="*/ 323850 h 811530"/>
              <a:gd name="connsiteX72" fmla="*/ 365760 w 1443990"/>
              <a:gd name="connsiteY72" fmla="*/ 262890 h 811530"/>
              <a:gd name="connsiteX73" fmla="*/ 342900 w 1443990"/>
              <a:gd name="connsiteY73" fmla="*/ 209550 h 811530"/>
              <a:gd name="connsiteX74" fmla="*/ 430530 w 1443990"/>
              <a:gd name="connsiteY74" fmla="*/ 171450 h 811530"/>
              <a:gd name="connsiteX75" fmla="*/ 506730 w 1443990"/>
              <a:gd name="connsiteY75" fmla="*/ 148590 h 811530"/>
              <a:gd name="connsiteX76" fmla="*/ 560070 w 1443990"/>
              <a:gd name="connsiteY76" fmla="*/ 137160 h 811530"/>
              <a:gd name="connsiteX77" fmla="*/ 632460 w 1443990"/>
              <a:gd name="connsiteY77" fmla="*/ 171450 h 811530"/>
              <a:gd name="connsiteX78" fmla="*/ 681990 w 1443990"/>
              <a:gd name="connsiteY78" fmla="*/ 198120 h 811530"/>
              <a:gd name="connsiteX79" fmla="*/ 750570 w 1443990"/>
              <a:gd name="connsiteY79" fmla="*/ 182880 h 811530"/>
              <a:gd name="connsiteX80" fmla="*/ 815340 w 1443990"/>
              <a:gd name="connsiteY80" fmla="*/ 148590 h 811530"/>
              <a:gd name="connsiteX81" fmla="*/ 845820 w 1443990"/>
              <a:gd name="connsiteY81" fmla="*/ 118110 h 811530"/>
              <a:gd name="connsiteX82" fmla="*/ 880110 w 1443990"/>
              <a:gd name="connsiteY82" fmla="*/ 60960 h 811530"/>
              <a:gd name="connsiteX83" fmla="*/ 944880 w 1443990"/>
              <a:gd name="connsiteY83" fmla="*/ 0 h 81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443990" h="811530">
                <a:moveTo>
                  <a:pt x="944880" y="0"/>
                </a:moveTo>
                <a:lnTo>
                  <a:pt x="952500" y="49530"/>
                </a:lnTo>
                <a:lnTo>
                  <a:pt x="971550" y="102870"/>
                </a:lnTo>
                <a:lnTo>
                  <a:pt x="994410" y="129540"/>
                </a:lnTo>
                <a:lnTo>
                  <a:pt x="1009650" y="148590"/>
                </a:lnTo>
                <a:lnTo>
                  <a:pt x="1013460" y="186690"/>
                </a:lnTo>
                <a:lnTo>
                  <a:pt x="1024890" y="236220"/>
                </a:lnTo>
                <a:lnTo>
                  <a:pt x="1040130" y="293370"/>
                </a:lnTo>
                <a:lnTo>
                  <a:pt x="1047750" y="323850"/>
                </a:lnTo>
                <a:lnTo>
                  <a:pt x="1070610" y="327660"/>
                </a:lnTo>
                <a:lnTo>
                  <a:pt x="1116330" y="331470"/>
                </a:lnTo>
                <a:lnTo>
                  <a:pt x="1162050" y="373380"/>
                </a:lnTo>
                <a:lnTo>
                  <a:pt x="1238250" y="373380"/>
                </a:lnTo>
                <a:lnTo>
                  <a:pt x="1310640" y="381000"/>
                </a:lnTo>
                <a:lnTo>
                  <a:pt x="1318260" y="411480"/>
                </a:lnTo>
                <a:lnTo>
                  <a:pt x="1383030" y="441960"/>
                </a:lnTo>
                <a:lnTo>
                  <a:pt x="1443990" y="499110"/>
                </a:lnTo>
                <a:lnTo>
                  <a:pt x="1424940" y="560070"/>
                </a:lnTo>
                <a:lnTo>
                  <a:pt x="1379220" y="560070"/>
                </a:lnTo>
                <a:lnTo>
                  <a:pt x="1333500" y="601980"/>
                </a:lnTo>
                <a:lnTo>
                  <a:pt x="1310640" y="662940"/>
                </a:lnTo>
                <a:lnTo>
                  <a:pt x="1287780" y="716280"/>
                </a:lnTo>
                <a:lnTo>
                  <a:pt x="1253490" y="750570"/>
                </a:lnTo>
                <a:lnTo>
                  <a:pt x="1200150" y="746760"/>
                </a:lnTo>
                <a:lnTo>
                  <a:pt x="1200150" y="746760"/>
                </a:lnTo>
                <a:lnTo>
                  <a:pt x="1177290" y="742950"/>
                </a:lnTo>
                <a:lnTo>
                  <a:pt x="1146810" y="773430"/>
                </a:lnTo>
                <a:lnTo>
                  <a:pt x="1120140" y="811530"/>
                </a:lnTo>
                <a:lnTo>
                  <a:pt x="1097280" y="735330"/>
                </a:lnTo>
                <a:lnTo>
                  <a:pt x="998220" y="651510"/>
                </a:lnTo>
                <a:lnTo>
                  <a:pt x="952500" y="632460"/>
                </a:lnTo>
                <a:lnTo>
                  <a:pt x="876300" y="647700"/>
                </a:lnTo>
                <a:lnTo>
                  <a:pt x="773430" y="632460"/>
                </a:lnTo>
                <a:lnTo>
                  <a:pt x="716280" y="621030"/>
                </a:lnTo>
                <a:lnTo>
                  <a:pt x="681990" y="643890"/>
                </a:lnTo>
                <a:lnTo>
                  <a:pt x="659130" y="666750"/>
                </a:lnTo>
                <a:lnTo>
                  <a:pt x="621030" y="708660"/>
                </a:lnTo>
                <a:lnTo>
                  <a:pt x="571500" y="727710"/>
                </a:lnTo>
                <a:lnTo>
                  <a:pt x="502920" y="716280"/>
                </a:lnTo>
                <a:lnTo>
                  <a:pt x="434340" y="689610"/>
                </a:lnTo>
                <a:lnTo>
                  <a:pt x="445770" y="655320"/>
                </a:lnTo>
                <a:lnTo>
                  <a:pt x="461010" y="598170"/>
                </a:lnTo>
                <a:lnTo>
                  <a:pt x="445770" y="548640"/>
                </a:lnTo>
                <a:lnTo>
                  <a:pt x="457200" y="518160"/>
                </a:lnTo>
                <a:lnTo>
                  <a:pt x="441960" y="491490"/>
                </a:lnTo>
                <a:lnTo>
                  <a:pt x="419100" y="491490"/>
                </a:lnTo>
                <a:lnTo>
                  <a:pt x="396240" y="514350"/>
                </a:lnTo>
                <a:lnTo>
                  <a:pt x="358140" y="571500"/>
                </a:lnTo>
                <a:lnTo>
                  <a:pt x="316230" y="601980"/>
                </a:lnTo>
                <a:lnTo>
                  <a:pt x="285750" y="621030"/>
                </a:lnTo>
                <a:lnTo>
                  <a:pt x="228600" y="617220"/>
                </a:lnTo>
                <a:lnTo>
                  <a:pt x="209550" y="624840"/>
                </a:lnTo>
                <a:lnTo>
                  <a:pt x="167640" y="643890"/>
                </a:lnTo>
                <a:lnTo>
                  <a:pt x="133350" y="605790"/>
                </a:lnTo>
                <a:lnTo>
                  <a:pt x="125730" y="567690"/>
                </a:lnTo>
                <a:lnTo>
                  <a:pt x="99060" y="548640"/>
                </a:lnTo>
                <a:lnTo>
                  <a:pt x="57150" y="548640"/>
                </a:lnTo>
                <a:lnTo>
                  <a:pt x="34290" y="541020"/>
                </a:lnTo>
                <a:lnTo>
                  <a:pt x="0" y="506730"/>
                </a:lnTo>
                <a:lnTo>
                  <a:pt x="3810" y="472440"/>
                </a:lnTo>
                <a:lnTo>
                  <a:pt x="3810" y="434340"/>
                </a:lnTo>
                <a:lnTo>
                  <a:pt x="7620" y="381000"/>
                </a:lnTo>
                <a:lnTo>
                  <a:pt x="22860" y="316230"/>
                </a:lnTo>
                <a:lnTo>
                  <a:pt x="68580" y="289560"/>
                </a:lnTo>
                <a:lnTo>
                  <a:pt x="121920" y="251460"/>
                </a:lnTo>
                <a:lnTo>
                  <a:pt x="137160" y="346710"/>
                </a:lnTo>
                <a:lnTo>
                  <a:pt x="171450" y="354330"/>
                </a:lnTo>
                <a:lnTo>
                  <a:pt x="240030" y="354330"/>
                </a:lnTo>
                <a:lnTo>
                  <a:pt x="274320" y="358140"/>
                </a:lnTo>
                <a:lnTo>
                  <a:pt x="323850" y="384810"/>
                </a:lnTo>
                <a:lnTo>
                  <a:pt x="365760" y="377190"/>
                </a:lnTo>
                <a:lnTo>
                  <a:pt x="377190" y="323850"/>
                </a:lnTo>
                <a:lnTo>
                  <a:pt x="365760" y="262890"/>
                </a:lnTo>
                <a:lnTo>
                  <a:pt x="342900" y="209550"/>
                </a:lnTo>
                <a:lnTo>
                  <a:pt x="430530" y="171450"/>
                </a:lnTo>
                <a:lnTo>
                  <a:pt x="506730" y="148590"/>
                </a:lnTo>
                <a:lnTo>
                  <a:pt x="560070" y="137160"/>
                </a:lnTo>
                <a:lnTo>
                  <a:pt x="632460" y="171450"/>
                </a:lnTo>
                <a:lnTo>
                  <a:pt x="681990" y="198120"/>
                </a:lnTo>
                <a:lnTo>
                  <a:pt x="750570" y="182880"/>
                </a:lnTo>
                <a:lnTo>
                  <a:pt x="815340" y="148590"/>
                </a:lnTo>
                <a:lnTo>
                  <a:pt x="845820" y="118110"/>
                </a:lnTo>
                <a:lnTo>
                  <a:pt x="880110" y="60960"/>
                </a:lnTo>
                <a:lnTo>
                  <a:pt x="944880" y="0"/>
                </a:lnTo>
                <a:close/>
              </a:path>
            </a:pathLst>
          </a:custGeom>
          <a:solidFill>
            <a:schemeClr val="accent3">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6" name="任意多边形 45"/>
          <p:cNvSpPr/>
          <p:nvPr/>
        </p:nvSpPr>
        <p:spPr bwMode="auto">
          <a:xfrm>
            <a:off x="3511413" y="3125566"/>
            <a:ext cx="1659693" cy="1303184"/>
          </a:xfrm>
          <a:custGeom>
            <a:avLst/>
            <a:gdLst>
              <a:gd name="connsiteX0" fmla="*/ 175260 w 1299210"/>
              <a:gd name="connsiteY0" fmla="*/ 0 h 1493520"/>
              <a:gd name="connsiteX1" fmla="*/ 179070 w 1299210"/>
              <a:gd name="connsiteY1" fmla="*/ 60960 h 1493520"/>
              <a:gd name="connsiteX2" fmla="*/ 217170 w 1299210"/>
              <a:gd name="connsiteY2" fmla="*/ 102870 h 1493520"/>
              <a:gd name="connsiteX3" fmla="*/ 274320 w 1299210"/>
              <a:gd name="connsiteY3" fmla="*/ 106680 h 1493520"/>
              <a:gd name="connsiteX4" fmla="*/ 304800 w 1299210"/>
              <a:gd name="connsiteY4" fmla="*/ 121920 h 1493520"/>
              <a:gd name="connsiteX5" fmla="*/ 312420 w 1299210"/>
              <a:gd name="connsiteY5" fmla="*/ 171450 h 1493520"/>
              <a:gd name="connsiteX6" fmla="*/ 342900 w 1299210"/>
              <a:gd name="connsiteY6" fmla="*/ 201930 h 1493520"/>
              <a:gd name="connsiteX7" fmla="*/ 419100 w 1299210"/>
              <a:gd name="connsiteY7" fmla="*/ 175260 h 1493520"/>
              <a:gd name="connsiteX8" fmla="*/ 461010 w 1299210"/>
              <a:gd name="connsiteY8" fmla="*/ 175260 h 1493520"/>
              <a:gd name="connsiteX9" fmla="*/ 537210 w 1299210"/>
              <a:gd name="connsiteY9" fmla="*/ 129540 h 1493520"/>
              <a:gd name="connsiteX10" fmla="*/ 579120 w 1299210"/>
              <a:gd name="connsiteY10" fmla="*/ 60960 h 1493520"/>
              <a:gd name="connsiteX11" fmla="*/ 598170 w 1299210"/>
              <a:gd name="connsiteY11" fmla="*/ 45720 h 1493520"/>
              <a:gd name="connsiteX12" fmla="*/ 628650 w 1299210"/>
              <a:gd name="connsiteY12" fmla="*/ 53340 h 1493520"/>
              <a:gd name="connsiteX13" fmla="*/ 636270 w 1299210"/>
              <a:gd name="connsiteY13" fmla="*/ 87630 h 1493520"/>
              <a:gd name="connsiteX14" fmla="*/ 617220 w 1299210"/>
              <a:gd name="connsiteY14" fmla="*/ 95250 h 1493520"/>
              <a:gd name="connsiteX15" fmla="*/ 636270 w 1299210"/>
              <a:gd name="connsiteY15" fmla="*/ 137160 h 1493520"/>
              <a:gd name="connsiteX16" fmla="*/ 643890 w 1299210"/>
              <a:gd name="connsiteY16" fmla="*/ 171450 h 1493520"/>
              <a:gd name="connsiteX17" fmla="*/ 609600 w 1299210"/>
              <a:gd name="connsiteY17" fmla="*/ 240030 h 1493520"/>
              <a:gd name="connsiteX18" fmla="*/ 716280 w 1299210"/>
              <a:gd name="connsiteY18" fmla="*/ 289560 h 1493520"/>
              <a:gd name="connsiteX19" fmla="*/ 765810 w 1299210"/>
              <a:gd name="connsiteY19" fmla="*/ 285750 h 1493520"/>
              <a:gd name="connsiteX20" fmla="*/ 807720 w 1299210"/>
              <a:gd name="connsiteY20" fmla="*/ 266700 h 1493520"/>
              <a:gd name="connsiteX21" fmla="*/ 849630 w 1299210"/>
              <a:gd name="connsiteY21" fmla="*/ 209550 h 1493520"/>
              <a:gd name="connsiteX22" fmla="*/ 891540 w 1299210"/>
              <a:gd name="connsiteY22" fmla="*/ 167640 h 1493520"/>
              <a:gd name="connsiteX23" fmla="*/ 960120 w 1299210"/>
              <a:gd name="connsiteY23" fmla="*/ 190500 h 1493520"/>
              <a:gd name="connsiteX24" fmla="*/ 1055370 w 1299210"/>
              <a:gd name="connsiteY24" fmla="*/ 205740 h 1493520"/>
              <a:gd name="connsiteX25" fmla="*/ 1112520 w 1299210"/>
              <a:gd name="connsiteY25" fmla="*/ 186690 h 1493520"/>
              <a:gd name="connsiteX26" fmla="*/ 1162050 w 1299210"/>
              <a:gd name="connsiteY26" fmla="*/ 198120 h 1493520"/>
              <a:gd name="connsiteX27" fmla="*/ 1230630 w 1299210"/>
              <a:gd name="connsiteY27" fmla="*/ 251460 h 1493520"/>
              <a:gd name="connsiteX28" fmla="*/ 1276350 w 1299210"/>
              <a:gd name="connsiteY28" fmla="*/ 300990 h 1493520"/>
              <a:gd name="connsiteX29" fmla="*/ 1299210 w 1299210"/>
              <a:gd name="connsiteY29" fmla="*/ 373380 h 1493520"/>
              <a:gd name="connsiteX30" fmla="*/ 1287780 w 1299210"/>
              <a:gd name="connsiteY30" fmla="*/ 445770 h 1493520"/>
              <a:gd name="connsiteX31" fmla="*/ 1257300 w 1299210"/>
              <a:gd name="connsiteY31" fmla="*/ 472440 h 1493520"/>
              <a:gd name="connsiteX32" fmla="*/ 1223010 w 1299210"/>
              <a:gd name="connsiteY32" fmla="*/ 487680 h 1493520"/>
              <a:gd name="connsiteX33" fmla="*/ 1188720 w 1299210"/>
              <a:gd name="connsiteY33" fmla="*/ 521970 h 1493520"/>
              <a:gd name="connsiteX34" fmla="*/ 1203960 w 1299210"/>
              <a:gd name="connsiteY34" fmla="*/ 590550 h 1493520"/>
              <a:gd name="connsiteX35" fmla="*/ 1223010 w 1299210"/>
              <a:gd name="connsiteY35" fmla="*/ 632460 h 1493520"/>
              <a:gd name="connsiteX36" fmla="*/ 1188720 w 1299210"/>
              <a:gd name="connsiteY36" fmla="*/ 681990 h 1493520"/>
              <a:gd name="connsiteX37" fmla="*/ 1131570 w 1299210"/>
              <a:gd name="connsiteY37" fmla="*/ 678180 h 1493520"/>
              <a:gd name="connsiteX38" fmla="*/ 1104900 w 1299210"/>
              <a:gd name="connsiteY38" fmla="*/ 674370 h 1493520"/>
              <a:gd name="connsiteX39" fmla="*/ 1043940 w 1299210"/>
              <a:gd name="connsiteY39" fmla="*/ 708660 h 1493520"/>
              <a:gd name="connsiteX40" fmla="*/ 967740 w 1299210"/>
              <a:gd name="connsiteY40" fmla="*/ 746760 h 1493520"/>
              <a:gd name="connsiteX41" fmla="*/ 895350 w 1299210"/>
              <a:gd name="connsiteY41" fmla="*/ 746760 h 1493520"/>
              <a:gd name="connsiteX42" fmla="*/ 842010 w 1299210"/>
              <a:gd name="connsiteY42" fmla="*/ 746760 h 1493520"/>
              <a:gd name="connsiteX43" fmla="*/ 784860 w 1299210"/>
              <a:gd name="connsiteY43" fmla="*/ 765810 h 1493520"/>
              <a:gd name="connsiteX44" fmla="*/ 746760 w 1299210"/>
              <a:gd name="connsiteY44" fmla="*/ 788670 h 1493520"/>
              <a:gd name="connsiteX45" fmla="*/ 731520 w 1299210"/>
              <a:gd name="connsiteY45" fmla="*/ 811530 h 1493520"/>
              <a:gd name="connsiteX46" fmla="*/ 769620 w 1299210"/>
              <a:gd name="connsiteY46" fmla="*/ 883920 h 1493520"/>
              <a:gd name="connsiteX47" fmla="*/ 811530 w 1299210"/>
              <a:gd name="connsiteY47" fmla="*/ 944880 h 1493520"/>
              <a:gd name="connsiteX48" fmla="*/ 830580 w 1299210"/>
              <a:gd name="connsiteY48" fmla="*/ 971550 h 1493520"/>
              <a:gd name="connsiteX49" fmla="*/ 876300 w 1299210"/>
              <a:gd name="connsiteY49" fmla="*/ 990600 h 1493520"/>
              <a:gd name="connsiteX50" fmla="*/ 918210 w 1299210"/>
              <a:gd name="connsiteY50" fmla="*/ 1062990 h 1493520"/>
              <a:gd name="connsiteX51" fmla="*/ 963930 w 1299210"/>
              <a:gd name="connsiteY51" fmla="*/ 1112520 h 1493520"/>
              <a:gd name="connsiteX52" fmla="*/ 1032510 w 1299210"/>
              <a:gd name="connsiteY52" fmla="*/ 1143000 h 1493520"/>
              <a:gd name="connsiteX53" fmla="*/ 1040130 w 1299210"/>
              <a:gd name="connsiteY53" fmla="*/ 1203960 h 1493520"/>
              <a:gd name="connsiteX54" fmla="*/ 1085850 w 1299210"/>
              <a:gd name="connsiteY54" fmla="*/ 1242060 h 1493520"/>
              <a:gd name="connsiteX55" fmla="*/ 1146810 w 1299210"/>
              <a:gd name="connsiteY55" fmla="*/ 1299210 h 1493520"/>
              <a:gd name="connsiteX56" fmla="*/ 1158240 w 1299210"/>
              <a:gd name="connsiteY56" fmla="*/ 1337310 h 1493520"/>
              <a:gd name="connsiteX57" fmla="*/ 1139190 w 1299210"/>
              <a:gd name="connsiteY57" fmla="*/ 1383030 h 1493520"/>
              <a:gd name="connsiteX58" fmla="*/ 1104900 w 1299210"/>
              <a:gd name="connsiteY58" fmla="*/ 1371600 h 1493520"/>
              <a:gd name="connsiteX59" fmla="*/ 1078230 w 1299210"/>
              <a:gd name="connsiteY59" fmla="*/ 1405890 h 1493520"/>
              <a:gd name="connsiteX60" fmla="*/ 1055370 w 1299210"/>
              <a:gd name="connsiteY60" fmla="*/ 1463040 h 1493520"/>
              <a:gd name="connsiteX61" fmla="*/ 1028700 w 1299210"/>
              <a:gd name="connsiteY61" fmla="*/ 1493520 h 1493520"/>
              <a:gd name="connsiteX62" fmla="*/ 986790 w 1299210"/>
              <a:gd name="connsiteY62" fmla="*/ 1455420 h 1493520"/>
              <a:gd name="connsiteX63" fmla="*/ 944880 w 1299210"/>
              <a:gd name="connsiteY63" fmla="*/ 1386840 h 1493520"/>
              <a:gd name="connsiteX64" fmla="*/ 933450 w 1299210"/>
              <a:gd name="connsiteY64" fmla="*/ 1322070 h 1493520"/>
              <a:gd name="connsiteX65" fmla="*/ 895350 w 1299210"/>
              <a:gd name="connsiteY65" fmla="*/ 1230630 h 1493520"/>
              <a:gd name="connsiteX66" fmla="*/ 853440 w 1299210"/>
              <a:gd name="connsiteY66" fmla="*/ 1158240 h 1493520"/>
              <a:gd name="connsiteX67" fmla="*/ 811530 w 1299210"/>
              <a:gd name="connsiteY67" fmla="*/ 1070610 h 1493520"/>
              <a:gd name="connsiteX68" fmla="*/ 758190 w 1299210"/>
              <a:gd name="connsiteY68" fmla="*/ 1024890 h 1493520"/>
              <a:gd name="connsiteX69" fmla="*/ 697230 w 1299210"/>
              <a:gd name="connsiteY69" fmla="*/ 1024890 h 1493520"/>
              <a:gd name="connsiteX70" fmla="*/ 613410 w 1299210"/>
              <a:gd name="connsiteY70" fmla="*/ 1024890 h 1493520"/>
              <a:gd name="connsiteX71" fmla="*/ 563880 w 1299210"/>
              <a:gd name="connsiteY71" fmla="*/ 1017270 h 1493520"/>
              <a:gd name="connsiteX72" fmla="*/ 518160 w 1299210"/>
              <a:gd name="connsiteY72" fmla="*/ 1036320 h 1493520"/>
              <a:gd name="connsiteX73" fmla="*/ 464820 w 1299210"/>
              <a:gd name="connsiteY73" fmla="*/ 1043940 h 1493520"/>
              <a:gd name="connsiteX74" fmla="*/ 441960 w 1299210"/>
              <a:gd name="connsiteY74" fmla="*/ 1089660 h 1493520"/>
              <a:gd name="connsiteX75" fmla="*/ 434340 w 1299210"/>
              <a:gd name="connsiteY75" fmla="*/ 1108710 h 1493520"/>
              <a:gd name="connsiteX76" fmla="*/ 392430 w 1299210"/>
              <a:gd name="connsiteY76" fmla="*/ 1093470 h 1493520"/>
              <a:gd name="connsiteX77" fmla="*/ 213360 w 1299210"/>
              <a:gd name="connsiteY77" fmla="*/ 1002030 h 1493520"/>
              <a:gd name="connsiteX78" fmla="*/ 179070 w 1299210"/>
              <a:gd name="connsiteY78" fmla="*/ 956310 h 1493520"/>
              <a:gd name="connsiteX79" fmla="*/ 182880 w 1299210"/>
              <a:gd name="connsiteY79" fmla="*/ 914400 h 1493520"/>
              <a:gd name="connsiteX80" fmla="*/ 217170 w 1299210"/>
              <a:gd name="connsiteY80" fmla="*/ 845820 h 1493520"/>
              <a:gd name="connsiteX81" fmla="*/ 255270 w 1299210"/>
              <a:gd name="connsiteY81" fmla="*/ 788670 h 1493520"/>
              <a:gd name="connsiteX82" fmla="*/ 274320 w 1299210"/>
              <a:gd name="connsiteY82" fmla="*/ 727710 h 1493520"/>
              <a:gd name="connsiteX83" fmla="*/ 281940 w 1299210"/>
              <a:gd name="connsiteY83" fmla="*/ 636270 h 1493520"/>
              <a:gd name="connsiteX84" fmla="*/ 270510 w 1299210"/>
              <a:gd name="connsiteY84" fmla="*/ 556260 h 1493520"/>
              <a:gd name="connsiteX85" fmla="*/ 247650 w 1299210"/>
              <a:gd name="connsiteY85" fmla="*/ 510540 h 1493520"/>
              <a:gd name="connsiteX86" fmla="*/ 213360 w 1299210"/>
              <a:gd name="connsiteY86" fmla="*/ 457200 h 1493520"/>
              <a:gd name="connsiteX87" fmla="*/ 224790 w 1299210"/>
              <a:gd name="connsiteY87" fmla="*/ 365760 h 1493520"/>
              <a:gd name="connsiteX88" fmla="*/ 205740 w 1299210"/>
              <a:gd name="connsiteY88" fmla="*/ 323850 h 1493520"/>
              <a:gd name="connsiteX89" fmla="*/ 175260 w 1299210"/>
              <a:gd name="connsiteY89" fmla="*/ 266700 h 1493520"/>
              <a:gd name="connsiteX90" fmla="*/ 137160 w 1299210"/>
              <a:gd name="connsiteY90" fmla="*/ 224790 h 1493520"/>
              <a:gd name="connsiteX91" fmla="*/ 87630 w 1299210"/>
              <a:gd name="connsiteY91" fmla="*/ 194310 h 1493520"/>
              <a:gd name="connsiteX92" fmla="*/ 45720 w 1299210"/>
              <a:gd name="connsiteY92" fmla="*/ 160020 h 1493520"/>
              <a:gd name="connsiteX93" fmla="*/ 7620 w 1299210"/>
              <a:gd name="connsiteY93" fmla="*/ 114300 h 1493520"/>
              <a:gd name="connsiteX94" fmla="*/ 0 w 1299210"/>
              <a:gd name="connsiteY94" fmla="*/ 95250 h 1493520"/>
              <a:gd name="connsiteX95" fmla="*/ 34290 w 1299210"/>
              <a:gd name="connsiteY95" fmla="*/ 80010 h 1493520"/>
              <a:gd name="connsiteX96" fmla="*/ 34290 w 1299210"/>
              <a:gd name="connsiteY96" fmla="*/ 41910 h 1493520"/>
              <a:gd name="connsiteX97" fmla="*/ 53340 w 1299210"/>
              <a:gd name="connsiteY97" fmla="*/ 11430 h 1493520"/>
              <a:gd name="connsiteX98" fmla="*/ 102870 w 1299210"/>
              <a:gd name="connsiteY98" fmla="*/ 3810 h 1493520"/>
              <a:gd name="connsiteX99" fmla="*/ 175260 w 1299210"/>
              <a:gd name="connsiteY99" fmla="*/ 0 h 149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299210" h="1493520">
                <a:moveTo>
                  <a:pt x="175260" y="0"/>
                </a:moveTo>
                <a:lnTo>
                  <a:pt x="179070" y="60960"/>
                </a:lnTo>
                <a:lnTo>
                  <a:pt x="217170" y="102870"/>
                </a:lnTo>
                <a:lnTo>
                  <a:pt x="274320" y="106680"/>
                </a:lnTo>
                <a:lnTo>
                  <a:pt x="304800" y="121920"/>
                </a:lnTo>
                <a:lnTo>
                  <a:pt x="312420" y="171450"/>
                </a:lnTo>
                <a:lnTo>
                  <a:pt x="342900" y="201930"/>
                </a:lnTo>
                <a:lnTo>
                  <a:pt x="419100" y="175260"/>
                </a:lnTo>
                <a:lnTo>
                  <a:pt x="461010" y="175260"/>
                </a:lnTo>
                <a:lnTo>
                  <a:pt x="537210" y="129540"/>
                </a:lnTo>
                <a:lnTo>
                  <a:pt x="579120" y="60960"/>
                </a:lnTo>
                <a:lnTo>
                  <a:pt x="598170" y="45720"/>
                </a:lnTo>
                <a:lnTo>
                  <a:pt x="628650" y="53340"/>
                </a:lnTo>
                <a:lnTo>
                  <a:pt x="636270" y="87630"/>
                </a:lnTo>
                <a:lnTo>
                  <a:pt x="617220" y="95250"/>
                </a:lnTo>
                <a:lnTo>
                  <a:pt x="636270" y="137160"/>
                </a:lnTo>
                <a:lnTo>
                  <a:pt x="643890" y="171450"/>
                </a:lnTo>
                <a:lnTo>
                  <a:pt x="609600" y="240030"/>
                </a:lnTo>
                <a:lnTo>
                  <a:pt x="716280" y="289560"/>
                </a:lnTo>
                <a:lnTo>
                  <a:pt x="765810" y="285750"/>
                </a:lnTo>
                <a:lnTo>
                  <a:pt x="807720" y="266700"/>
                </a:lnTo>
                <a:lnTo>
                  <a:pt x="849630" y="209550"/>
                </a:lnTo>
                <a:lnTo>
                  <a:pt x="891540" y="167640"/>
                </a:lnTo>
                <a:lnTo>
                  <a:pt x="960120" y="190500"/>
                </a:lnTo>
                <a:lnTo>
                  <a:pt x="1055370" y="205740"/>
                </a:lnTo>
                <a:lnTo>
                  <a:pt x="1112520" y="186690"/>
                </a:lnTo>
                <a:lnTo>
                  <a:pt x="1162050" y="198120"/>
                </a:lnTo>
                <a:lnTo>
                  <a:pt x="1230630" y="251460"/>
                </a:lnTo>
                <a:lnTo>
                  <a:pt x="1276350" y="300990"/>
                </a:lnTo>
                <a:lnTo>
                  <a:pt x="1299210" y="373380"/>
                </a:lnTo>
                <a:lnTo>
                  <a:pt x="1287780" y="445770"/>
                </a:lnTo>
                <a:lnTo>
                  <a:pt x="1257300" y="472440"/>
                </a:lnTo>
                <a:lnTo>
                  <a:pt x="1223010" y="487680"/>
                </a:lnTo>
                <a:lnTo>
                  <a:pt x="1188720" y="521970"/>
                </a:lnTo>
                <a:lnTo>
                  <a:pt x="1203960" y="590550"/>
                </a:lnTo>
                <a:lnTo>
                  <a:pt x="1223010" y="632460"/>
                </a:lnTo>
                <a:lnTo>
                  <a:pt x="1188720" y="681990"/>
                </a:lnTo>
                <a:lnTo>
                  <a:pt x="1131570" y="678180"/>
                </a:lnTo>
                <a:lnTo>
                  <a:pt x="1104900" y="674370"/>
                </a:lnTo>
                <a:lnTo>
                  <a:pt x="1043940" y="708660"/>
                </a:lnTo>
                <a:lnTo>
                  <a:pt x="967740" y="746760"/>
                </a:lnTo>
                <a:lnTo>
                  <a:pt x="895350" y="746760"/>
                </a:lnTo>
                <a:lnTo>
                  <a:pt x="842010" y="746760"/>
                </a:lnTo>
                <a:lnTo>
                  <a:pt x="784860" y="765810"/>
                </a:lnTo>
                <a:lnTo>
                  <a:pt x="746760" y="788670"/>
                </a:lnTo>
                <a:lnTo>
                  <a:pt x="731520" y="811530"/>
                </a:lnTo>
                <a:lnTo>
                  <a:pt x="769620" y="883920"/>
                </a:lnTo>
                <a:lnTo>
                  <a:pt x="811530" y="944880"/>
                </a:lnTo>
                <a:lnTo>
                  <a:pt x="830580" y="971550"/>
                </a:lnTo>
                <a:lnTo>
                  <a:pt x="876300" y="990600"/>
                </a:lnTo>
                <a:lnTo>
                  <a:pt x="918210" y="1062990"/>
                </a:lnTo>
                <a:lnTo>
                  <a:pt x="963930" y="1112520"/>
                </a:lnTo>
                <a:lnTo>
                  <a:pt x="1032510" y="1143000"/>
                </a:lnTo>
                <a:lnTo>
                  <a:pt x="1040130" y="1203960"/>
                </a:lnTo>
                <a:lnTo>
                  <a:pt x="1085850" y="1242060"/>
                </a:lnTo>
                <a:lnTo>
                  <a:pt x="1146810" y="1299210"/>
                </a:lnTo>
                <a:lnTo>
                  <a:pt x="1158240" y="1337310"/>
                </a:lnTo>
                <a:lnTo>
                  <a:pt x="1139190" y="1383030"/>
                </a:lnTo>
                <a:lnTo>
                  <a:pt x="1104900" y="1371600"/>
                </a:lnTo>
                <a:lnTo>
                  <a:pt x="1078230" y="1405890"/>
                </a:lnTo>
                <a:lnTo>
                  <a:pt x="1055370" y="1463040"/>
                </a:lnTo>
                <a:lnTo>
                  <a:pt x="1028700" y="1493520"/>
                </a:lnTo>
                <a:lnTo>
                  <a:pt x="986790" y="1455420"/>
                </a:lnTo>
                <a:lnTo>
                  <a:pt x="944880" y="1386840"/>
                </a:lnTo>
                <a:lnTo>
                  <a:pt x="933450" y="1322070"/>
                </a:lnTo>
                <a:lnTo>
                  <a:pt x="895350" y="1230630"/>
                </a:lnTo>
                <a:lnTo>
                  <a:pt x="853440" y="1158240"/>
                </a:lnTo>
                <a:lnTo>
                  <a:pt x="811530" y="1070610"/>
                </a:lnTo>
                <a:lnTo>
                  <a:pt x="758190" y="1024890"/>
                </a:lnTo>
                <a:lnTo>
                  <a:pt x="697230" y="1024890"/>
                </a:lnTo>
                <a:lnTo>
                  <a:pt x="613410" y="1024890"/>
                </a:lnTo>
                <a:lnTo>
                  <a:pt x="563880" y="1017270"/>
                </a:lnTo>
                <a:lnTo>
                  <a:pt x="518160" y="1036320"/>
                </a:lnTo>
                <a:lnTo>
                  <a:pt x="464820" y="1043940"/>
                </a:lnTo>
                <a:lnTo>
                  <a:pt x="441960" y="1089660"/>
                </a:lnTo>
                <a:lnTo>
                  <a:pt x="434340" y="1108710"/>
                </a:lnTo>
                <a:lnTo>
                  <a:pt x="392430" y="1093470"/>
                </a:lnTo>
                <a:lnTo>
                  <a:pt x="213360" y="1002030"/>
                </a:lnTo>
                <a:lnTo>
                  <a:pt x="179070" y="956310"/>
                </a:lnTo>
                <a:lnTo>
                  <a:pt x="182880" y="914400"/>
                </a:lnTo>
                <a:lnTo>
                  <a:pt x="217170" y="845820"/>
                </a:lnTo>
                <a:lnTo>
                  <a:pt x="255270" y="788670"/>
                </a:lnTo>
                <a:lnTo>
                  <a:pt x="274320" y="727710"/>
                </a:lnTo>
                <a:lnTo>
                  <a:pt x="281940" y="636270"/>
                </a:lnTo>
                <a:lnTo>
                  <a:pt x="270510" y="556260"/>
                </a:lnTo>
                <a:lnTo>
                  <a:pt x="247650" y="510540"/>
                </a:lnTo>
                <a:lnTo>
                  <a:pt x="213360" y="457200"/>
                </a:lnTo>
                <a:lnTo>
                  <a:pt x="224790" y="365760"/>
                </a:lnTo>
                <a:lnTo>
                  <a:pt x="205740" y="323850"/>
                </a:lnTo>
                <a:lnTo>
                  <a:pt x="175260" y="266700"/>
                </a:lnTo>
                <a:lnTo>
                  <a:pt x="137160" y="224790"/>
                </a:lnTo>
                <a:lnTo>
                  <a:pt x="87630" y="194310"/>
                </a:lnTo>
                <a:lnTo>
                  <a:pt x="45720" y="160020"/>
                </a:lnTo>
                <a:lnTo>
                  <a:pt x="7620" y="114300"/>
                </a:lnTo>
                <a:lnTo>
                  <a:pt x="0" y="95250"/>
                </a:lnTo>
                <a:lnTo>
                  <a:pt x="34290" y="80010"/>
                </a:lnTo>
                <a:lnTo>
                  <a:pt x="34290" y="41910"/>
                </a:lnTo>
                <a:lnTo>
                  <a:pt x="53340" y="11430"/>
                </a:lnTo>
                <a:lnTo>
                  <a:pt x="102870" y="3810"/>
                </a:lnTo>
                <a:lnTo>
                  <a:pt x="175260" y="0"/>
                </a:lnTo>
                <a:close/>
              </a:path>
            </a:pathLst>
          </a:custGeom>
          <a:solidFill>
            <a:schemeClr val="accent2">
              <a:lumMod val="60000"/>
              <a:lumOff val="4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nvGrpSpPr>
          <p:cNvPr id="47" name="组合 32"/>
          <p:cNvGrpSpPr/>
          <p:nvPr/>
        </p:nvGrpSpPr>
        <p:grpSpPr bwMode="auto">
          <a:xfrm>
            <a:off x="2523306" y="3208750"/>
            <a:ext cx="1529840" cy="1110480"/>
            <a:chOff x="259080" y="3886454"/>
            <a:chExt cx="1197050" cy="1271918"/>
          </a:xfrm>
          <a:solidFill>
            <a:schemeClr val="accent6">
              <a:lumMod val="40000"/>
              <a:lumOff val="60000"/>
            </a:schemeClr>
          </a:solidFill>
        </p:grpSpPr>
        <p:sp>
          <p:nvSpPr>
            <p:cNvPr id="48" name="任意多边形 30"/>
            <p:cNvSpPr/>
            <p:nvPr/>
          </p:nvSpPr>
          <p:spPr>
            <a:xfrm>
              <a:off x="509921" y="3886455"/>
              <a:ext cx="946209" cy="1271917"/>
            </a:xfrm>
            <a:custGeom>
              <a:avLst/>
              <a:gdLst>
                <a:gd name="connsiteX0" fmla="*/ 514350 w 944880"/>
                <a:gd name="connsiteY0" fmla="*/ 0 h 1272540"/>
                <a:gd name="connsiteX1" fmla="*/ 552450 w 944880"/>
                <a:gd name="connsiteY1" fmla="*/ 68580 h 1272540"/>
                <a:gd name="connsiteX2" fmla="*/ 598170 w 944880"/>
                <a:gd name="connsiteY2" fmla="*/ 95250 h 1272540"/>
                <a:gd name="connsiteX3" fmla="*/ 643890 w 944880"/>
                <a:gd name="connsiteY3" fmla="*/ 125730 h 1272540"/>
                <a:gd name="connsiteX4" fmla="*/ 693420 w 944880"/>
                <a:gd name="connsiteY4" fmla="*/ 160020 h 1272540"/>
                <a:gd name="connsiteX5" fmla="*/ 708660 w 944880"/>
                <a:gd name="connsiteY5" fmla="*/ 205740 h 1272540"/>
                <a:gd name="connsiteX6" fmla="*/ 746760 w 944880"/>
                <a:gd name="connsiteY6" fmla="*/ 274320 h 1272540"/>
                <a:gd name="connsiteX7" fmla="*/ 731520 w 944880"/>
                <a:gd name="connsiteY7" fmla="*/ 358140 h 1272540"/>
                <a:gd name="connsiteX8" fmla="*/ 769620 w 944880"/>
                <a:gd name="connsiteY8" fmla="*/ 426720 h 1272540"/>
                <a:gd name="connsiteX9" fmla="*/ 796290 w 944880"/>
                <a:gd name="connsiteY9" fmla="*/ 487680 h 1272540"/>
                <a:gd name="connsiteX10" fmla="*/ 800100 w 944880"/>
                <a:gd name="connsiteY10" fmla="*/ 563880 h 1272540"/>
                <a:gd name="connsiteX11" fmla="*/ 788670 w 944880"/>
                <a:gd name="connsiteY11" fmla="*/ 647700 h 1272540"/>
                <a:gd name="connsiteX12" fmla="*/ 765810 w 944880"/>
                <a:gd name="connsiteY12" fmla="*/ 704850 h 1272540"/>
                <a:gd name="connsiteX13" fmla="*/ 723900 w 944880"/>
                <a:gd name="connsiteY13" fmla="*/ 769620 h 1272540"/>
                <a:gd name="connsiteX14" fmla="*/ 704850 w 944880"/>
                <a:gd name="connsiteY14" fmla="*/ 811530 h 1272540"/>
                <a:gd name="connsiteX15" fmla="*/ 697230 w 944880"/>
                <a:gd name="connsiteY15" fmla="*/ 861060 h 1272540"/>
                <a:gd name="connsiteX16" fmla="*/ 716280 w 944880"/>
                <a:gd name="connsiteY16" fmla="*/ 902970 h 1272540"/>
                <a:gd name="connsiteX17" fmla="*/ 762000 w 944880"/>
                <a:gd name="connsiteY17" fmla="*/ 929640 h 1272540"/>
                <a:gd name="connsiteX18" fmla="*/ 834390 w 944880"/>
                <a:gd name="connsiteY18" fmla="*/ 960120 h 1272540"/>
                <a:gd name="connsiteX19" fmla="*/ 918210 w 944880"/>
                <a:gd name="connsiteY19" fmla="*/ 1005840 h 1272540"/>
                <a:gd name="connsiteX20" fmla="*/ 944880 w 944880"/>
                <a:gd name="connsiteY20" fmla="*/ 1013460 h 1272540"/>
                <a:gd name="connsiteX21" fmla="*/ 929640 w 944880"/>
                <a:gd name="connsiteY21" fmla="*/ 1070610 h 1272540"/>
                <a:gd name="connsiteX22" fmla="*/ 883920 w 944880"/>
                <a:gd name="connsiteY22" fmla="*/ 1097280 h 1272540"/>
                <a:gd name="connsiteX23" fmla="*/ 902970 w 944880"/>
                <a:gd name="connsiteY23" fmla="*/ 1162050 h 1272540"/>
                <a:gd name="connsiteX24" fmla="*/ 880110 w 944880"/>
                <a:gd name="connsiteY24" fmla="*/ 1188720 h 1272540"/>
                <a:gd name="connsiteX25" fmla="*/ 853440 w 944880"/>
                <a:gd name="connsiteY25" fmla="*/ 1211580 h 1272540"/>
                <a:gd name="connsiteX26" fmla="*/ 819150 w 944880"/>
                <a:gd name="connsiteY26" fmla="*/ 1211580 h 1272540"/>
                <a:gd name="connsiteX27" fmla="*/ 800100 w 944880"/>
                <a:gd name="connsiteY27" fmla="*/ 1245870 h 1272540"/>
                <a:gd name="connsiteX28" fmla="*/ 769620 w 944880"/>
                <a:gd name="connsiteY28" fmla="*/ 1264920 h 1272540"/>
                <a:gd name="connsiteX29" fmla="*/ 716280 w 944880"/>
                <a:gd name="connsiteY29" fmla="*/ 1272540 h 1272540"/>
                <a:gd name="connsiteX30" fmla="*/ 704850 w 944880"/>
                <a:gd name="connsiteY30" fmla="*/ 1253490 h 1272540"/>
                <a:gd name="connsiteX31" fmla="*/ 685800 w 944880"/>
                <a:gd name="connsiteY31" fmla="*/ 1234440 h 1272540"/>
                <a:gd name="connsiteX32" fmla="*/ 651510 w 944880"/>
                <a:gd name="connsiteY32" fmla="*/ 1223010 h 1272540"/>
                <a:gd name="connsiteX33" fmla="*/ 601980 w 944880"/>
                <a:gd name="connsiteY33" fmla="*/ 1207770 h 1272540"/>
                <a:gd name="connsiteX34" fmla="*/ 579120 w 944880"/>
                <a:gd name="connsiteY34" fmla="*/ 1223010 h 1272540"/>
                <a:gd name="connsiteX35" fmla="*/ 518160 w 944880"/>
                <a:gd name="connsiteY35" fmla="*/ 1242060 h 1272540"/>
                <a:gd name="connsiteX36" fmla="*/ 468630 w 944880"/>
                <a:gd name="connsiteY36" fmla="*/ 1253490 h 1272540"/>
                <a:gd name="connsiteX37" fmla="*/ 430530 w 944880"/>
                <a:gd name="connsiteY37" fmla="*/ 1230630 h 1272540"/>
                <a:gd name="connsiteX38" fmla="*/ 392430 w 944880"/>
                <a:gd name="connsiteY38" fmla="*/ 1215390 h 1272540"/>
                <a:gd name="connsiteX39" fmla="*/ 361950 w 944880"/>
                <a:gd name="connsiteY39" fmla="*/ 1215390 h 1272540"/>
                <a:gd name="connsiteX40" fmla="*/ 339090 w 944880"/>
                <a:gd name="connsiteY40" fmla="*/ 1223010 h 1272540"/>
                <a:gd name="connsiteX41" fmla="*/ 339090 w 944880"/>
                <a:gd name="connsiteY41" fmla="*/ 1234440 h 1272540"/>
                <a:gd name="connsiteX42" fmla="*/ 308610 w 944880"/>
                <a:gd name="connsiteY42" fmla="*/ 1234440 h 1272540"/>
                <a:gd name="connsiteX43" fmla="*/ 300990 w 944880"/>
                <a:gd name="connsiteY43" fmla="*/ 1211580 h 1272540"/>
                <a:gd name="connsiteX44" fmla="*/ 274320 w 944880"/>
                <a:gd name="connsiteY44" fmla="*/ 1211580 h 1272540"/>
                <a:gd name="connsiteX45" fmla="*/ 255270 w 944880"/>
                <a:gd name="connsiteY45" fmla="*/ 1211580 h 1272540"/>
                <a:gd name="connsiteX46" fmla="*/ 220980 w 944880"/>
                <a:gd name="connsiteY46" fmla="*/ 1192530 h 1272540"/>
                <a:gd name="connsiteX47" fmla="*/ 186690 w 944880"/>
                <a:gd name="connsiteY47" fmla="*/ 1165860 h 1272540"/>
                <a:gd name="connsiteX48" fmla="*/ 175260 w 944880"/>
                <a:gd name="connsiteY48" fmla="*/ 1127760 h 1272540"/>
                <a:gd name="connsiteX49" fmla="*/ 175260 w 944880"/>
                <a:gd name="connsiteY49" fmla="*/ 1093470 h 1272540"/>
                <a:gd name="connsiteX50" fmla="*/ 171450 w 944880"/>
                <a:gd name="connsiteY50" fmla="*/ 1028700 h 1272540"/>
                <a:gd name="connsiteX51" fmla="*/ 144780 w 944880"/>
                <a:gd name="connsiteY51" fmla="*/ 990600 h 1272540"/>
                <a:gd name="connsiteX52" fmla="*/ 110490 w 944880"/>
                <a:gd name="connsiteY52" fmla="*/ 948690 h 1272540"/>
                <a:gd name="connsiteX53" fmla="*/ 53340 w 944880"/>
                <a:gd name="connsiteY53" fmla="*/ 948690 h 1272540"/>
                <a:gd name="connsiteX54" fmla="*/ 38100 w 944880"/>
                <a:gd name="connsiteY54" fmla="*/ 929640 h 1272540"/>
                <a:gd name="connsiteX55" fmla="*/ 38100 w 944880"/>
                <a:gd name="connsiteY55" fmla="*/ 895350 h 1272540"/>
                <a:gd name="connsiteX56" fmla="*/ 19050 w 944880"/>
                <a:gd name="connsiteY56" fmla="*/ 891540 h 1272540"/>
                <a:gd name="connsiteX57" fmla="*/ 0 w 944880"/>
                <a:gd name="connsiteY57" fmla="*/ 876300 h 1272540"/>
                <a:gd name="connsiteX58" fmla="*/ 0 w 944880"/>
                <a:gd name="connsiteY58" fmla="*/ 845820 h 127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944880" h="1272540">
                  <a:moveTo>
                    <a:pt x="514350" y="0"/>
                  </a:moveTo>
                  <a:lnTo>
                    <a:pt x="552450" y="68580"/>
                  </a:lnTo>
                  <a:lnTo>
                    <a:pt x="598170" y="95250"/>
                  </a:lnTo>
                  <a:lnTo>
                    <a:pt x="643890" y="125730"/>
                  </a:lnTo>
                  <a:lnTo>
                    <a:pt x="693420" y="160020"/>
                  </a:lnTo>
                  <a:lnTo>
                    <a:pt x="708660" y="205740"/>
                  </a:lnTo>
                  <a:lnTo>
                    <a:pt x="746760" y="274320"/>
                  </a:lnTo>
                  <a:lnTo>
                    <a:pt x="731520" y="358140"/>
                  </a:lnTo>
                  <a:lnTo>
                    <a:pt x="769620" y="426720"/>
                  </a:lnTo>
                  <a:lnTo>
                    <a:pt x="796290" y="487680"/>
                  </a:lnTo>
                  <a:lnTo>
                    <a:pt x="800100" y="563880"/>
                  </a:lnTo>
                  <a:lnTo>
                    <a:pt x="788670" y="647700"/>
                  </a:lnTo>
                  <a:lnTo>
                    <a:pt x="765810" y="704850"/>
                  </a:lnTo>
                  <a:lnTo>
                    <a:pt x="723900" y="769620"/>
                  </a:lnTo>
                  <a:lnTo>
                    <a:pt x="704850" y="811530"/>
                  </a:lnTo>
                  <a:lnTo>
                    <a:pt x="697230" y="861060"/>
                  </a:lnTo>
                  <a:lnTo>
                    <a:pt x="716280" y="902970"/>
                  </a:lnTo>
                  <a:lnTo>
                    <a:pt x="762000" y="929640"/>
                  </a:lnTo>
                  <a:lnTo>
                    <a:pt x="834390" y="960120"/>
                  </a:lnTo>
                  <a:lnTo>
                    <a:pt x="918210" y="1005840"/>
                  </a:lnTo>
                  <a:lnTo>
                    <a:pt x="944880" y="1013460"/>
                  </a:lnTo>
                  <a:lnTo>
                    <a:pt x="929640" y="1070610"/>
                  </a:lnTo>
                  <a:lnTo>
                    <a:pt x="883920" y="1097280"/>
                  </a:lnTo>
                  <a:lnTo>
                    <a:pt x="902970" y="1162050"/>
                  </a:lnTo>
                  <a:lnTo>
                    <a:pt x="880110" y="1188720"/>
                  </a:lnTo>
                  <a:lnTo>
                    <a:pt x="853440" y="1211580"/>
                  </a:lnTo>
                  <a:lnTo>
                    <a:pt x="819150" y="1211580"/>
                  </a:lnTo>
                  <a:lnTo>
                    <a:pt x="800100" y="1245870"/>
                  </a:lnTo>
                  <a:lnTo>
                    <a:pt x="769620" y="1264920"/>
                  </a:lnTo>
                  <a:lnTo>
                    <a:pt x="716280" y="1272540"/>
                  </a:lnTo>
                  <a:lnTo>
                    <a:pt x="704850" y="1253490"/>
                  </a:lnTo>
                  <a:lnTo>
                    <a:pt x="685800" y="1234440"/>
                  </a:lnTo>
                  <a:lnTo>
                    <a:pt x="651510" y="1223010"/>
                  </a:lnTo>
                  <a:lnTo>
                    <a:pt x="601980" y="1207770"/>
                  </a:lnTo>
                  <a:lnTo>
                    <a:pt x="579120" y="1223010"/>
                  </a:lnTo>
                  <a:lnTo>
                    <a:pt x="518160" y="1242060"/>
                  </a:lnTo>
                  <a:lnTo>
                    <a:pt x="468630" y="1253490"/>
                  </a:lnTo>
                  <a:lnTo>
                    <a:pt x="430530" y="1230630"/>
                  </a:lnTo>
                  <a:lnTo>
                    <a:pt x="392430" y="1215390"/>
                  </a:lnTo>
                  <a:lnTo>
                    <a:pt x="361950" y="1215390"/>
                  </a:lnTo>
                  <a:lnTo>
                    <a:pt x="339090" y="1223010"/>
                  </a:lnTo>
                  <a:lnTo>
                    <a:pt x="339090" y="1234440"/>
                  </a:lnTo>
                  <a:lnTo>
                    <a:pt x="308610" y="1234440"/>
                  </a:lnTo>
                  <a:lnTo>
                    <a:pt x="300990" y="1211580"/>
                  </a:lnTo>
                  <a:lnTo>
                    <a:pt x="274320" y="1211580"/>
                  </a:lnTo>
                  <a:lnTo>
                    <a:pt x="255270" y="1211580"/>
                  </a:lnTo>
                  <a:lnTo>
                    <a:pt x="220980" y="1192530"/>
                  </a:lnTo>
                  <a:lnTo>
                    <a:pt x="186690" y="1165860"/>
                  </a:lnTo>
                  <a:lnTo>
                    <a:pt x="175260" y="1127760"/>
                  </a:lnTo>
                  <a:lnTo>
                    <a:pt x="175260" y="1093470"/>
                  </a:lnTo>
                  <a:lnTo>
                    <a:pt x="171450" y="1028700"/>
                  </a:lnTo>
                  <a:lnTo>
                    <a:pt x="144780" y="990600"/>
                  </a:lnTo>
                  <a:lnTo>
                    <a:pt x="110490" y="948690"/>
                  </a:lnTo>
                  <a:lnTo>
                    <a:pt x="53340" y="948690"/>
                  </a:lnTo>
                  <a:lnTo>
                    <a:pt x="38100" y="929640"/>
                  </a:lnTo>
                  <a:lnTo>
                    <a:pt x="38100" y="895350"/>
                  </a:lnTo>
                  <a:lnTo>
                    <a:pt x="19050" y="891540"/>
                  </a:lnTo>
                  <a:lnTo>
                    <a:pt x="0" y="876300"/>
                  </a:lnTo>
                  <a:lnTo>
                    <a:pt x="0" y="845820"/>
                  </a:lnTo>
                </a:path>
              </a:pathLst>
            </a:cu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p>
          </p:txBody>
        </p:sp>
        <p:sp>
          <p:nvSpPr>
            <p:cNvPr id="49" name="任意多边形 48"/>
            <p:cNvSpPr/>
            <p:nvPr/>
          </p:nvSpPr>
          <p:spPr>
            <a:xfrm>
              <a:off x="259080" y="3886454"/>
              <a:ext cx="769986" cy="857472"/>
            </a:xfrm>
            <a:custGeom>
              <a:avLst/>
              <a:gdLst>
                <a:gd name="connsiteX0" fmla="*/ 255270 w 769620"/>
                <a:gd name="connsiteY0" fmla="*/ 857250 h 857250"/>
                <a:gd name="connsiteX1" fmla="*/ 190500 w 769620"/>
                <a:gd name="connsiteY1" fmla="*/ 826770 h 857250"/>
                <a:gd name="connsiteX2" fmla="*/ 190500 w 769620"/>
                <a:gd name="connsiteY2" fmla="*/ 826770 h 857250"/>
                <a:gd name="connsiteX3" fmla="*/ 118110 w 769620"/>
                <a:gd name="connsiteY3" fmla="*/ 826770 h 857250"/>
                <a:gd name="connsiteX4" fmla="*/ 83820 w 769620"/>
                <a:gd name="connsiteY4" fmla="*/ 800100 h 857250"/>
                <a:gd name="connsiteX5" fmla="*/ 53340 w 769620"/>
                <a:gd name="connsiteY5" fmla="*/ 773430 h 857250"/>
                <a:gd name="connsiteX6" fmla="*/ 3810 w 769620"/>
                <a:gd name="connsiteY6" fmla="*/ 777240 h 857250"/>
                <a:gd name="connsiteX7" fmla="*/ 3810 w 769620"/>
                <a:gd name="connsiteY7" fmla="*/ 746760 h 857250"/>
                <a:gd name="connsiteX8" fmla="*/ 0 w 769620"/>
                <a:gd name="connsiteY8" fmla="*/ 655320 h 857250"/>
                <a:gd name="connsiteX9" fmla="*/ 15240 w 769620"/>
                <a:gd name="connsiteY9" fmla="*/ 624840 h 857250"/>
                <a:gd name="connsiteX10" fmla="*/ 83820 w 769620"/>
                <a:gd name="connsiteY10" fmla="*/ 571500 h 857250"/>
                <a:gd name="connsiteX11" fmla="*/ 118110 w 769620"/>
                <a:gd name="connsiteY11" fmla="*/ 514350 h 857250"/>
                <a:gd name="connsiteX12" fmla="*/ 137160 w 769620"/>
                <a:gd name="connsiteY12" fmla="*/ 472440 h 857250"/>
                <a:gd name="connsiteX13" fmla="*/ 171450 w 769620"/>
                <a:gd name="connsiteY13" fmla="*/ 449580 h 857250"/>
                <a:gd name="connsiteX14" fmla="*/ 217170 w 769620"/>
                <a:gd name="connsiteY14" fmla="*/ 419100 h 857250"/>
                <a:gd name="connsiteX15" fmla="*/ 270510 w 769620"/>
                <a:gd name="connsiteY15" fmla="*/ 396240 h 857250"/>
                <a:gd name="connsiteX16" fmla="*/ 323850 w 769620"/>
                <a:gd name="connsiteY16" fmla="*/ 396240 h 857250"/>
                <a:gd name="connsiteX17" fmla="*/ 365760 w 769620"/>
                <a:gd name="connsiteY17" fmla="*/ 373380 h 857250"/>
                <a:gd name="connsiteX18" fmla="*/ 384810 w 769620"/>
                <a:gd name="connsiteY18" fmla="*/ 335280 h 857250"/>
                <a:gd name="connsiteX19" fmla="*/ 384810 w 769620"/>
                <a:gd name="connsiteY19" fmla="*/ 300990 h 857250"/>
                <a:gd name="connsiteX20" fmla="*/ 361950 w 769620"/>
                <a:gd name="connsiteY20" fmla="*/ 270510 h 857250"/>
                <a:gd name="connsiteX21" fmla="*/ 411480 w 769620"/>
                <a:gd name="connsiteY21" fmla="*/ 270510 h 857250"/>
                <a:gd name="connsiteX22" fmla="*/ 453390 w 769620"/>
                <a:gd name="connsiteY22" fmla="*/ 232410 h 857250"/>
                <a:gd name="connsiteX23" fmla="*/ 476250 w 769620"/>
                <a:gd name="connsiteY23" fmla="*/ 163830 h 857250"/>
                <a:gd name="connsiteX24" fmla="*/ 510540 w 769620"/>
                <a:gd name="connsiteY24" fmla="*/ 133350 h 857250"/>
                <a:gd name="connsiteX25" fmla="*/ 586740 w 769620"/>
                <a:gd name="connsiteY25" fmla="*/ 106680 h 857250"/>
                <a:gd name="connsiteX26" fmla="*/ 651510 w 769620"/>
                <a:gd name="connsiteY26" fmla="*/ 99060 h 857250"/>
                <a:gd name="connsiteX27" fmla="*/ 681990 w 769620"/>
                <a:gd name="connsiteY27" fmla="*/ 49530 h 857250"/>
                <a:gd name="connsiteX28" fmla="*/ 712470 w 769620"/>
                <a:gd name="connsiteY28" fmla="*/ 19050 h 857250"/>
                <a:gd name="connsiteX29" fmla="*/ 754380 w 769620"/>
                <a:gd name="connsiteY29" fmla="*/ 0 h 857250"/>
                <a:gd name="connsiteX30" fmla="*/ 769620 w 769620"/>
                <a:gd name="connsiteY30" fmla="*/ 762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69620" h="857250">
                  <a:moveTo>
                    <a:pt x="255270" y="857250"/>
                  </a:moveTo>
                  <a:lnTo>
                    <a:pt x="190500" y="826770"/>
                  </a:lnTo>
                  <a:lnTo>
                    <a:pt x="190500" y="826770"/>
                  </a:lnTo>
                  <a:lnTo>
                    <a:pt x="118110" y="826770"/>
                  </a:lnTo>
                  <a:lnTo>
                    <a:pt x="83820" y="800100"/>
                  </a:lnTo>
                  <a:lnTo>
                    <a:pt x="53340" y="773430"/>
                  </a:lnTo>
                  <a:lnTo>
                    <a:pt x="3810" y="777240"/>
                  </a:lnTo>
                  <a:lnTo>
                    <a:pt x="3810" y="746760"/>
                  </a:lnTo>
                  <a:lnTo>
                    <a:pt x="0" y="655320"/>
                  </a:lnTo>
                  <a:lnTo>
                    <a:pt x="15240" y="624840"/>
                  </a:lnTo>
                  <a:lnTo>
                    <a:pt x="83820" y="571500"/>
                  </a:lnTo>
                  <a:lnTo>
                    <a:pt x="118110" y="514350"/>
                  </a:lnTo>
                  <a:lnTo>
                    <a:pt x="137160" y="472440"/>
                  </a:lnTo>
                  <a:lnTo>
                    <a:pt x="171450" y="449580"/>
                  </a:lnTo>
                  <a:lnTo>
                    <a:pt x="217170" y="419100"/>
                  </a:lnTo>
                  <a:lnTo>
                    <a:pt x="270510" y="396240"/>
                  </a:lnTo>
                  <a:lnTo>
                    <a:pt x="323850" y="396240"/>
                  </a:lnTo>
                  <a:lnTo>
                    <a:pt x="365760" y="373380"/>
                  </a:lnTo>
                  <a:lnTo>
                    <a:pt x="384810" y="335280"/>
                  </a:lnTo>
                  <a:lnTo>
                    <a:pt x="384810" y="300990"/>
                  </a:lnTo>
                  <a:lnTo>
                    <a:pt x="361950" y="270510"/>
                  </a:lnTo>
                  <a:lnTo>
                    <a:pt x="411480" y="270510"/>
                  </a:lnTo>
                  <a:lnTo>
                    <a:pt x="453390" y="232410"/>
                  </a:lnTo>
                  <a:lnTo>
                    <a:pt x="476250" y="163830"/>
                  </a:lnTo>
                  <a:lnTo>
                    <a:pt x="510540" y="133350"/>
                  </a:lnTo>
                  <a:lnTo>
                    <a:pt x="586740" y="106680"/>
                  </a:lnTo>
                  <a:lnTo>
                    <a:pt x="651510" y="99060"/>
                  </a:lnTo>
                  <a:lnTo>
                    <a:pt x="681990" y="49530"/>
                  </a:lnTo>
                  <a:lnTo>
                    <a:pt x="712470" y="19050"/>
                  </a:lnTo>
                  <a:lnTo>
                    <a:pt x="754380" y="0"/>
                  </a:lnTo>
                  <a:lnTo>
                    <a:pt x="769620" y="7620"/>
                  </a:lnTo>
                </a:path>
              </a:pathLst>
            </a:custGeom>
            <a:grpFill/>
            <a:ln w="127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p>
          </p:txBody>
        </p:sp>
      </p:grpSp>
      <p:cxnSp>
        <p:nvCxnSpPr>
          <p:cNvPr id="55" name="直接连接符 54"/>
          <p:cNvCxnSpPr/>
          <p:nvPr/>
        </p:nvCxnSpPr>
        <p:spPr>
          <a:xfrm>
            <a:off x="523042" y="5715016"/>
            <a:ext cx="11215766" cy="1685"/>
          </a:xfrm>
          <a:prstGeom prst="line">
            <a:avLst/>
          </a:prstGeom>
        </p:spPr>
        <p:style>
          <a:lnRef idx="1">
            <a:schemeClr val="accent1"/>
          </a:lnRef>
          <a:fillRef idx="0">
            <a:schemeClr val="accent1"/>
          </a:fillRef>
          <a:effectRef idx="0">
            <a:schemeClr val="accent1"/>
          </a:effectRef>
          <a:fontRef idx="minor">
            <a:schemeClr val="tx1"/>
          </a:fontRef>
        </p:style>
      </p:cxnSp>
      <p:grpSp>
        <p:nvGrpSpPr>
          <p:cNvPr id="109" name="组合 108"/>
          <p:cNvGrpSpPr/>
          <p:nvPr/>
        </p:nvGrpSpPr>
        <p:grpSpPr>
          <a:xfrm>
            <a:off x="737356" y="4786322"/>
            <a:ext cx="928694" cy="1460667"/>
            <a:chOff x="594480" y="5000636"/>
            <a:chExt cx="928694" cy="1460667"/>
          </a:xfrm>
        </p:grpSpPr>
        <p:sp>
          <p:nvSpPr>
            <p:cNvPr id="64" name="TextBox 63"/>
            <p:cNvSpPr txBox="1"/>
            <p:nvPr/>
          </p:nvSpPr>
          <p:spPr>
            <a:xfrm>
              <a:off x="594480" y="6215082"/>
              <a:ext cx="928694" cy="246221"/>
            </a:xfrm>
            <a:prstGeom prst="rect">
              <a:avLst/>
            </a:prstGeom>
            <a:noFill/>
          </p:spPr>
          <p:txBody>
            <a:bodyPr wrap="square" rtlCol="0" anchor="ctr">
              <a:spAutoFit/>
            </a:bodyPr>
            <a:lstStyle/>
            <a:p>
              <a:r>
                <a:rPr lang="en-US" altLang="zh-CN" sz="1000" dirty="0" smtClean="0">
                  <a:latin typeface="微软雅黑" panose="020B0503020204020204" pitchFamily="34" charset="-122"/>
                  <a:ea typeface="微软雅黑" panose="020B0503020204020204" pitchFamily="34" charset="-122"/>
                </a:rPr>
                <a:t>2001</a:t>
              </a:r>
              <a:r>
                <a:rPr lang="zh-CN" altLang="en-US" sz="1000" dirty="0" smtClean="0">
                  <a:latin typeface="微软雅黑" panose="020B0503020204020204" pitchFamily="34" charset="-122"/>
                  <a:ea typeface="微软雅黑" panose="020B0503020204020204" pitchFamily="34" charset="-122"/>
                </a:rPr>
                <a:t>年</a:t>
              </a:r>
              <a:r>
                <a:rPr lang="en-US" altLang="zh-CN" sz="1000" dirty="0" smtClean="0">
                  <a:latin typeface="微软雅黑" panose="020B0503020204020204" pitchFamily="34" charset="-122"/>
                  <a:ea typeface="微软雅黑" panose="020B0503020204020204" pitchFamily="34" charset="-122"/>
                </a:rPr>
                <a:t>9</a:t>
              </a:r>
              <a:r>
                <a:rPr lang="zh-CN" altLang="en-US" sz="1000" dirty="0" smtClean="0">
                  <a:latin typeface="微软雅黑" panose="020B0503020204020204" pitchFamily="34" charset="-122"/>
                  <a:ea typeface="微软雅黑" panose="020B0503020204020204" pitchFamily="34" charset="-122"/>
                </a:rPr>
                <a:t>月</a:t>
              </a:r>
              <a:endParaRPr lang="zh-CN" altLang="en-US" sz="1000" dirty="0" smtClean="0">
                <a:latin typeface="微软雅黑" panose="020B0503020204020204" pitchFamily="34" charset="-122"/>
                <a:ea typeface="微软雅黑" panose="020B0503020204020204" pitchFamily="34" charset="-122"/>
              </a:endParaRPr>
            </a:p>
          </p:txBody>
        </p:sp>
        <p:grpSp>
          <p:nvGrpSpPr>
            <p:cNvPr id="70" name="组合 69"/>
            <p:cNvGrpSpPr/>
            <p:nvPr/>
          </p:nvGrpSpPr>
          <p:grpSpPr>
            <a:xfrm>
              <a:off x="594480" y="5000636"/>
              <a:ext cx="857256" cy="950198"/>
              <a:chOff x="594480" y="5000636"/>
              <a:chExt cx="857256" cy="950198"/>
            </a:xfrm>
          </p:grpSpPr>
          <p:sp>
            <p:nvSpPr>
              <p:cNvPr id="66" name="TextBox 65"/>
              <p:cNvSpPr txBox="1"/>
              <p:nvPr/>
            </p:nvSpPr>
            <p:spPr>
              <a:xfrm>
                <a:off x="594480" y="5000636"/>
                <a:ext cx="857256" cy="461665"/>
              </a:xfrm>
              <a:prstGeom prst="rect">
                <a:avLst/>
              </a:prstGeom>
              <a:noFill/>
            </p:spPr>
            <p:txBody>
              <a:bodyPr wrap="square" rtlCol="0" anchor="ctr">
                <a:spAutoFit/>
              </a:bodyPr>
              <a:lstStyle/>
              <a:p>
                <a:pPr algn="ctr"/>
                <a:r>
                  <a:rPr lang="zh-CN" altLang="en-US" sz="1200" dirty="0" smtClean="0">
                    <a:latin typeface="微软雅黑" panose="020B0503020204020204" pitchFamily="34" charset="-122"/>
                    <a:ea typeface="微软雅黑" panose="020B0503020204020204" pitchFamily="34" charset="-122"/>
                  </a:rPr>
                  <a:t>山东</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分公司</a:t>
                </a:r>
                <a:endParaRPr lang="zh-CN" altLang="en-US" sz="1200" dirty="0" smtClean="0">
                  <a:latin typeface="微软雅黑" panose="020B0503020204020204" pitchFamily="34" charset="-122"/>
                  <a:ea typeface="微软雅黑" panose="020B0503020204020204" pitchFamily="34" charset="-122"/>
                </a:endParaRPr>
              </a:p>
            </p:txBody>
          </p:sp>
          <p:grpSp>
            <p:nvGrpSpPr>
              <p:cNvPr id="67" name="组合 63"/>
              <p:cNvGrpSpPr/>
              <p:nvPr/>
            </p:nvGrpSpPr>
            <p:grpSpPr>
              <a:xfrm>
                <a:off x="880232" y="5643577"/>
                <a:ext cx="273351" cy="307257"/>
                <a:chOff x="8125599" y="1434035"/>
                <a:chExt cx="2036802" cy="2036802"/>
              </a:xfrm>
            </p:grpSpPr>
            <p:sp>
              <p:nvSpPr>
                <p:cNvPr id="68" name="椭圆 67"/>
                <p:cNvSpPr/>
                <p:nvPr/>
              </p:nvSpPr>
              <p:spPr>
                <a:xfrm>
                  <a:off x="8125599" y="1434035"/>
                  <a:ext cx="2036802" cy="2036802"/>
                </a:xfrm>
                <a:prstGeom prst="ellipse">
                  <a:avLst/>
                </a:prstGeom>
                <a:solidFill>
                  <a:srgbClr val="E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9" name="Freeform 9"/>
                <p:cNvSpPr>
                  <a:spLocks noEditPoints="1"/>
                </p:cNvSpPr>
                <p:nvPr/>
              </p:nvSpPr>
              <p:spPr bwMode="auto">
                <a:xfrm rot="19469485">
                  <a:off x="8577911" y="1818271"/>
                  <a:ext cx="1162161" cy="1238354"/>
                </a:xfrm>
                <a:custGeom>
                  <a:avLst/>
                  <a:gdLst>
                    <a:gd name="T0" fmla="*/ 147 w 243"/>
                    <a:gd name="T1" fmla="*/ 240 h 269"/>
                    <a:gd name="T2" fmla="*/ 90 w 243"/>
                    <a:gd name="T3" fmla="*/ 234 h 269"/>
                    <a:gd name="T4" fmla="*/ 147 w 243"/>
                    <a:gd name="T5" fmla="*/ 227 h 269"/>
                    <a:gd name="T6" fmla="*/ 147 w 243"/>
                    <a:gd name="T7" fmla="*/ 243 h 269"/>
                    <a:gd name="T8" fmla="*/ 90 w 243"/>
                    <a:gd name="T9" fmla="*/ 252 h 269"/>
                    <a:gd name="T10" fmla="*/ 96 w 243"/>
                    <a:gd name="T11" fmla="*/ 256 h 269"/>
                    <a:gd name="T12" fmla="*/ 105 w 243"/>
                    <a:gd name="T13" fmla="*/ 262 h 269"/>
                    <a:gd name="T14" fmla="*/ 126 w 243"/>
                    <a:gd name="T15" fmla="*/ 269 h 269"/>
                    <a:gd name="T16" fmla="*/ 138 w 243"/>
                    <a:gd name="T17" fmla="*/ 261 h 269"/>
                    <a:gd name="T18" fmla="*/ 147 w 243"/>
                    <a:gd name="T19" fmla="*/ 256 h 269"/>
                    <a:gd name="T20" fmla="*/ 147 w 243"/>
                    <a:gd name="T21" fmla="*/ 243 h 269"/>
                    <a:gd name="T22" fmla="*/ 128 w 243"/>
                    <a:gd name="T23" fmla="*/ 32 h 269"/>
                    <a:gd name="T24" fmla="*/ 122 w 243"/>
                    <a:gd name="T25" fmla="*/ 0 h 269"/>
                    <a:gd name="T26" fmla="*/ 115 w 243"/>
                    <a:gd name="T27" fmla="*/ 32 h 269"/>
                    <a:gd name="T28" fmla="*/ 54 w 243"/>
                    <a:gd name="T29" fmla="*/ 63 h 269"/>
                    <a:gd name="T30" fmla="*/ 63 w 243"/>
                    <a:gd name="T31" fmla="*/ 63 h 269"/>
                    <a:gd name="T32" fmla="*/ 45 w 243"/>
                    <a:gd name="T33" fmla="*/ 36 h 269"/>
                    <a:gd name="T34" fmla="*/ 36 w 243"/>
                    <a:gd name="T35" fmla="*/ 45 h 269"/>
                    <a:gd name="T36" fmla="*/ 38 w 243"/>
                    <a:gd name="T37" fmla="*/ 122 h 269"/>
                    <a:gd name="T38" fmla="*/ 6 w 243"/>
                    <a:gd name="T39" fmla="*/ 115 h 269"/>
                    <a:gd name="T40" fmla="*/ 6 w 243"/>
                    <a:gd name="T41" fmla="*/ 128 h 269"/>
                    <a:gd name="T42" fmla="*/ 38 w 243"/>
                    <a:gd name="T43" fmla="*/ 122 h 269"/>
                    <a:gd name="T44" fmla="*/ 36 w 243"/>
                    <a:gd name="T45" fmla="*/ 199 h 269"/>
                    <a:gd name="T46" fmla="*/ 40 w 243"/>
                    <a:gd name="T47" fmla="*/ 209 h 269"/>
                    <a:gd name="T48" fmla="*/ 63 w 243"/>
                    <a:gd name="T49" fmla="*/ 189 h 269"/>
                    <a:gd name="T50" fmla="*/ 54 w 243"/>
                    <a:gd name="T51" fmla="*/ 180 h 269"/>
                    <a:gd name="T52" fmla="*/ 180 w 243"/>
                    <a:gd name="T53" fmla="*/ 180 h 269"/>
                    <a:gd name="T54" fmla="*/ 199 w 243"/>
                    <a:gd name="T55" fmla="*/ 208 h 269"/>
                    <a:gd name="T56" fmla="*/ 208 w 243"/>
                    <a:gd name="T57" fmla="*/ 208 h 269"/>
                    <a:gd name="T58" fmla="*/ 189 w 243"/>
                    <a:gd name="T59" fmla="*/ 180 h 269"/>
                    <a:gd name="T60" fmla="*/ 211 w 243"/>
                    <a:gd name="T61" fmla="*/ 115 h 269"/>
                    <a:gd name="T62" fmla="*/ 211 w 243"/>
                    <a:gd name="T63" fmla="*/ 128 h 269"/>
                    <a:gd name="T64" fmla="*/ 243 w 243"/>
                    <a:gd name="T65" fmla="*/ 122 h 269"/>
                    <a:gd name="T66" fmla="*/ 185 w 243"/>
                    <a:gd name="T67" fmla="*/ 65 h 269"/>
                    <a:gd name="T68" fmla="*/ 208 w 243"/>
                    <a:gd name="T69" fmla="*/ 45 h 269"/>
                    <a:gd name="T70" fmla="*/ 199 w 243"/>
                    <a:gd name="T71" fmla="*/ 36 h 269"/>
                    <a:gd name="T72" fmla="*/ 180 w 243"/>
                    <a:gd name="T73" fmla="*/ 63 h 269"/>
                    <a:gd name="T74" fmla="*/ 154 w 243"/>
                    <a:gd name="T75" fmla="*/ 218 h 269"/>
                    <a:gd name="T76" fmla="*/ 96 w 243"/>
                    <a:gd name="T77" fmla="*/ 224 h 269"/>
                    <a:gd name="T78" fmla="*/ 96 w 243"/>
                    <a:gd name="T79" fmla="*/ 211 h 269"/>
                    <a:gd name="T80" fmla="*/ 122 w 243"/>
                    <a:gd name="T81" fmla="*/ 58 h 269"/>
                    <a:gd name="T82" fmla="*/ 148 w 243"/>
                    <a:gd name="T83" fmla="*/ 211 h 269"/>
                    <a:gd name="T84" fmla="*/ 107 w 243"/>
                    <a:gd name="T85" fmla="*/ 76 h 269"/>
                    <a:gd name="T86" fmla="*/ 67 w 243"/>
                    <a:gd name="T87" fmla="*/ 111 h 269"/>
                    <a:gd name="T88" fmla="*/ 72 w 243"/>
                    <a:gd name="T89" fmla="*/ 117 h 269"/>
                    <a:gd name="T90" fmla="*/ 104 w 243"/>
                    <a:gd name="T91" fmla="*/ 8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69">
                      <a:moveTo>
                        <a:pt x="154" y="234"/>
                      </a:moveTo>
                      <a:cubicBezTo>
                        <a:pt x="154" y="237"/>
                        <a:pt x="151" y="240"/>
                        <a:pt x="147" y="240"/>
                      </a:cubicBezTo>
                      <a:cubicBezTo>
                        <a:pt x="96" y="240"/>
                        <a:pt x="96" y="240"/>
                        <a:pt x="96" y="240"/>
                      </a:cubicBezTo>
                      <a:cubicBezTo>
                        <a:pt x="92" y="240"/>
                        <a:pt x="90" y="237"/>
                        <a:pt x="90" y="234"/>
                      </a:cubicBezTo>
                      <a:cubicBezTo>
                        <a:pt x="90" y="230"/>
                        <a:pt x="92" y="227"/>
                        <a:pt x="96" y="227"/>
                      </a:cubicBezTo>
                      <a:cubicBezTo>
                        <a:pt x="147" y="227"/>
                        <a:pt x="147" y="227"/>
                        <a:pt x="147" y="227"/>
                      </a:cubicBezTo>
                      <a:cubicBezTo>
                        <a:pt x="151" y="227"/>
                        <a:pt x="154" y="230"/>
                        <a:pt x="154" y="234"/>
                      </a:cubicBezTo>
                      <a:close/>
                      <a:moveTo>
                        <a:pt x="147" y="243"/>
                      </a:moveTo>
                      <a:cubicBezTo>
                        <a:pt x="96" y="243"/>
                        <a:pt x="96" y="243"/>
                        <a:pt x="96" y="243"/>
                      </a:cubicBezTo>
                      <a:cubicBezTo>
                        <a:pt x="92" y="243"/>
                        <a:pt x="89" y="247"/>
                        <a:pt x="90" y="252"/>
                      </a:cubicBezTo>
                      <a:cubicBezTo>
                        <a:pt x="91" y="254"/>
                        <a:pt x="93" y="256"/>
                        <a:pt x="96" y="256"/>
                      </a:cubicBezTo>
                      <a:cubicBezTo>
                        <a:pt x="96" y="256"/>
                        <a:pt x="96" y="256"/>
                        <a:pt x="96" y="256"/>
                      </a:cubicBezTo>
                      <a:cubicBezTo>
                        <a:pt x="100" y="256"/>
                        <a:pt x="103" y="258"/>
                        <a:pt x="105" y="261"/>
                      </a:cubicBezTo>
                      <a:cubicBezTo>
                        <a:pt x="105" y="262"/>
                        <a:pt x="105" y="262"/>
                        <a:pt x="105" y="262"/>
                      </a:cubicBezTo>
                      <a:cubicBezTo>
                        <a:pt x="107" y="266"/>
                        <a:pt x="112" y="269"/>
                        <a:pt x="117" y="269"/>
                      </a:cubicBezTo>
                      <a:cubicBezTo>
                        <a:pt x="126" y="269"/>
                        <a:pt x="126" y="269"/>
                        <a:pt x="126" y="269"/>
                      </a:cubicBezTo>
                      <a:cubicBezTo>
                        <a:pt x="131" y="269"/>
                        <a:pt x="136" y="266"/>
                        <a:pt x="138" y="262"/>
                      </a:cubicBezTo>
                      <a:cubicBezTo>
                        <a:pt x="138" y="261"/>
                        <a:pt x="138" y="261"/>
                        <a:pt x="138" y="261"/>
                      </a:cubicBezTo>
                      <a:cubicBezTo>
                        <a:pt x="140" y="258"/>
                        <a:pt x="143" y="256"/>
                        <a:pt x="147" y="256"/>
                      </a:cubicBezTo>
                      <a:cubicBezTo>
                        <a:pt x="147" y="256"/>
                        <a:pt x="147" y="256"/>
                        <a:pt x="147" y="256"/>
                      </a:cubicBezTo>
                      <a:cubicBezTo>
                        <a:pt x="150" y="256"/>
                        <a:pt x="152" y="254"/>
                        <a:pt x="153" y="252"/>
                      </a:cubicBezTo>
                      <a:cubicBezTo>
                        <a:pt x="155" y="247"/>
                        <a:pt x="151" y="243"/>
                        <a:pt x="147" y="243"/>
                      </a:cubicBezTo>
                      <a:close/>
                      <a:moveTo>
                        <a:pt x="122" y="38"/>
                      </a:moveTo>
                      <a:cubicBezTo>
                        <a:pt x="125" y="38"/>
                        <a:pt x="128" y="36"/>
                        <a:pt x="128" y="32"/>
                      </a:cubicBezTo>
                      <a:cubicBezTo>
                        <a:pt x="128" y="6"/>
                        <a:pt x="128" y="6"/>
                        <a:pt x="128" y="6"/>
                      </a:cubicBezTo>
                      <a:cubicBezTo>
                        <a:pt x="128" y="3"/>
                        <a:pt x="125" y="0"/>
                        <a:pt x="122" y="0"/>
                      </a:cubicBezTo>
                      <a:cubicBezTo>
                        <a:pt x="118" y="0"/>
                        <a:pt x="115" y="3"/>
                        <a:pt x="115" y="6"/>
                      </a:cubicBezTo>
                      <a:cubicBezTo>
                        <a:pt x="115" y="32"/>
                        <a:pt x="115" y="32"/>
                        <a:pt x="115" y="32"/>
                      </a:cubicBezTo>
                      <a:cubicBezTo>
                        <a:pt x="115" y="36"/>
                        <a:pt x="118" y="38"/>
                        <a:pt x="122" y="38"/>
                      </a:cubicBezTo>
                      <a:close/>
                      <a:moveTo>
                        <a:pt x="54" y="63"/>
                      </a:moveTo>
                      <a:cubicBezTo>
                        <a:pt x="55" y="64"/>
                        <a:pt x="57" y="65"/>
                        <a:pt x="58" y="65"/>
                      </a:cubicBezTo>
                      <a:cubicBezTo>
                        <a:pt x="60" y="65"/>
                        <a:pt x="62" y="64"/>
                        <a:pt x="63" y="63"/>
                      </a:cubicBezTo>
                      <a:cubicBezTo>
                        <a:pt x="65" y="60"/>
                        <a:pt x="65" y="56"/>
                        <a:pt x="63" y="54"/>
                      </a:cubicBezTo>
                      <a:cubicBezTo>
                        <a:pt x="45" y="36"/>
                        <a:pt x="45" y="36"/>
                        <a:pt x="45" y="36"/>
                      </a:cubicBezTo>
                      <a:cubicBezTo>
                        <a:pt x="42" y="33"/>
                        <a:pt x="38" y="33"/>
                        <a:pt x="36" y="36"/>
                      </a:cubicBezTo>
                      <a:cubicBezTo>
                        <a:pt x="33" y="38"/>
                        <a:pt x="33" y="42"/>
                        <a:pt x="36" y="45"/>
                      </a:cubicBezTo>
                      <a:lnTo>
                        <a:pt x="54" y="63"/>
                      </a:lnTo>
                      <a:close/>
                      <a:moveTo>
                        <a:pt x="38" y="122"/>
                      </a:moveTo>
                      <a:cubicBezTo>
                        <a:pt x="38" y="118"/>
                        <a:pt x="36" y="115"/>
                        <a:pt x="32" y="115"/>
                      </a:cubicBezTo>
                      <a:cubicBezTo>
                        <a:pt x="6" y="115"/>
                        <a:pt x="6" y="115"/>
                        <a:pt x="6" y="115"/>
                      </a:cubicBezTo>
                      <a:cubicBezTo>
                        <a:pt x="3" y="115"/>
                        <a:pt x="0" y="118"/>
                        <a:pt x="0" y="122"/>
                      </a:cubicBezTo>
                      <a:cubicBezTo>
                        <a:pt x="0" y="125"/>
                        <a:pt x="3" y="128"/>
                        <a:pt x="6" y="128"/>
                      </a:cubicBezTo>
                      <a:cubicBezTo>
                        <a:pt x="32" y="128"/>
                        <a:pt x="32" y="128"/>
                        <a:pt x="32" y="128"/>
                      </a:cubicBezTo>
                      <a:cubicBezTo>
                        <a:pt x="36" y="128"/>
                        <a:pt x="38" y="125"/>
                        <a:pt x="38" y="122"/>
                      </a:cubicBezTo>
                      <a:close/>
                      <a:moveTo>
                        <a:pt x="54" y="180"/>
                      </a:moveTo>
                      <a:cubicBezTo>
                        <a:pt x="36" y="199"/>
                        <a:pt x="36" y="199"/>
                        <a:pt x="36" y="199"/>
                      </a:cubicBezTo>
                      <a:cubicBezTo>
                        <a:pt x="33" y="201"/>
                        <a:pt x="33" y="205"/>
                        <a:pt x="36" y="208"/>
                      </a:cubicBezTo>
                      <a:cubicBezTo>
                        <a:pt x="37" y="209"/>
                        <a:pt x="39" y="209"/>
                        <a:pt x="40" y="209"/>
                      </a:cubicBezTo>
                      <a:cubicBezTo>
                        <a:pt x="42" y="209"/>
                        <a:pt x="43" y="209"/>
                        <a:pt x="45" y="208"/>
                      </a:cubicBezTo>
                      <a:cubicBezTo>
                        <a:pt x="63" y="189"/>
                        <a:pt x="63" y="189"/>
                        <a:pt x="63" y="189"/>
                      </a:cubicBezTo>
                      <a:cubicBezTo>
                        <a:pt x="65" y="187"/>
                        <a:pt x="65" y="183"/>
                        <a:pt x="63" y="180"/>
                      </a:cubicBezTo>
                      <a:cubicBezTo>
                        <a:pt x="60" y="178"/>
                        <a:pt x="56" y="178"/>
                        <a:pt x="54" y="180"/>
                      </a:cubicBezTo>
                      <a:close/>
                      <a:moveTo>
                        <a:pt x="189" y="180"/>
                      </a:moveTo>
                      <a:cubicBezTo>
                        <a:pt x="187" y="178"/>
                        <a:pt x="183" y="178"/>
                        <a:pt x="180" y="180"/>
                      </a:cubicBezTo>
                      <a:cubicBezTo>
                        <a:pt x="178" y="183"/>
                        <a:pt x="178" y="187"/>
                        <a:pt x="180" y="189"/>
                      </a:cubicBezTo>
                      <a:cubicBezTo>
                        <a:pt x="199" y="208"/>
                        <a:pt x="199" y="208"/>
                        <a:pt x="199" y="208"/>
                      </a:cubicBezTo>
                      <a:cubicBezTo>
                        <a:pt x="200" y="209"/>
                        <a:pt x="201" y="209"/>
                        <a:pt x="203" y="209"/>
                      </a:cubicBezTo>
                      <a:cubicBezTo>
                        <a:pt x="205" y="209"/>
                        <a:pt x="206" y="209"/>
                        <a:pt x="208" y="208"/>
                      </a:cubicBezTo>
                      <a:cubicBezTo>
                        <a:pt x="210" y="205"/>
                        <a:pt x="210" y="201"/>
                        <a:pt x="208" y="199"/>
                      </a:cubicBezTo>
                      <a:lnTo>
                        <a:pt x="189" y="180"/>
                      </a:lnTo>
                      <a:close/>
                      <a:moveTo>
                        <a:pt x="237" y="115"/>
                      </a:moveTo>
                      <a:cubicBezTo>
                        <a:pt x="211" y="115"/>
                        <a:pt x="211" y="115"/>
                        <a:pt x="211" y="115"/>
                      </a:cubicBezTo>
                      <a:cubicBezTo>
                        <a:pt x="208" y="115"/>
                        <a:pt x="205" y="118"/>
                        <a:pt x="205" y="122"/>
                      </a:cubicBezTo>
                      <a:cubicBezTo>
                        <a:pt x="205" y="125"/>
                        <a:pt x="208" y="128"/>
                        <a:pt x="211" y="128"/>
                      </a:cubicBezTo>
                      <a:cubicBezTo>
                        <a:pt x="237" y="128"/>
                        <a:pt x="237" y="128"/>
                        <a:pt x="237" y="128"/>
                      </a:cubicBezTo>
                      <a:cubicBezTo>
                        <a:pt x="240" y="128"/>
                        <a:pt x="243" y="125"/>
                        <a:pt x="243" y="122"/>
                      </a:cubicBezTo>
                      <a:cubicBezTo>
                        <a:pt x="243" y="118"/>
                        <a:pt x="240" y="115"/>
                        <a:pt x="237" y="115"/>
                      </a:cubicBezTo>
                      <a:close/>
                      <a:moveTo>
                        <a:pt x="185" y="65"/>
                      </a:moveTo>
                      <a:cubicBezTo>
                        <a:pt x="187" y="65"/>
                        <a:pt x="188" y="64"/>
                        <a:pt x="189" y="63"/>
                      </a:cubicBezTo>
                      <a:cubicBezTo>
                        <a:pt x="208" y="45"/>
                        <a:pt x="208" y="45"/>
                        <a:pt x="208" y="45"/>
                      </a:cubicBezTo>
                      <a:cubicBezTo>
                        <a:pt x="210" y="42"/>
                        <a:pt x="210" y="38"/>
                        <a:pt x="208" y="36"/>
                      </a:cubicBezTo>
                      <a:cubicBezTo>
                        <a:pt x="205" y="33"/>
                        <a:pt x="201" y="33"/>
                        <a:pt x="199" y="36"/>
                      </a:cubicBezTo>
                      <a:cubicBezTo>
                        <a:pt x="180" y="54"/>
                        <a:pt x="180" y="54"/>
                        <a:pt x="180" y="54"/>
                      </a:cubicBezTo>
                      <a:cubicBezTo>
                        <a:pt x="178" y="56"/>
                        <a:pt x="178" y="60"/>
                        <a:pt x="180" y="63"/>
                      </a:cubicBezTo>
                      <a:cubicBezTo>
                        <a:pt x="182" y="64"/>
                        <a:pt x="183" y="65"/>
                        <a:pt x="185" y="65"/>
                      </a:cubicBezTo>
                      <a:close/>
                      <a:moveTo>
                        <a:pt x="154" y="218"/>
                      </a:moveTo>
                      <a:cubicBezTo>
                        <a:pt x="154" y="221"/>
                        <a:pt x="151" y="224"/>
                        <a:pt x="147" y="224"/>
                      </a:cubicBezTo>
                      <a:cubicBezTo>
                        <a:pt x="96" y="224"/>
                        <a:pt x="96" y="224"/>
                        <a:pt x="96" y="224"/>
                      </a:cubicBezTo>
                      <a:cubicBezTo>
                        <a:pt x="92" y="224"/>
                        <a:pt x="90" y="221"/>
                        <a:pt x="90" y="218"/>
                      </a:cubicBezTo>
                      <a:cubicBezTo>
                        <a:pt x="90" y="214"/>
                        <a:pt x="92" y="211"/>
                        <a:pt x="96" y="211"/>
                      </a:cubicBezTo>
                      <a:cubicBezTo>
                        <a:pt x="92" y="175"/>
                        <a:pt x="54" y="167"/>
                        <a:pt x="54" y="125"/>
                      </a:cubicBezTo>
                      <a:cubicBezTo>
                        <a:pt x="54" y="88"/>
                        <a:pt x="84" y="58"/>
                        <a:pt x="122" y="58"/>
                      </a:cubicBezTo>
                      <a:cubicBezTo>
                        <a:pt x="159" y="58"/>
                        <a:pt x="189" y="88"/>
                        <a:pt x="189" y="125"/>
                      </a:cubicBezTo>
                      <a:cubicBezTo>
                        <a:pt x="189" y="167"/>
                        <a:pt x="152" y="175"/>
                        <a:pt x="148" y="211"/>
                      </a:cubicBezTo>
                      <a:cubicBezTo>
                        <a:pt x="151" y="211"/>
                        <a:pt x="154" y="214"/>
                        <a:pt x="154" y="218"/>
                      </a:cubicBezTo>
                      <a:close/>
                      <a:moveTo>
                        <a:pt x="107" y="76"/>
                      </a:moveTo>
                      <a:cubicBezTo>
                        <a:pt x="106" y="73"/>
                        <a:pt x="103" y="72"/>
                        <a:pt x="101" y="73"/>
                      </a:cubicBezTo>
                      <a:cubicBezTo>
                        <a:pt x="84" y="80"/>
                        <a:pt x="72" y="94"/>
                        <a:pt x="67" y="111"/>
                      </a:cubicBezTo>
                      <a:cubicBezTo>
                        <a:pt x="67" y="113"/>
                        <a:pt x="68" y="116"/>
                        <a:pt x="71" y="117"/>
                      </a:cubicBezTo>
                      <a:cubicBezTo>
                        <a:pt x="71" y="117"/>
                        <a:pt x="72" y="117"/>
                        <a:pt x="72" y="117"/>
                      </a:cubicBezTo>
                      <a:cubicBezTo>
                        <a:pt x="74" y="117"/>
                        <a:pt x="76" y="115"/>
                        <a:pt x="77" y="113"/>
                      </a:cubicBezTo>
                      <a:cubicBezTo>
                        <a:pt x="80" y="99"/>
                        <a:pt x="91" y="87"/>
                        <a:pt x="104" y="82"/>
                      </a:cubicBezTo>
                      <a:cubicBezTo>
                        <a:pt x="107" y="81"/>
                        <a:pt x="108" y="78"/>
                        <a:pt x="107" y="76"/>
                      </a:cubicBezTo>
                      <a:close/>
                    </a:path>
                  </a:pathLst>
                </a:custGeom>
                <a:solidFill>
                  <a:schemeClr val="bg1">
                    <a:lumMod val="95000"/>
                  </a:schemeClr>
                </a:solidFill>
                <a:ln>
                  <a:noFill/>
                </a:ln>
              </p:spPr>
              <p:txBody>
                <a:bodyPr vert="horz" wrap="square" lIns="91440" tIns="45720" rIns="91440" bIns="45720" numCol="1" anchor="t" anchorCtr="0" compatLnSpc="1"/>
                <a:lstStyle/>
                <a:p>
                  <a:endParaRPr lang="zh-CN" altLang="en-US"/>
                </a:p>
              </p:txBody>
            </p:sp>
          </p:grpSp>
        </p:grpSp>
      </p:grpSp>
      <p:grpSp>
        <p:nvGrpSpPr>
          <p:cNvPr id="120" name="组合 119"/>
          <p:cNvGrpSpPr/>
          <p:nvPr/>
        </p:nvGrpSpPr>
        <p:grpSpPr>
          <a:xfrm>
            <a:off x="1594612" y="4786322"/>
            <a:ext cx="928694" cy="1460667"/>
            <a:chOff x="1737488" y="5000636"/>
            <a:chExt cx="928694" cy="1460667"/>
          </a:xfrm>
        </p:grpSpPr>
        <p:sp>
          <p:nvSpPr>
            <p:cNvPr id="58" name="TextBox 57"/>
            <p:cNvSpPr txBox="1"/>
            <p:nvPr/>
          </p:nvSpPr>
          <p:spPr>
            <a:xfrm>
              <a:off x="1737488" y="6215082"/>
              <a:ext cx="928694" cy="246221"/>
            </a:xfrm>
            <a:prstGeom prst="rect">
              <a:avLst/>
            </a:prstGeom>
            <a:noFill/>
          </p:spPr>
          <p:txBody>
            <a:bodyPr wrap="square" rtlCol="0" anchor="ctr">
              <a:spAutoFit/>
            </a:bodyPr>
            <a:lstStyle/>
            <a:p>
              <a:r>
                <a:rPr lang="en-US" altLang="zh-CN" sz="1000" dirty="0" smtClean="0">
                  <a:latin typeface="微软雅黑" panose="020B0503020204020204" pitchFamily="34" charset="-122"/>
                  <a:ea typeface="微软雅黑" panose="020B0503020204020204" pitchFamily="34" charset="-122"/>
                </a:rPr>
                <a:t>2004</a:t>
              </a:r>
              <a:r>
                <a:rPr lang="zh-CN" altLang="en-US" sz="1000" dirty="0" smtClean="0">
                  <a:latin typeface="微软雅黑" panose="020B0503020204020204" pitchFamily="34" charset="-122"/>
                  <a:ea typeface="微软雅黑" panose="020B0503020204020204" pitchFamily="34" charset="-122"/>
                </a:rPr>
                <a:t>年</a:t>
              </a:r>
              <a:r>
                <a:rPr lang="en-US" altLang="zh-CN" sz="1000" dirty="0" smtClean="0">
                  <a:latin typeface="微软雅黑" panose="020B0503020204020204" pitchFamily="34" charset="-122"/>
                  <a:ea typeface="微软雅黑" panose="020B0503020204020204" pitchFamily="34" charset="-122"/>
                </a:rPr>
                <a:t>9</a:t>
              </a:r>
              <a:r>
                <a:rPr lang="zh-CN" altLang="en-US" sz="1000" dirty="0" smtClean="0">
                  <a:latin typeface="微软雅黑" panose="020B0503020204020204" pitchFamily="34" charset="-122"/>
                  <a:ea typeface="微软雅黑" panose="020B0503020204020204" pitchFamily="34" charset="-122"/>
                </a:rPr>
                <a:t>月</a:t>
              </a:r>
              <a:endParaRPr lang="zh-CN" altLang="en-US" sz="1000" dirty="0" smtClean="0">
                <a:latin typeface="微软雅黑" panose="020B0503020204020204" pitchFamily="34" charset="-122"/>
                <a:ea typeface="微软雅黑" panose="020B0503020204020204" pitchFamily="34" charset="-122"/>
              </a:endParaRPr>
            </a:p>
          </p:txBody>
        </p:sp>
        <p:grpSp>
          <p:nvGrpSpPr>
            <p:cNvPr id="74" name="组合 73"/>
            <p:cNvGrpSpPr/>
            <p:nvPr/>
          </p:nvGrpSpPr>
          <p:grpSpPr>
            <a:xfrm>
              <a:off x="1737488" y="5000636"/>
              <a:ext cx="857256" cy="950198"/>
              <a:chOff x="594480" y="5000636"/>
              <a:chExt cx="857256" cy="950198"/>
            </a:xfrm>
          </p:grpSpPr>
          <p:sp>
            <p:nvSpPr>
              <p:cNvPr id="75" name="TextBox 74"/>
              <p:cNvSpPr txBox="1"/>
              <p:nvPr/>
            </p:nvSpPr>
            <p:spPr>
              <a:xfrm>
                <a:off x="594480" y="5000636"/>
                <a:ext cx="857256" cy="461665"/>
              </a:xfrm>
              <a:prstGeom prst="rect">
                <a:avLst/>
              </a:prstGeom>
              <a:noFill/>
            </p:spPr>
            <p:txBody>
              <a:bodyPr wrap="square" rtlCol="0" anchor="ctr">
                <a:spAutoFit/>
              </a:bodyPr>
              <a:lstStyle/>
              <a:p>
                <a:pPr algn="ctr"/>
                <a:r>
                  <a:rPr lang="zh-CN" altLang="en-US" sz="1200" dirty="0" smtClean="0">
                    <a:latin typeface="微软雅黑" panose="020B0503020204020204" pitchFamily="34" charset="-122"/>
                    <a:ea typeface="微软雅黑" panose="020B0503020204020204" pitchFamily="34" charset="-122"/>
                  </a:rPr>
                  <a:t>青岛</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分公司</a:t>
                </a:r>
                <a:endParaRPr lang="en-US" altLang="zh-CN" sz="1200" dirty="0" smtClean="0">
                  <a:latin typeface="微软雅黑" panose="020B0503020204020204" pitchFamily="34" charset="-122"/>
                  <a:ea typeface="微软雅黑" panose="020B0503020204020204" pitchFamily="34" charset="-122"/>
                </a:endParaRPr>
              </a:p>
            </p:txBody>
          </p:sp>
          <p:grpSp>
            <p:nvGrpSpPr>
              <p:cNvPr id="76" name="组合 63"/>
              <p:cNvGrpSpPr/>
              <p:nvPr/>
            </p:nvGrpSpPr>
            <p:grpSpPr>
              <a:xfrm>
                <a:off x="880232" y="5643577"/>
                <a:ext cx="273351" cy="307257"/>
                <a:chOff x="8125599" y="1434035"/>
                <a:chExt cx="2036802" cy="2036802"/>
              </a:xfrm>
            </p:grpSpPr>
            <p:sp>
              <p:nvSpPr>
                <p:cNvPr id="77" name="椭圆 76"/>
                <p:cNvSpPr/>
                <p:nvPr/>
              </p:nvSpPr>
              <p:spPr>
                <a:xfrm>
                  <a:off x="8125599" y="1434035"/>
                  <a:ext cx="2036802" cy="2036802"/>
                </a:xfrm>
                <a:prstGeom prst="ellipse">
                  <a:avLst/>
                </a:prstGeom>
                <a:solidFill>
                  <a:srgbClr val="E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8" name="Freeform 9"/>
                <p:cNvSpPr>
                  <a:spLocks noEditPoints="1"/>
                </p:cNvSpPr>
                <p:nvPr/>
              </p:nvSpPr>
              <p:spPr bwMode="auto">
                <a:xfrm rot="19469485">
                  <a:off x="8577911" y="1818271"/>
                  <a:ext cx="1162161" cy="1238354"/>
                </a:xfrm>
                <a:custGeom>
                  <a:avLst/>
                  <a:gdLst>
                    <a:gd name="T0" fmla="*/ 147 w 243"/>
                    <a:gd name="T1" fmla="*/ 240 h 269"/>
                    <a:gd name="T2" fmla="*/ 90 w 243"/>
                    <a:gd name="T3" fmla="*/ 234 h 269"/>
                    <a:gd name="T4" fmla="*/ 147 w 243"/>
                    <a:gd name="T5" fmla="*/ 227 h 269"/>
                    <a:gd name="T6" fmla="*/ 147 w 243"/>
                    <a:gd name="T7" fmla="*/ 243 h 269"/>
                    <a:gd name="T8" fmla="*/ 90 w 243"/>
                    <a:gd name="T9" fmla="*/ 252 h 269"/>
                    <a:gd name="T10" fmla="*/ 96 w 243"/>
                    <a:gd name="T11" fmla="*/ 256 h 269"/>
                    <a:gd name="T12" fmla="*/ 105 w 243"/>
                    <a:gd name="T13" fmla="*/ 262 h 269"/>
                    <a:gd name="T14" fmla="*/ 126 w 243"/>
                    <a:gd name="T15" fmla="*/ 269 h 269"/>
                    <a:gd name="T16" fmla="*/ 138 w 243"/>
                    <a:gd name="T17" fmla="*/ 261 h 269"/>
                    <a:gd name="T18" fmla="*/ 147 w 243"/>
                    <a:gd name="T19" fmla="*/ 256 h 269"/>
                    <a:gd name="T20" fmla="*/ 147 w 243"/>
                    <a:gd name="T21" fmla="*/ 243 h 269"/>
                    <a:gd name="T22" fmla="*/ 128 w 243"/>
                    <a:gd name="T23" fmla="*/ 32 h 269"/>
                    <a:gd name="T24" fmla="*/ 122 w 243"/>
                    <a:gd name="T25" fmla="*/ 0 h 269"/>
                    <a:gd name="T26" fmla="*/ 115 w 243"/>
                    <a:gd name="T27" fmla="*/ 32 h 269"/>
                    <a:gd name="T28" fmla="*/ 54 w 243"/>
                    <a:gd name="T29" fmla="*/ 63 h 269"/>
                    <a:gd name="T30" fmla="*/ 63 w 243"/>
                    <a:gd name="T31" fmla="*/ 63 h 269"/>
                    <a:gd name="T32" fmla="*/ 45 w 243"/>
                    <a:gd name="T33" fmla="*/ 36 h 269"/>
                    <a:gd name="T34" fmla="*/ 36 w 243"/>
                    <a:gd name="T35" fmla="*/ 45 h 269"/>
                    <a:gd name="T36" fmla="*/ 38 w 243"/>
                    <a:gd name="T37" fmla="*/ 122 h 269"/>
                    <a:gd name="T38" fmla="*/ 6 w 243"/>
                    <a:gd name="T39" fmla="*/ 115 h 269"/>
                    <a:gd name="T40" fmla="*/ 6 w 243"/>
                    <a:gd name="T41" fmla="*/ 128 h 269"/>
                    <a:gd name="T42" fmla="*/ 38 w 243"/>
                    <a:gd name="T43" fmla="*/ 122 h 269"/>
                    <a:gd name="T44" fmla="*/ 36 w 243"/>
                    <a:gd name="T45" fmla="*/ 199 h 269"/>
                    <a:gd name="T46" fmla="*/ 40 w 243"/>
                    <a:gd name="T47" fmla="*/ 209 h 269"/>
                    <a:gd name="T48" fmla="*/ 63 w 243"/>
                    <a:gd name="T49" fmla="*/ 189 h 269"/>
                    <a:gd name="T50" fmla="*/ 54 w 243"/>
                    <a:gd name="T51" fmla="*/ 180 h 269"/>
                    <a:gd name="T52" fmla="*/ 180 w 243"/>
                    <a:gd name="T53" fmla="*/ 180 h 269"/>
                    <a:gd name="T54" fmla="*/ 199 w 243"/>
                    <a:gd name="T55" fmla="*/ 208 h 269"/>
                    <a:gd name="T56" fmla="*/ 208 w 243"/>
                    <a:gd name="T57" fmla="*/ 208 h 269"/>
                    <a:gd name="T58" fmla="*/ 189 w 243"/>
                    <a:gd name="T59" fmla="*/ 180 h 269"/>
                    <a:gd name="T60" fmla="*/ 211 w 243"/>
                    <a:gd name="T61" fmla="*/ 115 h 269"/>
                    <a:gd name="T62" fmla="*/ 211 w 243"/>
                    <a:gd name="T63" fmla="*/ 128 h 269"/>
                    <a:gd name="T64" fmla="*/ 243 w 243"/>
                    <a:gd name="T65" fmla="*/ 122 h 269"/>
                    <a:gd name="T66" fmla="*/ 185 w 243"/>
                    <a:gd name="T67" fmla="*/ 65 h 269"/>
                    <a:gd name="T68" fmla="*/ 208 w 243"/>
                    <a:gd name="T69" fmla="*/ 45 h 269"/>
                    <a:gd name="T70" fmla="*/ 199 w 243"/>
                    <a:gd name="T71" fmla="*/ 36 h 269"/>
                    <a:gd name="T72" fmla="*/ 180 w 243"/>
                    <a:gd name="T73" fmla="*/ 63 h 269"/>
                    <a:gd name="T74" fmla="*/ 154 w 243"/>
                    <a:gd name="T75" fmla="*/ 218 h 269"/>
                    <a:gd name="T76" fmla="*/ 96 w 243"/>
                    <a:gd name="T77" fmla="*/ 224 h 269"/>
                    <a:gd name="T78" fmla="*/ 96 w 243"/>
                    <a:gd name="T79" fmla="*/ 211 h 269"/>
                    <a:gd name="T80" fmla="*/ 122 w 243"/>
                    <a:gd name="T81" fmla="*/ 58 h 269"/>
                    <a:gd name="T82" fmla="*/ 148 w 243"/>
                    <a:gd name="T83" fmla="*/ 211 h 269"/>
                    <a:gd name="T84" fmla="*/ 107 w 243"/>
                    <a:gd name="T85" fmla="*/ 76 h 269"/>
                    <a:gd name="T86" fmla="*/ 67 w 243"/>
                    <a:gd name="T87" fmla="*/ 111 h 269"/>
                    <a:gd name="T88" fmla="*/ 72 w 243"/>
                    <a:gd name="T89" fmla="*/ 117 h 269"/>
                    <a:gd name="T90" fmla="*/ 104 w 243"/>
                    <a:gd name="T91" fmla="*/ 8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69">
                      <a:moveTo>
                        <a:pt x="154" y="234"/>
                      </a:moveTo>
                      <a:cubicBezTo>
                        <a:pt x="154" y="237"/>
                        <a:pt x="151" y="240"/>
                        <a:pt x="147" y="240"/>
                      </a:cubicBezTo>
                      <a:cubicBezTo>
                        <a:pt x="96" y="240"/>
                        <a:pt x="96" y="240"/>
                        <a:pt x="96" y="240"/>
                      </a:cubicBezTo>
                      <a:cubicBezTo>
                        <a:pt x="92" y="240"/>
                        <a:pt x="90" y="237"/>
                        <a:pt x="90" y="234"/>
                      </a:cubicBezTo>
                      <a:cubicBezTo>
                        <a:pt x="90" y="230"/>
                        <a:pt x="92" y="227"/>
                        <a:pt x="96" y="227"/>
                      </a:cubicBezTo>
                      <a:cubicBezTo>
                        <a:pt x="147" y="227"/>
                        <a:pt x="147" y="227"/>
                        <a:pt x="147" y="227"/>
                      </a:cubicBezTo>
                      <a:cubicBezTo>
                        <a:pt x="151" y="227"/>
                        <a:pt x="154" y="230"/>
                        <a:pt x="154" y="234"/>
                      </a:cubicBezTo>
                      <a:close/>
                      <a:moveTo>
                        <a:pt x="147" y="243"/>
                      </a:moveTo>
                      <a:cubicBezTo>
                        <a:pt x="96" y="243"/>
                        <a:pt x="96" y="243"/>
                        <a:pt x="96" y="243"/>
                      </a:cubicBezTo>
                      <a:cubicBezTo>
                        <a:pt x="92" y="243"/>
                        <a:pt x="89" y="247"/>
                        <a:pt x="90" y="252"/>
                      </a:cubicBezTo>
                      <a:cubicBezTo>
                        <a:pt x="91" y="254"/>
                        <a:pt x="93" y="256"/>
                        <a:pt x="96" y="256"/>
                      </a:cubicBezTo>
                      <a:cubicBezTo>
                        <a:pt x="96" y="256"/>
                        <a:pt x="96" y="256"/>
                        <a:pt x="96" y="256"/>
                      </a:cubicBezTo>
                      <a:cubicBezTo>
                        <a:pt x="100" y="256"/>
                        <a:pt x="103" y="258"/>
                        <a:pt x="105" y="261"/>
                      </a:cubicBezTo>
                      <a:cubicBezTo>
                        <a:pt x="105" y="262"/>
                        <a:pt x="105" y="262"/>
                        <a:pt x="105" y="262"/>
                      </a:cubicBezTo>
                      <a:cubicBezTo>
                        <a:pt x="107" y="266"/>
                        <a:pt x="112" y="269"/>
                        <a:pt x="117" y="269"/>
                      </a:cubicBezTo>
                      <a:cubicBezTo>
                        <a:pt x="126" y="269"/>
                        <a:pt x="126" y="269"/>
                        <a:pt x="126" y="269"/>
                      </a:cubicBezTo>
                      <a:cubicBezTo>
                        <a:pt x="131" y="269"/>
                        <a:pt x="136" y="266"/>
                        <a:pt x="138" y="262"/>
                      </a:cubicBezTo>
                      <a:cubicBezTo>
                        <a:pt x="138" y="261"/>
                        <a:pt x="138" y="261"/>
                        <a:pt x="138" y="261"/>
                      </a:cubicBezTo>
                      <a:cubicBezTo>
                        <a:pt x="140" y="258"/>
                        <a:pt x="143" y="256"/>
                        <a:pt x="147" y="256"/>
                      </a:cubicBezTo>
                      <a:cubicBezTo>
                        <a:pt x="147" y="256"/>
                        <a:pt x="147" y="256"/>
                        <a:pt x="147" y="256"/>
                      </a:cubicBezTo>
                      <a:cubicBezTo>
                        <a:pt x="150" y="256"/>
                        <a:pt x="152" y="254"/>
                        <a:pt x="153" y="252"/>
                      </a:cubicBezTo>
                      <a:cubicBezTo>
                        <a:pt x="155" y="247"/>
                        <a:pt x="151" y="243"/>
                        <a:pt x="147" y="243"/>
                      </a:cubicBezTo>
                      <a:close/>
                      <a:moveTo>
                        <a:pt x="122" y="38"/>
                      </a:moveTo>
                      <a:cubicBezTo>
                        <a:pt x="125" y="38"/>
                        <a:pt x="128" y="36"/>
                        <a:pt x="128" y="32"/>
                      </a:cubicBezTo>
                      <a:cubicBezTo>
                        <a:pt x="128" y="6"/>
                        <a:pt x="128" y="6"/>
                        <a:pt x="128" y="6"/>
                      </a:cubicBezTo>
                      <a:cubicBezTo>
                        <a:pt x="128" y="3"/>
                        <a:pt x="125" y="0"/>
                        <a:pt x="122" y="0"/>
                      </a:cubicBezTo>
                      <a:cubicBezTo>
                        <a:pt x="118" y="0"/>
                        <a:pt x="115" y="3"/>
                        <a:pt x="115" y="6"/>
                      </a:cubicBezTo>
                      <a:cubicBezTo>
                        <a:pt x="115" y="32"/>
                        <a:pt x="115" y="32"/>
                        <a:pt x="115" y="32"/>
                      </a:cubicBezTo>
                      <a:cubicBezTo>
                        <a:pt x="115" y="36"/>
                        <a:pt x="118" y="38"/>
                        <a:pt x="122" y="38"/>
                      </a:cubicBezTo>
                      <a:close/>
                      <a:moveTo>
                        <a:pt x="54" y="63"/>
                      </a:moveTo>
                      <a:cubicBezTo>
                        <a:pt x="55" y="64"/>
                        <a:pt x="57" y="65"/>
                        <a:pt x="58" y="65"/>
                      </a:cubicBezTo>
                      <a:cubicBezTo>
                        <a:pt x="60" y="65"/>
                        <a:pt x="62" y="64"/>
                        <a:pt x="63" y="63"/>
                      </a:cubicBezTo>
                      <a:cubicBezTo>
                        <a:pt x="65" y="60"/>
                        <a:pt x="65" y="56"/>
                        <a:pt x="63" y="54"/>
                      </a:cubicBezTo>
                      <a:cubicBezTo>
                        <a:pt x="45" y="36"/>
                        <a:pt x="45" y="36"/>
                        <a:pt x="45" y="36"/>
                      </a:cubicBezTo>
                      <a:cubicBezTo>
                        <a:pt x="42" y="33"/>
                        <a:pt x="38" y="33"/>
                        <a:pt x="36" y="36"/>
                      </a:cubicBezTo>
                      <a:cubicBezTo>
                        <a:pt x="33" y="38"/>
                        <a:pt x="33" y="42"/>
                        <a:pt x="36" y="45"/>
                      </a:cubicBezTo>
                      <a:lnTo>
                        <a:pt x="54" y="63"/>
                      </a:lnTo>
                      <a:close/>
                      <a:moveTo>
                        <a:pt x="38" y="122"/>
                      </a:moveTo>
                      <a:cubicBezTo>
                        <a:pt x="38" y="118"/>
                        <a:pt x="36" y="115"/>
                        <a:pt x="32" y="115"/>
                      </a:cubicBezTo>
                      <a:cubicBezTo>
                        <a:pt x="6" y="115"/>
                        <a:pt x="6" y="115"/>
                        <a:pt x="6" y="115"/>
                      </a:cubicBezTo>
                      <a:cubicBezTo>
                        <a:pt x="3" y="115"/>
                        <a:pt x="0" y="118"/>
                        <a:pt x="0" y="122"/>
                      </a:cubicBezTo>
                      <a:cubicBezTo>
                        <a:pt x="0" y="125"/>
                        <a:pt x="3" y="128"/>
                        <a:pt x="6" y="128"/>
                      </a:cubicBezTo>
                      <a:cubicBezTo>
                        <a:pt x="32" y="128"/>
                        <a:pt x="32" y="128"/>
                        <a:pt x="32" y="128"/>
                      </a:cubicBezTo>
                      <a:cubicBezTo>
                        <a:pt x="36" y="128"/>
                        <a:pt x="38" y="125"/>
                        <a:pt x="38" y="122"/>
                      </a:cubicBezTo>
                      <a:close/>
                      <a:moveTo>
                        <a:pt x="54" y="180"/>
                      </a:moveTo>
                      <a:cubicBezTo>
                        <a:pt x="36" y="199"/>
                        <a:pt x="36" y="199"/>
                        <a:pt x="36" y="199"/>
                      </a:cubicBezTo>
                      <a:cubicBezTo>
                        <a:pt x="33" y="201"/>
                        <a:pt x="33" y="205"/>
                        <a:pt x="36" y="208"/>
                      </a:cubicBezTo>
                      <a:cubicBezTo>
                        <a:pt x="37" y="209"/>
                        <a:pt x="39" y="209"/>
                        <a:pt x="40" y="209"/>
                      </a:cubicBezTo>
                      <a:cubicBezTo>
                        <a:pt x="42" y="209"/>
                        <a:pt x="43" y="209"/>
                        <a:pt x="45" y="208"/>
                      </a:cubicBezTo>
                      <a:cubicBezTo>
                        <a:pt x="63" y="189"/>
                        <a:pt x="63" y="189"/>
                        <a:pt x="63" y="189"/>
                      </a:cubicBezTo>
                      <a:cubicBezTo>
                        <a:pt x="65" y="187"/>
                        <a:pt x="65" y="183"/>
                        <a:pt x="63" y="180"/>
                      </a:cubicBezTo>
                      <a:cubicBezTo>
                        <a:pt x="60" y="178"/>
                        <a:pt x="56" y="178"/>
                        <a:pt x="54" y="180"/>
                      </a:cubicBezTo>
                      <a:close/>
                      <a:moveTo>
                        <a:pt x="189" y="180"/>
                      </a:moveTo>
                      <a:cubicBezTo>
                        <a:pt x="187" y="178"/>
                        <a:pt x="183" y="178"/>
                        <a:pt x="180" y="180"/>
                      </a:cubicBezTo>
                      <a:cubicBezTo>
                        <a:pt x="178" y="183"/>
                        <a:pt x="178" y="187"/>
                        <a:pt x="180" y="189"/>
                      </a:cubicBezTo>
                      <a:cubicBezTo>
                        <a:pt x="199" y="208"/>
                        <a:pt x="199" y="208"/>
                        <a:pt x="199" y="208"/>
                      </a:cubicBezTo>
                      <a:cubicBezTo>
                        <a:pt x="200" y="209"/>
                        <a:pt x="201" y="209"/>
                        <a:pt x="203" y="209"/>
                      </a:cubicBezTo>
                      <a:cubicBezTo>
                        <a:pt x="205" y="209"/>
                        <a:pt x="206" y="209"/>
                        <a:pt x="208" y="208"/>
                      </a:cubicBezTo>
                      <a:cubicBezTo>
                        <a:pt x="210" y="205"/>
                        <a:pt x="210" y="201"/>
                        <a:pt x="208" y="199"/>
                      </a:cubicBezTo>
                      <a:lnTo>
                        <a:pt x="189" y="180"/>
                      </a:lnTo>
                      <a:close/>
                      <a:moveTo>
                        <a:pt x="237" y="115"/>
                      </a:moveTo>
                      <a:cubicBezTo>
                        <a:pt x="211" y="115"/>
                        <a:pt x="211" y="115"/>
                        <a:pt x="211" y="115"/>
                      </a:cubicBezTo>
                      <a:cubicBezTo>
                        <a:pt x="208" y="115"/>
                        <a:pt x="205" y="118"/>
                        <a:pt x="205" y="122"/>
                      </a:cubicBezTo>
                      <a:cubicBezTo>
                        <a:pt x="205" y="125"/>
                        <a:pt x="208" y="128"/>
                        <a:pt x="211" y="128"/>
                      </a:cubicBezTo>
                      <a:cubicBezTo>
                        <a:pt x="237" y="128"/>
                        <a:pt x="237" y="128"/>
                        <a:pt x="237" y="128"/>
                      </a:cubicBezTo>
                      <a:cubicBezTo>
                        <a:pt x="240" y="128"/>
                        <a:pt x="243" y="125"/>
                        <a:pt x="243" y="122"/>
                      </a:cubicBezTo>
                      <a:cubicBezTo>
                        <a:pt x="243" y="118"/>
                        <a:pt x="240" y="115"/>
                        <a:pt x="237" y="115"/>
                      </a:cubicBezTo>
                      <a:close/>
                      <a:moveTo>
                        <a:pt x="185" y="65"/>
                      </a:moveTo>
                      <a:cubicBezTo>
                        <a:pt x="187" y="65"/>
                        <a:pt x="188" y="64"/>
                        <a:pt x="189" y="63"/>
                      </a:cubicBezTo>
                      <a:cubicBezTo>
                        <a:pt x="208" y="45"/>
                        <a:pt x="208" y="45"/>
                        <a:pt x="208" y="45"/>
                      </a:cubicBezTo>
                      <a:cubicBezTo>
                        <a:pt x="210" y="42"/>
                        <a:pt x="210" y="38"/>
                        <a:pt x="208" y="36"/>
                      </a:cubicBezTo>
                      <a:cubicBezTo>
                        <a:pt x="205" y="33"/>
                        <a:pt x="201" y="33"/>
                        <a:pt x="199" y="36"/>
                      </a:cubicBezTo>
                      <a:cubicBezTo>
                        <a:pt x="180" y="54"/>
                        <a:pt x="180" y="54"/>
                        <a:pt x="180" y="54"/>
                      </a:cubicBezTo>
                      <a:cubicBezTo>
                        <a:pt x="178" y="56"/>
                        <a:pt x="178" y="60"/>
                        <a:pt x="180" y="63"/>
                      </a:cubicBezTo>
                      <a:cubicBezTo>
                        <a:pt x="182" y="64"/>
                        <a:pt x="183" y="65"/>
                        <a:pt x="185" y="65"/>
                      </a:cubicBezTo>
                      <a:close/>
                      <a:moveTo>
                        <a:pt x="154" y="218"/>
                      </a:moveTo>
                      <a:cubicBezTo>
                        <a:pt x="154" y="221"/>
                        <a:pt x="151" y="224"/>
                        <a:pt x="147" y="224"/>
                      </a:cubicBezTo>
                      <a:cubicBezTo>
                        <a:pt x="96" y="224"/>
                        <a:pt x="96" y="224"/>
                        <a:pt x="96" y="224"/>
                      </a:cubicBezTo>
                      <a:cubicBezTo>
                        <a:pt x="92" y="224"/>
                        <a:pt x="90" y="221"/>
                        <a:pt x="90" y="218"/>
                      </a:cubicBezTo>
                      <a:cubicBezTo>
                        <a:pt x="90" y="214"/>
                        <a:pt x="92" y="211"/>
                        <a:pt x="96" y="211"/>
                      </a:cubicBezTo>
                      <a:cubicBezTo>
                        <a:pt x="92" y="175"/>
                        <a:pt x="54" y="167"/>
                        <a:pt x="54" y="125"/>
                      </a:cubicBezTo>
                      <a:cubicBezTo>
                        <a:pt x="54" y="88"/>
                        <a:pt x="84" y="58"/>
                        <a:pt x="122" y="58"/>
                      </a:cubicBezTo>
                      <a:cubicBezTo>
                        <a:pt x="159" y="58"/>
                        <a:pt x="189" y="88"/>
                        <a:pt x="189" y="125"/>
                      </a:cubicBezTo>
                      <a:cubicBezTo>
                        <a:pt x="189" y="167"/>
                        <a:pt x="152" y="175"/>
                        <a:pt x="148" y="211"/>
                      </a:cubicBezTo>
                      <a:cubicBezTo>
                        <a:pt x="151" y="211"/>
                        <a:pt x="154" y="214"/>
                        <a:pt x="154" y="218"/>
                      </a:cubicBezTo>
                      <a:close/>
                      <a:moveTo>
                        <a:pt x="107" y="76"/>
                      </a:moveTo>
                      <a:cubicBezTo>
                        <a:pt x="106" y="73"/>
                        <a:pt x="103" y="72"/>
                        <a:pt x="101" y="73"/>
                      </a:cubicBezTo>
                      <a:cubicBezTo>
                        <a:pt x="84" y="80"/>
                        <a:pt x="72" y="94"/>
                        <a:pt x="67" y="111"/>
                      </a:cubicBezTo>
                      <a:cubicBezTo>
                        <a:pt x="67" y="113"/>
                        <a:pt x="68" y="116"/>
                        <a:pt x="71" y="117"/>
                      </a:cubicBezTo>
                      <a:cubicBezTo>
                        <a:pt x="71" y="117"/>
                        <a:pt x="72" y="117"/>
                        <a:pt x="72" y="117"/>
                      </a:cubicBezTo>
                      <a:cubicBezTo>
                        <a:pt x="74" y="117"/>
                        <a:pt x="76" y="115"/>
                        <a:pt x="77" y="113"/>
                      </a:cubicBezTo>
                      <a:cubicBezTo>
                        <a:pt x="80" y="99"/>
                        <a:pt x="91" y="87"/>
                        <a:pt x="104" y="82"/>
                      </a:cubicBezTo>
                      <a:cubicBezTo>
                        <a:pt x="107" y="81"/>
                        <a:pt x="108" y="78"/>
                        <a:pt x="107" y="76"/>
                      </a:cubicBezTo>
                      <a:close/>
                    </a:path>
                  </a:pathLst>
                </a:custGeom>
                <a:solidFill>
                  <a:schemeClr val="bg1">
                    <a:lumMod val="95000"/>
                  </a:schemeClr>
                </a:solidFill>
                <a:ln>
                  <a:noFill/>
                </a:ln>
              </p:spPr>
              <p:txBody>
                <a:bodyPr vert="horz" wrap="square" lIns="91440" tIns="45720" rIns="91440" bIns="45720" numCol="1" anchor="t" anchorCtr="0" compatLnSpc="1"/>
                <a:lstStyle/>
                <a:p>
                  <a:endParaRPr lang="zh-CN" altLang="en-US"/>
                </a:p>
              </p:txBody>
            </p:sp>
          </p:grpSp>
        </p:grpSp>
      </p:grpSp>
      <p:grpSp>
        <p:nvGrpSpPr>
          <p:cNvPr id="121" name="组合 120"/>
          <p:cNvGrpSpPr/>
          <p:nvPr/>
        </p:nvGrpSpPr>
        <p:grpSpPr>
          <a:xfrm>
            <a:off x="2594744" y="4786322"/>
            <a:ext cx="928694" cy="1460667"/>
            <a:chOff x="2951934" y="5000636"/>
            <a:chExt cx="928694" cy="1460667"/>
          </a:xfrm>
        </p:grpSpPr>
        <p:sp>
          <p:nvSpPr>
            <p:cNvPr id="59" name="TextBox 58"/>
            <p:cNvSpPr txBox="1"/>
            <p:nvPr/>
          </p:nvSpPr>
          <p:spPr>
            <a:xfrm>
              <a:off x="2951934" y="6215082"/>
              <a:ext cx="928694" cy="246221"/>
            </a:xfrm>
            <a:prstGeom prst="rect">
              <a:avLst/>
            </a:prstGeom>
            <a:noFill/>
          </p:spPr>
          <p:txBody>
            <a:bodyPr wrap="square" rtlCol="0" anchor="ctr">
              <a:spAutoFit/>
            </a:bodyPr>
            <a:lstStyle/>
            <a:p>
              <a:r>
                <a:rPr lang="en-US" altLang="zh-CN" sz="1000" dirty="0" smtClean="0">
                  <a:latin typeface="微软雅黑" panose="020B0503020204020204" pitchFamily="34" charset="-122"/>
                  <a:ea typeface="微软雅黑" panose="020B0503020204020204" pitchFamily="34" charset="-122"/>
                </a:rPr>
                <a:t>2010</a:t>
              </a:r>
              <a:r>
                <a:rPr lang="zh-CN" altLang="en-US" sz="1000" dirty="0" smtClean="0">
                  <a:latin typeface="微软雅黑" panose="020B0503020204020204" pitchFamily="34" charset="-122"/>
                  <a:ea typeface="微软雅黑" panose="020B0503020204020204" pitchFamily="34" charset="-122"/>
                </a:rPr>
                <a:t>年</a:t>
              </a:r>
              <a:r>
                <a:rPr lang="en-US" altLang="zh-CN" sz="1000" dirty="0" smtClean="0">
                  <a:latin typeface="微软雅黑" panose="020B0503020204020204" pitchFamily="34" charset="-122"/>
                  <a:ea typeface="微软雅黑" panose="020B0503020204020204" pitchFamily="34" charset="-122"/>
                </a:rPr>
                <a:t>4</a:t>
              </a:r>
              <a:r>
                <a:rPr lang="zh-CN" altLang="en-US" sz="1000" dirty="0" smtClean="0">
                  <a:latin typeface="微软雅黑" panose="020B0503020204020204" pitchFamily="34" charset="-122"/>
                  <a:ea typeface="微软雅黑" panose="020B0503020204020204" pitchFamily="34" charset="-122"/>
                </a:rPr>
                <a:t>月</a:t>
              </a:r>
              <a:endParaRPr lang="zh-CN" altLang="en-US" sz="1000" dirty="0" smtClean="0">
                <a:latin typeface="微软雅黑" panose="020B0503020204020204" pitchFamily="34" charset="-122"/>
                <a:ea typeface="微软雅黑" panose="020B0503020204020204" pitchFamily="34" charset="-122"/>
              </a:endParaRPr>
            </a:p>
          </p:txBody>
        </p:sp>
        <p:grpSp>
          <p:nvGrpSpPr>
            <p:cNvPr id="79" name="组合 78"/>
            <p:cNvGrpSpPr/>
            <p:nvPr/>
          </p:nvGrpSpPr>
          <p:grpSpPr>
            <a:xfrm>
              <a:off x="2951934" y="5000636"/>
              <a:ext cx="857256" cy="950198"/>
              <a:chOff x="594480" y="5000636"/>
              <a:chExt cx="857256" cy="950198"/>
            </a:xfrm>
          </p:grpSpPr>
          <p:sp>
            <p:nvSpPr>
              <p:cNvPr id="80" name="TextBox 79"/>
              <p:cNvSpPr txBox="1"/>
              <p:nvPr/>
            </p:nvSpPr>
            <p:spPr>
              <a:xfrm>
                <a:off x="594480" y="5000636"/>
                <a:ext cx="857256" cy="461665"/>
              </a:xfrm>
              <a:prstGeom prst="rect">
                <a:avLst/>
              </a:prstGeom>
              <a:noFill/>
            </p:spPr>
            <p:txBody>
              <a:bodyPr wrap="square" rtlCol="0" anchor="ctr">
                <a:spAutoFit/>
              </a:bodyPr>
              <a:lstStyle/>
              <a:p>
                <a:pPr algn="ctr"/>
                <a:r>
                  <a:rPr lang="zh-CN" altLang="en-US" sz="1200" dirty="0" smtClean="0">
                    <a:latin typeface="微软雅黑" panose="020B0503020204020204" pitchFamily="34" charset="-122"/>
                    <a:ea typeface="微软雅黑" panose="020B0503020204020204" pitchFamily="34" charset="-122"/>
                  </a:rPr>
                  <a:t>潍坊</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分公司</a:t>
                </a:r>
                <a:endParaRPr lang="en-US" altLang="zh-CN" sz="1200" dirty="0" smtClean="0">
                  <a:latin typeface="微软雅黑" panose="020B0503020204020204" pitchFamily="34" charset="-122"/>
                  <a:ea typeface="微软雅黑" panose="020B0503020204020204" pitchFamily="34" charset="-122"/>
                </a:endParaRPr>
              </a:p>
            </p:txBody>
          </p:sp>
          <p:grpSp>
            <p:nvGrpSpPr>
              <p:cNvPr id="81" name="组合 63"/>
              <p:cNvGrpSpPr/>
              <p:nvPr/>
            </p:nvGrpSpPr>
            <p:grpSpPr>
              <a:xfrm>
                <a:off x="880232" y="5643577"/>
                <a:ext cx="273351" cy="307257"/>
                <a:chOff x="8125599" y="1434035"/>
                <a:chExt cx="2036802" cy="2036802"/>
              </a:xfrm>
            </p:grpSpPr>
            <p:sp>
              <p:nvSpPr>
                <p:cNvPr id="82" name="椭圆 81"/>
                <p:cNvSpPr/>
                <p:nvPr/>
              </p:nvSpPr>
              <p:spPr>
                <a:xfrm>
                  <a:off x="8125599" y="1434035"/>
                  <a:ext cx="2036802" cy="2036802"/>
                </a:xfrm>
                <a:prstGeom prst="ellipse">
                  <a:avLst/>
                </a:prstGeom>
                <a:solidFill>
                  <a:srgbClr val="E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3" name="Freeform 9"/>
                <p:cNvSpPr>
                  <a:spLocks noEditPoints="1"/>
                </p:cNvSpPr>
                <p:nvPr/>
              </p:nvSpPr>
              <p:spPr bwMode="auto">
                <a:xfrm rot="19469485">
                  <a:off x="8577911" y="1818271"/>
                  <a:ext cx="1162161" cy="1238354"/>
                </a:xfrm>
                <a:custGeom>
                  <a:avLst/>
                  <a:gdLst>
                    <a:gd name="T0" fmla="*/ 147 w 243"/>
                    <a:gd name="T1" fmla="*/ 240 h 269"/>
                    <a:gd name="T2" fmla="*/ 90 w 243"/>
                    <a:gd name="T3" fmla="*/ 234 h 269"/>
                    <a:gd name="T4" fmla="*/ 147 w 243"/>
                    <a:gd name="T5" fmla="*/ 227 h 269"/>
                    <a:gd name="T6" fmla="*/ 147 w 243"/>
                    <a:gd name="T7" fmla="*/ 243 h 269"/>
                    <a:gd name="T8" fmla="*/ 90 w 243"/>
                    <a:gd name="T9" fmla="*/ 252 h 269"/>
                    <a:gd name="T10" fmla="*/ 96 w 243"/>
                    <a:gd name="T11" fmla="*/ 256 h 269"/>
                    <a:gd name="T12" fmla="*/ 105 w 243"/>
                    <a:gd name="T13" fmla="*/ 262 h 269"/>
                    <a:gd name="T14" fmla="*/ 126 w 243"/>
                    <a:gd name="T15" fmla="*/ 269 h 269"/>
                    <a:gd name="T16" fmla="*/ 138 w 243"/>
                    <a:gd name="T17" fmla="*/ 261 h 269"/>
                    <a:gd name="T18" fmla="*/ 147 w 243"/>
                    <a:gd name="T19" fmla="*/ 256 h 269"/>
                    <a:gd name="T20" fmla="*/ 147 w 243"/>
                    <a:gd name="T21" fmla="*/ 243 h 269"/>
                    <a:gd name="T22" fmla="*/ 128 w 243"/>
                    <a:gd name="T23" fmla="*/ 32 h 269"/>
                    <a:gd name="T24" fmla="*/ 122 w 243"/>
                    <a:gd name="T25" fmla="*/ 0 h 269"/>
                    <a:gd name="T26" fmla="*/ 115 w 243"/>
                    <a:gd name="T27" fmla="*/ 32 h 269"/>
                    <a:gd name="T28" fmla="*/ 54 w 243"/>
                    <a:gd name="T29" fmla="*/ 63 h 269"/>
                    <a:gd name="T30" fmla="*/ 63 w 243"/>
                    <a:gd name="T31" fmla="*/ 63 h 269"/>
                    <a:gd name="T32" fmla="*/ 45 w 243"/>
                    <a:gd name="T33" fmla="*/ 36 h 269"/>
                    <a:gd name="T34" fmla="*/ 36 w 243"/>
                    <a:gd name="T35" fmla="*/ 45 h 269"/>
                    <a:gd name="T36" fmla="*/ 38 w 243"/>
                    <a:gd name="T37" fmla="*/ 122 h 269"/>
                    <a:gd name="T38" fmla="*/ 6 w 243"/>
                    <a:gd name="T39" fmla="*/ 115 h 269"/>
                    <a:gd name="T40" fmla="*/ 6 w 243"/>
                    <a:gd name="T41" fmla="*/ 128 h 269"/>
                    <a:gd name="T42" fmla="*/ 38 w 243"/>
                    <a:gd name="T43" fmla="*/ 122 h 269"/>
                    <a:gd name="T44" fmla="*/ 36 w 243"/>
                    <a:gd name="T45" fmla="*/ 199 h 269"/>
                    <a:gd name="T46" fmla="*/ 40 w 243"/>
                    <a:gd name="T47" fmla="*/ 209 h 269"/>
                    <a:gd name="T48" fmla="*/ 63 w 243"/>
                    <a:gd name="T49" fmla="*/ 189 h 269"/>
                    <a:gd name="T50" fmla="*/ 54 w 243"/>
                    <a:gd name="T51" fmla="*/ 180 h 269"/>
                    <a:gd name="T52" fmla="*/ 180 w 243"/>
                    <a:gd name="T53" fmla="*/ 180 h 269"/>
                    <a:gd name="T54" fmla="*/ 199 w 243"/>
                    <a:gd name="T55" fmla="*/ 208 h 269"/>
                    <a:gd name="T56" fmla="*/ 208 w 243"/>
                    <a:gd name="T57" fmla="*/ 208 h 269"/>
                    <a:gd name="T58" fmla="*/ 189 w 243"/>
                    <a:gd name="T59" fmla="*/ 180 h 269"/>
                    <a:gd name="T60" fmla="*/ 211 w 243"/>
                    <a:gd name="T61" fmla="*/ 115 h 269"/>
                    <a:gd name="T62" fmla="*/ 211 w 243"/>
                    <a:gd name="T63" fmla="*/ 128 h 269"/>
                    <a:gd name="T64" fmla="*/ 243 w 243"/>
                    <a:gd name="T65" fmla="*/ 122 h 269"/>
                    <a:gd name="T66" fmla="*/ 185 w 243"/>
                    <a:gd name="T67" fmla="*/ 65 h 269"/>
                    <a:gd name="T68" fmla="*/ 208 w 243"/>
                    <a:gd name="T69" fmla="*/ 45 h 269"/>
                    <a:gd name="T70" fmla="*/ 199 w 243"/>
                    <a:gd name="T71" fmla="*/ 36 h 269"/>
                    <a:gd name="T72" fmla="*/ 180 w 243"/>
                    <a:gd name="T73" fmla="*/ 63 h 269"/>
                    <a:gd name="T74" fmla="*/ 154 w 243"/>
                    <a:gd name="T75" fmla="*/ 218 h 269"/>
                    <a:gd name="T76" fmla="*/ 96 w 243"/>
                    <a:gd name="T77" fmla="*/ 224 h 269"/>
                    <a:gd name="T78" fmla="*/ 96 w 243"/>
                    <a:gd name="T79" fmla="*/ 211 h 269"/>
                    <a:gd name="T80" fmla="*/ 122 w 243"/>
                    <a:gd name="T81" fmla="*/ 58 h 269"/>
                    <a:gd name="T82" fmla="*/ 148 w 243"/>
                    <a:gd name="T83" fmla="*/ 211 h 269"/>
                    <a:gd name="T84" fmla="*/ 107 w 243"/>
                    <a:gd name="T85" fmla="*/ 76 h 269"/>
                    <a:gd name="T86" fmla="*/ 67 w 243"/>
                    <a:gd name="T87" fmla="*/ 111 h 269"/>
                    <a:gd name="T88" fmla="*/ 72 w 243"/>
                    <a:gd name="T89" fmla="*/ 117 h 269"/>
                    <a:gd name="T90" fmla="*/ 104 w 243"/>
                    <a:gd name="T91" fmla="*/ 8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69">
                      <a:moveTo>
                        <a:pt x="154" y="234"/>
                      </a:moveTo>
                      <a:cubicBezTo>
                        <a:pt x="154" y="237"/>
                        <a:pt x="151" y="240"/>
                        <a:pt x="147" y="240"/>
                      </a:cubicBezTo>
                      <a:cubicBezTo>
                        <a:pt x="96" y="240"/>
                        <a:pt x="96" y="240"/>
                        <a:pt x="96" y="240"/>
                      </a:cubicBezTo>
                      <a:cubicBezTo>
                        <a:pt x="92" y="240"/>
                        <a:pt x="90" y="237"/>
                        <a:pt x="90" y="234"/>
                      </a:cubicBezTo>
                      <a:cubicBezTo>
                        <a:pt x="90" y="230"/>
                        <a:pt x="92" y="227"/>
                        <a:pt x="96" y="227"/>
                      </a:cubicBezTo>
                      <a:cubicBezTo>
                        <a:pt x="147" y="227"/>
                        <a:pt x="147" y="227"/>
                        <a:pt x="147" y="227"/>
                      </a:cubicBezTo>
                      <a:cubicBezTo>
                        <a:pt x="151" y="227"/>
                        <a:pt x="154" y="230"/>
                        <a:pt x="154" y="234"/>
                      </a:cubicBezTo>
                      <a:close/>
                      <a:moveTo>
                        <a:pt x="147" y="243"/>
                      </a:moveTo>
                      <a:cubicBezTo>
                        <a:pt x="96" y="243"/>
                        <a:pt x="96" y="243"/>
                        <a:pt x="96" y="243"/>
                      </a:cubicBezTo>
                      <a:cubicBezTo>
                        <a:pt x="92" y="243"/>
                        <a:pt x="89" y="247"/>
                        <a:pt x="90" y="252"/>
                      </a:cubicBezTo>
                      <a:cubicBezTo>
                        <a:pt x="91" y="254"/>
                        <a:pt x="93" y="256"/>
                        <a:pt x="96" y="256"/>
                      </a:cubicBezTo>
                      <a:cubicBezTo>
                        <a:pt x="96" y="256"/>
                        <a:pt x="96" y="256"/>
                        <a:pt x="96" y="256"/>
                      </a:cubicBezTo>
                      <a:cubicBezTo>
                        <a:pt x="100" y="256"/>
                        <a:pt x="103" y="258"/>
                        <a:pt x="105" y="261"/>
                      </a:cubicBezTo>
                      <a:cubicBezTo>
                        <a:pt x="105" y="262"/>
                        <a:pt x="105" y="262"/>
                        <a:pt x="105" y="262"/>
                      </a:cubicBezTo>
                      <a:cubicBezTo>
                        <a:pt x="107" y="266"/>
                        <a:pt x="112" y="269"/>
                        <a:pt x="117" y="269"/>
                      </a:cubicBezTo>
                      <a:cubicBezTo>
                        <a:pt x="126" y="269"/>
                        <a:pt x="126" y="269"/>
                        <a:pt x="126" y="269"/>
                      </a:cubicBezTo>
                      <a:cubicBezTo>
                        <a:pt x="131" y="269"/>
                        <a:pt x="136" y="266"/>
                        <a:pt x="138" y="262"/>
                      </a:cubicBezTo>
                      <a:cubicBezTo>
                        <a:pt x="138" y="261"/>
                        <a:pt x="138" y="261"/>
                        <a:pt x="138" y="261"/>
                      </a:cubicBezTo>
                      <a:cubicBezTo>
                        <a:pt x="140" y="258"/>
                        <a:pt x="143" y="256"/>
                        <a:pt x="147" y="256"/>
                      </a:cubicBezTo>
                      <a:cubicBezTo>
                        <a:pt x="147" y="256"/>
                        <a:pt x="147" y="256"/>
                        <a:pt x="147" y="256"/>
                      </a:cubicBezTo>
                      <a:cubicBezTo>
                        <a:pt x="150" y="256"/>
                        <a:pt x="152" y="254"/>
                        <a:pt x="153" y="252"/>
                      </a:cubicBezTo>
                      <a:cubicBezTo>
                        <a:pt x="155" y="247"/>
                        <a:pt x="151" y="243"/>
                        <a:pt x="147" y="243"/>
                      </a:cubicBezTo>
                      <a:close/>
                      <a:moveTo>
                        <a:pt x="122" y="38"/>
                      </a:moveTo>
                      <a:cubicBezTo>
                        <a:pt x="125" y="38"/>
                        <a:pt x="128" y="36"/>
                        <a:pt x="128" y="32"/>
                      </a:cubicBezTo>
                      <a:cubicBezTo>
                        <a:pt x="128" y="6"/>
                        <a:pt x="128" y="6"/>
                        <a:pt x="128" y="6"/>
                      </a:cubicBezTo>
                      <a:cubicBezTo>
                        <a:pt x="128" y="3"/>
                        <a:pt x="125" y="0"/>
                        <a:pt x="122" y="0"/>
                      </a:cubicBezTo>
                      <a:cubicBezTo>
                        <a:pt x="118" y="0"/>
                        <a:pt x="115" y="3"/>
                        <a:pt x="115" y="6"/>
                      </a:cubicBezTo>
                      <a:cubicBezTo>
                        <a:pt x="115" y="32"/>
                        <a:pt x="115" y="32"/>
                        <a:pt x="115" y="32"/>
                      </a:cubicBezTo>
                      <a:cubicBezTo>
                        <a:pt x="115" y="36"/>
                        <a:pt x="118" y="38"/>
                        <a:pt x="122" y="38"/>
                      </a:cubicBezTo>
                      <a:close/>
                      <a:moveTo>
                        <a:pt x="54" y="63"/>
                      </a:moveTo>
                      <a:cubicBezTo>
                        <a:pt x="55" y="64"/>
                        <a:pt x="57" y="65"/>
                        <a:pt x="58" y="65"/>
                      </a:cubicBezTo>
                      <a:cubicBezTo>
                        <a:pt x="60" y="65"/>
                        <a:pt x="62" y="64"/>
                        <a:pt x="63" y="63"/>
                      </a:cubicBezTo>
                      <a:cubicBezTo>
                        <a:pt x="65" y="60"/>
                        <a:pt x="65" y="56"/>
                        <a:pt x="63" y="54"/>
                      </a:cubicBezTo>
                      <a:cubicBezTo>
                        <a:pt x="45" y="36"/>
                        <a:pt x="45" y="36"/>
                        <a:pt x="45" y="36"/>
                      </a:cubicBezTo>
                      <a:cubicBezTo>
                        <a:pt x="42" y="33"/>
                        <a:pt x="38" y="33"/>
                        <a:pt x="36" y="36"/>
                      </a:cubicBezTo>
                      <a:cubicBezTo>
                        <a:pt x="33" y="38"/>
                        <a:pt x="33" y="42"/>
                        <a:pt x="36" y="45"/>
                      </a:cubicBezTo>
                      <a:lnTo>
                        <a:pt x="54" y="63"/>
                      </a:lnTo>
                      <a:close/>
                      <a:moveTo>
                        <a:pt x="38" y="122"/>
                      </a:moveTo>
                      <a:cubicBezTo>
                        <a:pt x="38" y="118"/>
                        <a:pt x="36" y="115"/>
                        <a:pt x="32" y="115"/>
                      </a:cubicBezTo>
                      <a:cubicBezTo>
                        <a:pt x="6" y="115"/>
                        <a:pt x="6" y="115"/>
                        <a:pt x="6" y="115"/>
                      </a:cubicBezTo>
                      <a:cubicBezTo>
                        <a:pt x="3" y="115"/>
                        <a:pt x="0" y="118"/>
                        <a:pt x="0" y="122"/>
                      </a:cubicBezTo>
                      <a:cubicBezTo>
                        <a:pt x="0" y="125"/>
                        <a:pt x="3" y="128"/>
                        <a:pt x="6" y="128"/>
                      </a:cubicBezTo>
                      <a:cubicBezTo>
                        <a:pt x="32" y="128"/>
                        <a:pt x="32" y="128"/>
                        <a:pt x="32" y="128"/>
                      </a:cubicBezTo>
                      <a:cubicBezTo>
                        <a:pt x="36" y="128"/>
                        <a:pt x="38" y="125"/>
                        <a:pt x="38" y="122"/>
                      </a:cubicBezTo>
                      <a:close/>
                      <a:moveTo>
                        <a:pt x="54" y="180"/>
                      </a:moveTo>
                      <a:cubicBezTo>
                        <a:pt x="36" y="199"/>
                        <a:pt x="36" y="199"/>
                        <a:pt x="36" y="199"/>
                      </a:cubicBezTo>
                      <a:cubicBezTo>
                        <a:pt x="33" y="201"/>
                        <a:pt x="33" y="205"/>
                        <a:pt x="36" y="208"/>
                      </a:cubicBezTo>
                      <a:cubicBezTo>
                        <a:pt x="37" y="209"/>
                        <a:pt x="39" y="209"/>
                        <a:pt x="40" y="209"/>
                      </a:cubicBezTo>
                      <a:cubicBezTo>
                        <a:pt x="42" y="209"/>
                        <a:pt x="43" y="209"/>
                        <a:pt x="45" y="208"/>
                      </a:cubicBezTo>
                      <a:cubicBezTo>
                        <a:pt x="63" y="189"/>
                        <a:pt x="63" y="189"/>
                        <a:pt x="63" y="189"/>
                      </a:cubicBezTo>
                      <a:cubicBezTo>
                        <a:pt x="65" y="187"/>
                        <a:pt x="65" y="183"/>
                        <a:pt x="63" y="180"/>
                      </a:cubicBezTo>
                      <a:cubicBezTo>
                        <a:pt x="60" y="178"/>
                        <a:pt x="56" y="178"/>
                        <a:pt x="54" y="180"/>
                      </a:cubicBezTo>
                      <a:close/>
                      <a:moveTo>
                        <a:pt x="189" y="180"/>
                      </a:moveTo>
                      <a:cubicBezTo>
                        <a:pt x="187" y="178"/>
                        <a:pt x="183" y="178"/>
                        <a:pt x="180" y="180"/>
                      </a:cubicBezTo>
                      <a:cubicBezTo>
                        <a:pt x="178" y="183"/>
                        <a:pt x="178" y="187"/>
                        <a:pt x="180" y="189"/>
                      </a:cubicBezTo>
                      <a:cubicBezTo>
                        <a:pt x="199" y="208"/>
                        <a:pt x="199" y="208"/>
                        <a:pt x="199" y="208"/>
                      </a:cubicBezTo>
                      <a:cubicBezTo>
                        <a:pt x="200" y="209"/>
                        <a:pt x="201" y="209"/>
                        <a:pt x="203" y="209"/>
                      </a:cubicBezTo>
                      <a:cubicBezTo>
                        <a:pt x="205" y="209"/>
                        <a:pt x="206" y="209"/>
                        <a:pt x="208" y="208"/>
                      </a:cubicBezTo>
                      <a:cubicBezTo>
                        <a:pt x="210" y="205"/>
                        <a:pt x="210" y="201"/>
                        <a:pt x="208" y="199"/>
                      </a:cubicBezTo>
                      <a:lnTo>
                        <a:pt x="189" y="180"/>
                      </a:lnTo>
                      <a:close/>
                      <a:moveTo>
                        <a:pt x="237" y="115"/>
                      </a:moveTo>
                      <a:cubicBezTo>
                        <a:pt x="211" y="115"/>
                        <a:pt x="211" y="115"/>
                        <a:pt x="211" y="115"/>
                      </a:cubicBezTo>
                      <a:cubicBezTo>
                        <a:pt x="208" y="115"/>
                        <a:pt x="205" y="118"/>
                        <a:pt x="205" y="122"/>
                      </a:cubicBezTo>
                      <a:cubicBezTo>
                        <a:pt x="205" y="125"/>
                        <a:pt x="208" y="128"/>
                        <a:pt x="211" y="128"/>
                      </a:cubicBezTo>
                      <a:cubicBezTo>
                        <a:pt x="237" y="128"/>
                        <a:pt x="237" y="128"/>
                        <a:pt x="237" y="128"/>
                      </a:cubicBezTo>
                      <a:cubicBezTo>
                        <a:pt x="240" y="128"/>
                        <a:pt x="243" y="125"/>
                        <a:pt x="243" y="122"/>
                      </a:cubicBezTo>
                      <a:cubicBezTo>
                        <a:pt x="243" y="118"/>
                        <a:pt x="240" y="115"/>
                        <a:pt x="237" y="115"/>
                      </a:cubicBezTo>
                      <a:close/>
                      <a:moveTo>
                        <a:pt x="185" y="65"/>
                      </a:moveTo>
                      <a:cubicBezTo>
                        <a:pt x="187" y="65"/>
                        <a:pt x="188" y="64"/>
                        <a:pt x="189" y="63"/>
                      </a:cubicBezTo>
                      <a:cubicBezTo>
                        <a:pt x="208" y="45"/>
                        <a:pt x="208" y="45"/>
                        <a:pt x="208" y="45"/>
                      </a:cubicBezTo>
                      <a:cubicBezTo>
                        <a:pt x="210" y="42"/>
                        <a:pt x="210" y="38"/>
                        <a:pt x="208" y="36"/>
                      </a:cubicBezTo>
                      <a:cubicBezTo>
                        <a:pt x="205" y="33"/>
                        <a:pt x="201" y="33"/>
                        <a:pt x="199" y="36"/>
                      </a:cubicBezTo>
                      <a:cubicBezTo>
                        <a:pt x="180" y="54"/>
                        <a:pt x="180" y="54"/>
                        <a:pt x="180" y="54"/>
                      </a:cubicBezTo>
                      <a:cubicBezTo>
                        <a:pt x="178" y="56"/>
                        <a:pt x="178" y="60"/>
                        <a:pt x="180" y="63"/>
                      </a:cubicBezTo>
                      <a:cubicBezTo>
                        <a:pt x="182" y="64"/>
                        <a:pt x="183" y="65"/>
                        <a:pt x="185" y="65"/>
                      </a:cubicBezTo>
                      <a:close/>
                      <a:moveTo>
                        <a:pt x="154" y="218"/>
                      </a:moveTo>
                      <a:cubicBezTo>
                        <a:pt x="154" y="221"/>
                        <a:pt x="151" y="224"/>
                        <a:pt x="147" y="224"/>
                      </a:cubicBezTo>
                      <a:cubicBezTo>
                        <a:pt x="96" y="224"/>
                        <a:pt x="96" y="224"/>
                        <a:pt x="96" y="224"/>
                      </a:cubicBezTo>
                      <a:cubicBezTo>
                        <a:pt x="92" y="224"/>
                        <a:pt x="90" y="221"/>
                        <a:pt x="90" y="218"/>
                      </a:cubicBezTo>
                      <a:cubicBezTo>
                        <a:pt x="90" y="214"/>
                        <a:pt x="92" y="211"/>
                        <a:pt x="96" y="211"/>
                      </a:cubicBezTo>
                      <a:cubicBezTo>
                        <a:pt x="92" y="175"/>
                        <a:pt x="54" y="167"/>
                        <a:pt x="54" y="125"/>
                      </a:cubicBezTo>
                      <a:cubicBezTo>
                        <a:pt x="54" y="88"/>
                        <a:pt x="84" y="58"/>
                        <a:pt x="122" y="58"/>
                      </a:cubicBezTo>
                      <a:cubicBezTo>
                        <a:pt x="159" y="58"/>
                        <a:pt x="189" y="88"/>
                        <a:pt x="189" y="125"/>
                      </a:cubicBezTo>
                      <a:cubicBezTo>
                        <a:pt x="189" y="167"/>
                        <a:pt x="152" y="175"/>
                        <a:pt x="148" y="211"/>
                      </a:cubicBezTo>
                      <a:cubicBezTo>
                        <a:pt x="151" y="211"/>
                        <a:pt x="154" y="214"/>
                        <a:pt x="154" y="218"/>
                      </a:cubicBezTo>
                      <a:close/>
                      <a:moveTo>
                        <a:pt x="107" y="76"/>
                      </a:moveTo>
                      <a:cubicBezTo>
                        <a:pt x="106" y="73"/>
                        <a:pt x="103" y="72"/>
                        <a:pt x="101" y="73"/>
                      </a:cubicBezTo>
                      <a:cubicBezTo>
                        <a:pt x="84" y="80"/>
                        <a:pt x="72" y="94"/>
                        <a:pt x="67" y="111"/>
                      </a:cubicBezTo>
                      <a:cubicBezTo>
                        <a:pt x="67" y="113"/>
                        <a:pt x="68" y="116"/>
                        <a:pt x="71" y="117"/>
                      </a:cubicBezTo>
                      <a:cubicBezTo>
                        <a:pt x="71" y="117"/>
                        <a:pt x="72" y="117"/>
                        <a:pt x="72" y="117"/>
                      </a:cubicBezTo>
                      <a:cubicBezTo>
                        <a:pt x="74" y="117"/>
                        <a:pt x="76" y="115"/>
                        <a:pt x="77" y="113"/>
                      </a:cubicBezTo>
                      <a:cubicBezTo>
                        <a:pt x="80" y="99"/>
                        <a:pt x="91" y="87"/>
                        <a:pt x="104" y="82"/>
                      </a:cubicBezTo>
                      <a:cubicBezTo>
                        <a:pt x="107" y="81"/>
                        <a:pt x="108" y="78"/>
                        <a:pt x="107" y="76"/>
                      </a:cubicBezTo>
                      <a:close/>
                    </a:path>
                  </a:pathLst>
                </a:custGeom>
                <a:solidFill>
                  <a:schemeClr val="bg1">
                    <a:lumMod val="95000"/>
                  </a:schemeClr>
                </a:solidFill>
                <a:ln>
                  <a:noFill/>
                </a:ln>
              </p:spPr>
              <p:txBody>
                <a:bodyPr vert="horz" wrap="square" lIns="91440" tIns="45720" rIns="91440" bIns="45720" numCol="1" anchor="t" anchorCtr="0" compatLnSpc="1"/>
                <a:lstStyle/>
                <a:p>
                  <a:endParaRPr lang="zh-CN" altLang="en-US"/>
                </a:p>
              </p:txBody>
            </p:sp>
          </p:grpSp>
        </p:grpSp>
      </p:grpSp>
      <p:grpSp>
        <p:nvGrpSpPr>
          <p:cNvPr id="122" name="组合 121"/>
          <p:cNvGrpSpPr/>
          <p:nvPr/>
        </p:nvGrpSpPr>
        <p:grpSpPr>
          <a:xfrm>
            <a:off x="3594876" y="4786322"/>
            <a:ext cx="928694" cy="1460667"/>
            <a:chOff x="4023504" y="5000636"/>
            <a:chExt cx="928694" cy="1460667"/>
          </a:xfrm>
        </p:grpSpPr>
        <p:sp>
          <p:nvSpPr>
            <p:cNvPr id="60" name="TextBox 59"/>
            <p:cNvSpPr txBox="1"/>
            <p:nvPr/>
          </p:nvSpPr>
          <p:spPr>
            <a:xfrm>
              <a:off x="4023504" y="6215082"/>
              <a:ext cx="928694" cy="246221"/>
            </a:xfrm>
            <a:prstGeom prst="rect">
              <a:avLst/>
            </a:prstGeom>
            <a:noFill/>
          </p:spPr>
          <p:txBody>
            <a:bodyPr wrap="square" rtlCol="0" anchor="ctr">
              <a:spAutoFit/>
            </a:bodyPr>
            <a:lstStyle/>
            <a:p>
              <a:r>
                <a:rPr lang="en-US" altLang="zh-CN" sz="1000" dirty="0" smtClean="0">
                  <a:latin typeface="微软雅黑" panose="020B0503020204020204" pitchFamily="34" charset="-122"/>
                  <a:ea typeface="微软雅黑" panose="020B0503020204020204" pitchFamily="34" charset="-122"/>
                </a:rPr>
                <a:t>2011</a:t>
              </a:r>
              <a:r>
                <a:rPr lang="zh-CN" altLang="en-US" sz="1000" dirty="0" smtClean="0">
                  <a:latin typeface="微软雅黑" panose="020B0503020204020204" pitchFamily="34" charset="-122"/>
                  <a:ea typeface="微软雅黑" panose="020B0503020204020204" pitchFamily="34" charset="-122"/>
                </a:rPr>
                <a:t>年</a:t>
              </a:r>
              <a:r>
                <a:rPr lang="en-US" altLang="zh-CN" sz="1000" dirty="0" smtClean="0">
                  <a:latin typeface="微软雅黑" panose="020B0503020204020204" pitchFamily="34" charset="-122"/>
                  <a:ea typeface="微软雅黑" panose="020B0503020204020204" pitchFamily="34" charset="-122"/>
                </a:rPr>
                <a:t>6</a:t>
              </a:r>
              <a:r>
                <a:rPr lang="zh-CN" altLang="en-US" sz="1000" dirty="0" smtClean="0">
                  <a:latin typeface="微软雅黑" panose="020B0503020204020204" pitchFamily="34" charset="-122"/>
                  <a:ea typeface="微软雅黑" panose="020B0503020204020204" pitchFamily="34" charset="-122"/>
                </a:rPr>
                <a:t>月</a:t>
              </a:r>
              <a:endParaRPr lang="zh-CN" altLang="en-US" sz="1000" dirty="0" smtClean="0">
                <a:latin typeface="微软雅黑" panose="020B0503020204020204" pitchFamily="34" charset="-122"/>
                <a:ea typeface="微软雅黑" panose="020B0503020204020204" pitchFamily="34" charset="-122"/>
              </a:endParaRPr>
            </a:p>
          </p:txBody>
        </p:sp>
        <p:grpSp>
          <p:nvGrpSpPr>
            <p:cNvPr id="84" name="组合 83"/>
            <p:cNvGrpSpPr/>
            <p:nvPr/>
          </p:nvGrpSpPr>
          <p:grpSpPr>
            <a:xfrm>
              <a:off x="4023504" y="5000636"/>
              <a:ext cx="857256" cy="950198"/>
              <a:chOff x="594480" y="5000636"/>
              <a:chExt cx="857256" cy="950198"/>
            </a:xfrm>
          </p:grpSpPr>
          <p:sp>
            <p:nvSpPr>
              <p:cNvPr id="85" name="TextBox 84"/>
              <p:cNvSpPr txBox="1"/>
              <p:nvPr/>
            </p:nvSpPr>
            <p:spPr>
              <a:xfrm>
                <a:off x="594480" y="5000636"/>
                <a:ext cx="857256" cy="461665"/>
              </a:xfrm>
              <a:prstGeom prst="rect">
                <a:avLst/>
              </a:prstGeom>
              <a:noFill/>
            </p:spPr>
            <p:txBody>
              <a:bodyPr wrap="square" rtlCol="0" anchor="ctr">
                <a:spAutoFit/>
              </a:bodyPr>
              <a:lstStyle/>
              <a:p>
                <a:pPr algn="ctr"/>
                <a:r>
                  <a:rPr lang="zh-CN" altLang="en-US" sz="1200" dirty="0" smtClean="0">
                    <a:latin typeface="微软雅黑" panose="020B0503020204020204" pitchFamily="34" charset="-122"/>
                    <a:ea typeface="微软雅黑" panose="020B0503020204020204" pitchFamily="34" charset="-122"/>
                  </a:rPr>
                  <a:t>临沂</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分公司</a:t>
                </a:r>
                <a:endParaRPr lang="en-US" altLang="zh-CN" sz="1200" dirty="0" smtClean="0">
                  <a:latin typeface="微软雅黑" panose="020B0503020204020204" pitchFamily="34" charset="-122"/>
                  <a:ea typeface="微软雅黑" panose="020B0503020204020204" pitchFamily="34" charset="-122"/>
                </a:endParaRPr>
              </a:p>
            </p:txBody>
          </p:sp>
          <p:grpSp>
            <p:nvGrpSpPr>
              <p:cNvPr id="86" name="组合 63"/>
              <p:cNvGrpSpPr/>
              <p:nvPr/>
            </p:nvGrpSpPr>
            <p:grpSpPr>
              <a:xfrm>
                <a:off x="880232" y="5643577"/>
                <a:ext cx="273351" cy="307257"/>
                <a:chOff x="8125599" y="1434035"/>
                <a:chExt cx="2036802" cy="2036802"/>
              </a:xfrm>
            </p:grpSpPr>
            <p:sp>
              <p:nvSpPr>
                <p:cNvPr id="87" name="椭圆 86"/>
                <p:cNvSpPr/>
                <p:nvPr/>
              </p:nvSpPr>
              <p:spPr>
                <a:xfrm>
                  <a:off x="8125599" y="1434035"/>
                  <a:ext cx="2036802" cy="2036802"/>
                </a:xfrm>
                <a:prstGeom prst="ellipse">
                  <a:avLst/>
                </a:prstGeom>
                <a:solidFill>
                  <a:srgbClr val="E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88" name="Freeform 9"/>
                <p:cNvSpPr>
                  <a:spLocks noEditPoints="1"/>
                </p:cNvSpPr>
                <p:nvPr/>
              </p:nvSpPr>
              <p:spPr bwMode="auto">
                <a:xfrm rot="19469485">
                  <a:off x="8577911" y="1818271"/>
                  <a:ext cx="1162161" cy="1238354"/>
                </a:xfrm>
                <a:custGeom>
                  <a:avLst/>
                  <a:gdLst>
                    <a:gd name="T0" fmla="*/ 147 w 243"/>
                    <a:gd name="T1" fmla="*/ 240 h 269"/>
                    <a:gd name="T2" fmla="*/ 90 w 243"/>
                    <a:gd name="T3" fmla="*/ 234 h 269"/>
                    <a:gd name="T4" fmla="*/ 147 w 243"/>
                    <a:gd name="T5" fmla="*/ 227 h 269"/>
                    <a:gd name="T6" fmla="*/ 147 w 243"/>
                    <a:gd name="T7" fmla="*/ 243 h 269"/>
                    <a:gd name="T8" fmla="*/ 90 w 243"/>
                    <a:gd name="T9" fmla="*/ 252 h 269"/>
                    <a:gd name="T10" fmla="*/ 96 w 243"/>
                    <a:gd name="T11" fmla="*/ 256 h 269"/>
                    <a:gd name="T12" fmla="*/ 105 w 243"/>
                    <a:gd name="T13" fmla="*/ 262 h 269"/>
                    <a:gd name="T14" fmla="*/ 126 w 243"/>
                    <a:gd name="T15" fmla="*/ 269 h 269"/>
                    <a:gd name="T16" fmla="*/ 138 w 243"/>
                    <a:gd name="T17" fmla="*/ 261 h 269"/>
                    <a:gd name="T18" fmla="*/ 147 w 243"/>
                    <a:gd name="T19" fmla="*/ 256 h 269"/>
                    <a:gd name="T20" fmla="*/ 147 w 243"/>
                    <a:gd name="T21" fmla="*/ 243 h 269"/>
                    <a:gd name="T22" fmla="*/ 128 w 243"/>
                    <a:gd name="T23" fmla="*/ 32 h 269"/>
                    <a:gd name="T24" fmla="*/ 122 w 243"/>
                    <a:gd name="T25" fmla="*/ 0 h 269"/>
                    <a:gd name="T26" fmla="*/ 115 w 243"/>
                    <a:gd name="T27" fmla="*/ 32 h 269"/>
                    <a:gd name="T28" fmla="*/ 54 w 243"/>
                    <a:gd name="T29" fmla="*/ 63 h 269"/>
                    <a:gd name="T30" fmla="*/ 63 w 243"/>
                    <a:gd name="T31" fmla="*/ 63 h 269"/>
                    <a:gd name="T32" fmla="*/ 45 w 243"/>
                    <a:gd name="T33" fmla="*/ 36 h 269"/>
                    <a:gd name="T34" fmla="*/ 36 w 243"/>
                    <a:gd name="T35" fmla="*/ 45 h 269"/>
                    <a:gd name="T36" fmla="*/ 38 w 243"/>
                    <a:gd name="T37" fmla="*/ 122 h 269"/>
                    <a:gd name="T38" fmla="*/ 6 w 243"/>
                    <a:gd name="T39" fmla="*/ 115 h 269"/>
                    <a:gd name="T40" fmla="*/ 6 w 243"/>
                    <a:gd name="T41" fmla="*/ 128 h 269"/>
                    <a:gd name="T42" fmla="*/ 38 w 243"/>
                    <a:gd name="T43" fmla="*/ 122 h 269"/>
                    <a:gd name="T44" fmla="*/ 36 w 243"/>
                    <a:gd name="T45" fmla="*/ 199 h 269"/>
                    <a:gd name="T46" fmla="*/ 40 w 243"/>
                    <a:gd name="T47" fmla="*/ 209 h 269"/>
                    <a:gd name="T48" fmla="*/ 63 w 243"/>
                    <a:gd name="T49" fmla="*/ 189 h 269"/>
                    <a:gd name="T50" fmla="*/ 54 w 243"/>
                    <a:gd name="T51" fmla="*/ 180 h 269"/>
                    <a:gd name="T52" fmla="*/ 180 w 243"/>
                    <a:gd name="T53" fmla="*/ 180 h 269"/>
                    <a:gd name="T54" fmla="*/ 199 w 243"/>
                    <a:gd name="T55" fmla="*/ 208 h 269"/>
                    <a:gd name="T56" fmla="*/ 208 w 243"/>
                    <a:gd name="T57" fmla="*/ 208 h 269"/>
                    <a:gd name="T58" fmla="*/ 189 w 243"/>
                    <a:gd name="T59" fmla="*/ 180 h 269"/>
                    <a:gd name="T60" fmla="*/ 211 w 243"/>
                    <a:gd name="T61" fmla="*/ 115 h 269"/>
                    <a:gd name="T62" fmla="*/ 211 w 243"/>
                    <a:gd name="T63" fmla="*/ 128 h 269"/>
                    <a:gd name="T64" fmla="*/ 243 w 243"/>
                    <a:gd name="T65" fmla="*/ 122 h 269"/>
                    <a:gd name="T66" fmla="*/ 185 w 243"/>
                    <a:gd name="T67" fmla="*/ 65 h 269"/>
                    <a:gd name="T68" fmla="*/ 208 w 243"/>
                    <a:gd name="T69" fmla="*/ 45 h 269"/>
                    <a:gd name="T70" fmla="*/ 199 w 243"/>
                    <a:gd name="T71" fmla="*/ 36 h 269"/>
                    <a:gd name="T72" fmla="*/ 180 w 243"/>
                    <a:gd name="T73" fmla="*/ 63 h 269"/>
                    <a:gd name="T74" fmla="*/ 154 w 243"/>
                    <a:gd name="T75" fmla="*/ 218 h 269"/>
                    <a:gd name="T76" fmla="*/ 96 w 243"/>
                    <a:gd name="T77" fmla="*/ 224 h 269"/>
                    <a:gd name="T78" fmla="*/ 96 w 243"/>
                    <a:gd name="T79" fmla="*/ 211 h 269"/>
                    <a:gd name="T80" fmla="*/ 122 w 243"/>
                    <a:gd name="T81" fmla="*/ 58 h 269"/>
                    <a:gd name="T82" fmla="*/ 148 w 243"/>
                    <a:gd name="T83" fmla="*/ 211 h 269"/>
                    <a:gd name="T84" fmla="*/ 107 w 243"/>
                    <a:gd name="T85" fmla="*/ 76 h 269"/>
                    <a:gd name="T86" fmla="*/ 67 w 243"/>
                    <a:gd name="T87" fmla="*/ 111 h 269"/>
                    <a:gd name="T88" fmla="*/ 72 w 243"/>
                    <a:gd name="T89" fmla="*/ 117 h 269"/>
                    <a:gd name="T90" fmla="*/ 104 w 243"/>
                    <a:gd name="T91" fmla="*/ 8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69">
                      <a:moveTo>
                        <a:pt x="154" y="234"/>
                      </a:moveTo>
                      <a:cubicBezTo>
                        <a:pt x="154" y="237"/>
                        <a:pt x="151" y="240"/>
                        <a:pt x="147" y="240"/>
                      </a:cubicBezTo>
                      <a:cubicBezTo>
                        <a:pt x="96" y="240"/>
                        <a:pt x="96" y="240"/>
                        <a:pt x="96" y="240"/>
                      </a:cubicBezTo>
                      <a:cubicBezTo>
                        <a:pt x="92" y="240"/>
                        <a:pt x="90" y="237"/>
                        <a:pt x="90" y="234"/>
                      </a:cubicBezTo>
                      <a:cubicBezTo>
                        <a:pt x="90" y="230"/>
                        <a:pt x="92" y="227"/>
                        <a:pt x="96" y="227"/>
                      </a:cubicBezTo>
                      <a:cubicBezTo>
                        <a:pt x="147" y="227"/>
                        <a:pt x="147" y="227"/>
                        <a:pt x="147" y="227"/>
                      </a:cubicBezTo>
                      <a:cubicBezTo>
                        <a:pt x="151" y="227"/>
                        <a:pt x="154" y="230"/>
                        <a:pt x="154" y="234"/>
                      </a:cubicBezTo>
                      <a:close/>
                      <a:moveTo>
                        <a:pt x="147" y="243"/>
                      </a:moveTo>
                      <a:cubicBezTo>
                        <a:pt x="96" y="243"/>
                        <a:pt x="96" y="243"/>
                        <a:pt x="96" y="243"/>
                      </a:cubicBezTo>
                      <a:cubicBezTo>
                        <a:pt x="92" y="243"/>
                        <a:pt x="89" y="247"/>
                        <a:pt x="90" y="252"/>
                      </a:cubicBezTo>
                      <a:cubicBezTo>
                        <a:pt x="91" y="254"/>
                        <a:pt x="93" y="256"/>
                        <a:pt x="96" y="256"/>
                      </a:cubicBezTo>
                      <a:cubicBezTo>
                        <a:pt x="96" y="256"/>
                        <a:pt x="96" y="256"/>
                        <a:pt x="96" y="256"/>
                      </a:cubicBezTo>
                      <a:cubicBezTo>
                        <a:pt x="100" y="256"/>
                        <a:pt x="103" y="258"/>
                        <a:pt x="105" y="261"/>
                      </a:cubicBezTo>
                      <a:cubicBezTo>
                        <a:pt x="105" y="262"/>
                        <a:pt x="105" y="262"/>
                        <a:pt x="105" y="262"/>
                      </a:cubicBezTo>
                      <a:cubicBezTo>
                        <a:pt x="107" y="266"/>
                        <a:pt x="112" y="269"/>
                        <a:pt x="117" y="269"/>
                      </a:cubicBezTo>
                      <a:cubicBezTo>
                        <a:pt x="126" y="269"/>
                        <a:pt x="126" y="269"/>
                        <a:pt x="126" y="269"/>
                      </a:cubicBezTo>
                      <a:cubicBezTo>
                        <a:pt x="131" y="269"/>
                        <a:pt x="136" y="266"/>
                        <a:pt x="138" y="262"/>
                      </a:cubicBezTo>
                      <a:cubicBezTo>
                        <a:pt x="138" y="261"/>
                        <a:pt x="138" y="261"/>
                        <a:pt x="138" y="261"/>
                      </a:cubicBezTo>
                      <a:cubicBezTo>
                        <a:pt x="140" y="258"/>
                        <a:pt x="143" y="256"/>
                        <a:pt x="147" y="256"/>
                      </a:cubicBezTo>
                      <a:cubicBezTo>
                        <a:pt x="147" y="256"/>
                        <a:pt x="147" y="256"/>
                        <a:pt x="147" y="256"/>
                      </a:cubicBezTo>
                      <a:cubicBezTo>
                        <a:pt x="150" y="256"/>
                        <a:pt x="152" y="254"/>
                        <a:pt x="153" y="252"/>
                      </a:cubicBezTo>
                      <a:cubicBezTo>
                        <a:pt x="155" y="247"/>
                        <a:pt x="151" y="243"/>
                        <a:pt x="147" y="243"/>
                      </a:cubicBezTo>
                      <a:close/>
                      <a:moveTo>
                        <a:pt x="122" y="38"/>
                      </a:moveTo>
                      <a:cubicBezTo>
                        <a:pt x="125" y="38"/>
                        <a:pt x="128" y="36"/>
                        <a:pt x="128" y="32"/>
                      </a:cubicBezTo>
                      <a:cubicBezTo>
                        <a:pt x="128" y="6"/>
                        <a:pt x="128" y="6"/>
                        <a:pt x="128" y="6"/>
                      </a:cubicBezTo>
                      <a:cubicBezTo>
                        <a:pt x="128" y="3"/>
                        <a:pt x="125" y="0"/>
                        <a:pt x="122" y="0"/>
                      </a:cubicBezTo>
                      <a:cubicBezTo>
                        <a:pt x="118" y="0"/>
                        <a:pt x="115" y="3"/>
                        <a:pt x="115" y="6"/>
                      </a:cubicBezTo>
                      <a:cubicBezTo>
                        <a:pt x="115" y="32"/>
                        <a:pt x="115" y="32"/>
                        <a:pt x="115" y="32"/>
                      </a:cubicBezTo>
                      <a:cubicBezTo>
                        <a:pt x="115" y="36"/>
                        <a:pt x="118" y="38"/>
                        <a:pt x="122" y="38"/>
                      </a:cubicBezTo>
                      <a:close/>
                      <a:moveTo>
                        <a:pt x="54" y="63"/>
                      </a:moveTo>
                      <a:cubicBezTo>
                        <a:pt x="55" y="64"/>
                        <a:pt x="57" y="65"/>
                        <a:pt x="58" y="65"/>
                      </a:cubicBezTo>
                      <a:cubicBezTo>
                        <a:pt x="60" y="65"/>
                        <a:pt x="62" y="64"/>
                        <a:pt x="63" y="63"/>
                      </a:cubicBezTo>
                      <a:cubicBezTo>
                        <a:pt x="65" y="60"/>
                        <a:pt x="65" y="56"/>
                        <a:pt x="63" y="54"/>
                      </a:cubicBezTo>
                      <a:cubicBezTo>
                        <a:pt x="45" y="36"/>
                        <a:pt x="45" y="36"/>
                        <a:pt x="45" y="36"/>
                      </a:cubicBezTo>
                      <a:cubicBezTo>
                        <a:pt x="42" y="33"/>
                        <a:pt x="38" y="33"/>
                        <a:pt x="36" y="36"/>
                      </a:cubicBezTo>
                      <a:cubicBezTo>
                        <a:pt x="33" y="38"/>
                        <a:pt x="33" y="42"/>
                        <a:pt x="36" y="45"/>
                      </a:cubicBezTo>
                      <a:lnTo>
                        <a:pt x="54" y="63"/>
                      </a:lnTo>
                      <a:close/>
                      <a:moveTo>
                        <a:pt x="38" y="122"/>
                      </a:moveTo>
                      <a:cubicBezTo>
                        <a:pt x="38" y="118"/>
                        <a:pt x="36" y="115"/>
                        <a:pt x="32" y="115"/>
                      </a:cubicBezTo>
                      <a:cubicBezTo>
                        <a:pt x="6" y="115"/>
                        <a:pt x="6" y="115"/>
                        <a:pt x="6" y="115"/>
                      </a:cubicBezTo>
                      <a:cubicBezTo>
                        <a:pt x="3" y="115"/>
                        <a:pt x="0" y="118"/>
                        <a:pt x="0" y="122"/>
                      </a:cubicBezTo>
                      <a:cubicBezTo>
                        <a:pt x="0" y="125"/>
                        <a:pt x="3" y="128"/>
                        <a:pt x="6" y="128"/>
                      </a:cubicBezTo>
                      <a:cubicBezTo>
                        <a:pt x="32" y="128"/>
                        <a:pt x="32" y="128"/>
                        <a:pt x="32" y="128"/>
                      </a:cubicBezTo>
                      <a:cubicBezTo>
                        <a:pt x="36" y="128"/>
                        <a:pt x="38" y="125"/>
                        <a:pt x="38" y="122"/>
                      </a:cubicBezTo>
                      <a:close/>
                      <a:moveTo>
                        <a:pt x="54" y="180"/>
                      </a:moveTo>
                      <a:cubicBezTo>
                        <a:pt x="36" y="199"/>
                        <a:pt x="36" y="199"/>
                        <a:pt x="36" y="199"/>
                      </a:cubicBezTo>
                      <a:cubicBezTo>
                        <a:pt x="33" y="201"/>
                        <a:pt x="33" y="205"/>
                        <a:pt x="36" y="208"/>
                      </a:cubicBezTo>
                      <a:cubicBezTo>
                        <a:pt x="37" y="209"/>
                        <a:pt x="39" y="209"/>
                        <a:pt x="40" y="209"/>
                      </a:cubicBezTo>
                      <a:cubicBezTo>
                        <a:pt x="42" y="209"/>
                        <a:pt x="43" y="209"/>
                        <a:pt x="45" y="208"/>
                      </a:cubicBezTo>
                      <a:cubicBezTo>
                        <a:pt x="63" y="189"/>
                        <a:pt x="63" y="189"/>
                        <a:pt x="63" y="189"/>
                      </a:cubicBezTo>
                      <a:cubicBezTo>
                        <a:pt x="65" y="187"/>
                        <a:pt x="65" y="183"/>
                        <a:pt x="63" y="180"/>
                      </a:cubicBezTo>
                      <a:cubicBezTo>
                        <a:pt x="60" y="178"/>
                        <a:pt x="56" y="178"/>
                        <a:pt x="54" y="180"/>
                      </a:cubicBezTo>
                      <a:close/>
                      <a:moveTo>
                        <a:pt x="189" y="180"/>
                      </a:moveTo>
                      <a:cubicBezTo>
                        <a:pt x="187" y="178"/>
                        <a:pt x="183" y="178"/>
                        <a:pt x="180" y="180"/>
                      </a:cubicBezTo>
                      <a:cubicBezTo>
                        <a:pt x="178" y="183"/>
                        <a:pt x="178" y="187"/>
                        <a:pt x="180" y="189"/>
                      </a:cubicBezTo>
                      <a:cubicBezTo>
                        <a:pt x="199" y="208"/>
                        <a:pt x="199" y="208"/>
                        <a:pt x="199" y="208"/>
                      </a:cubicBezTo>
                      <a:cubicBezTo>
                        <a:pt x="200" y="209"/>
                        <a:pt x="201" y="209"/>
                        <a:pt x="203" y="209"/>
                      </a:cubicBezTo>
                      <a:cubicBezTo>
                        <a:pt x="205" y="209"/>
                        <a:pt x="206" y="209"/>
                        <a:pt x="208" y="208"/>
                      </a:cubicBezTo>
                      <a:cubicBezTo>
                        <a:pt x="210" y="205"/>
                        <a:pt x="210" y="201"/>
                        <a:pt x="208" y="199"/>
                      </a:cubicBezTo>
                      <a:lnTo>
                        <a:pt x="189" y="180"/>
                      </a:lnTo>
                      <a:close/>
                      <a:moveTo>
                        <a:pt x="237" y="115"/>
                      </a:moveTo>
                      <a:cubicBezTo>
                        <a:pt x="211" y="115"/>
                        <a:pt x="211" y="115"/>
                        <a:pt x="211" y="115"/>
                      </a:cubicBezTo>
                      <a:cubicBezTo>
                        <a:pt x="208" y="115"/>
                        <a:pt x="205" y="118"/>
                        <a:pt x="205" y="122"/>
                      </a:cubicBezTo>
                      <a:cubicBezTo>
                        <a:pt x="205" y="125"/>
                        <a:pt x="208" y="128"/>
                        <a:pt x="211" y="128"/>
                      </a:cubicBezTo>
                      <a:cubicBezTo>
                        <a:pt x="237" y="128"/>
                        <a:pt x="237" y="128"/>
                        <a:pt x="237" y="128"/>
                      </a:cubicBezTo>
                      <a:cubicBezTo>
                        <a:pt x="240" y="128"/>
                        <a:pt x="243" y="125"/>
                        <a:pt x="243" y="122"/>
                      </a:cubicBezTo>
                      <a:cubicBezTo>
                        <a:pt x="243" y="118"/>
                        <a:pt x="240" y="115"/>
                        <a:pt x="237" y="115"/>
                      </a:cubicBezTo>
                      <a:close/>
                      <a:moveTo>
                        <a:pt x="185" y="65"/>
                      </a:moveTo>
                      <a:cubicBezTo>
                        <a:pt x="187" y="65"/>
                        <a:pt x="188" y="64"/>
                        <a:pt x="189" y="63"/>
                      </a:cubicBezTo>
                      <a:cubicBezTo>
                        <a:pt x="208" y="45"/>
                        <a:pt x="208" y="45"/>
                        <a:pt x="208" y="45"/>
                      </a:cubicBezTo>
                      <a:cubicBezTo>
                        <a:pt x="210" y="42"/>
                        <a:pt x="210" y="38"/>
                        <a:pt x="208" y="36"/>
                      </a:cubicBezTo>
                      <a:cubicBezTo>
                        <a:pt x="205" y="33"/>
                        <a:pt x="201" y="33"/>
                        <a:pt x="199" y="36"/>
                      </a:cubicBezTo>
                      <a:cubicBezTo>
                        <a:pt x="180" y="54"/>
                        <a:pt x="180" y="54"/>
                        <a:pt x="180" y="54"/>
                      </a:cubicBezTo>
                      <a:cubicBezTo>
                        <a:pt x="178" y="56"/>
                        <a:pt x="178" y="60"/>
                        <a:pt x="180" y="63"/>
                      </a:cubicBezTo>
                      <a:cubicBezTo>
                        <a:pt x="182" y="64"/>
                        <a:pt x="183" y="65"/>
                        <a:pt x="185" y="65"/>
                      </a:cubicBezTo>
                      <a:close/>
                      <a:moveTo>
                        <a:pt x="154" y="218"/>
                      </a:moveTo>
                      <a:cubicBezTo>
                        <a:pt x="154" y="221"/>
                        <a:pt x="151" y="224"/>
                        <a:pt x="147" y="224"/>
                      </a:cubicBezTo>
                      <a:cubicBezTo>
                        <a:pt x="96" y="224"/>
                        <a:pt x="96" y="224"/>
                        <a:pt x="96" y="224"/>
                      </a:cubicBezTo>
                      <a:cubicBezTo>
                        <a:pt x="92" y="224"/>
                        <a:pt x="90" y="221"/>
                        <a:pt x="90" y="218"/>
                      </a:cubicBezTo>
                      <a:cubicBezTo>
                        <a:pt x="90" y="214"/>
                        <a:pt x="92" y="211"/>
                        <a:pt x="96" y="211"/>
                      </a:cubicBezTo>
                      <a:cubicBezTo>
                        <a:pt x="92" y="175"/>
                        <a:pt x="54" y="167"/>
                        <a:pt x="54" y="125"/>
                      </a:cubicBezTo>
                      <a:cubicBezTo>
                        <a:pt x="54" y="88"/>
                        <a:pt x="84" y="58"/>
                        <a:pt x="122" y="58"/>
                      </a:cubicBezTo>
                      <a:cubicBezTo>
                        <a:pt x="159" y="58"/>
                        <a:pt x="189" y="88"/>
                        <a:pt x="189" y="125"/>
                      </a:cubicBezTo>
                      <a:cubicBezTo>
                        <a:pt x="189" y="167"/>
                        <a:pt x="152" y="175"/>
                        <a:pt x="148" y="211"/>
                      </a:cubicBezTo>
                      <a:cubicBezTo>
                        <a:pt x="151" y="211"/>
                        <a:pt x="154" y="214"/>
                        <a:pt x="154" y="218"/>
                      </a:cubicBezTo>
                      <a:close/>
                      <a:moveTo>
                        <a:pt x="107" y="76"/>
                      </a:moveTo>
                      <a:cubicBezTo>
                        <a:pt x="106" y="73"/>
                        <a:pt x="103" y="72"/>
                        <a:pt x="101" y="73"/>
                      </a:cubicBezTo>
                      <a:cubicBezTo>
                        <a:pt x="84" y="80"/>
                        <a:pt x="72" y="94"/>
                        <a:pt x="67" y="111"/>
                      </a:cubicBezTo>
                      <a:cubicBezTo>
                        <a:pt x="67" y="113"/>
                        <a:pt x="68" y="116"/>
                        <a:pt x="71" y="117"/>
                      </a:cubicBezTo>
                      <a:cubicBezTo>
                        <a:pt x="71" y="117"/>
                        <a:pt x="72" y="117"/>
                        <a:pt x="72" y="117"/>
                      </a:cubicBezTo>
                      <a:cubicBezTo>
                        <a:pt x="74" y="117"/>
                        <a:pt x="76" y="115"/>
                        <a:pt x="77" y="113"/>
                      </a:cubicBezTo>
                      <a:cubicBezTo>
                        <a:pt x="80" y="99"/>
                        <a:pt x="91" y="87"/>
                        <a:pt x="104" y="82"/>
                      </a:cubicBezTo>
                      <a:cubicBezTo>
                        <a:pt x="107" y="81"/>
                        <a:pt x="108" y="78"/>
                        <a:pt x="107" y="76"/>
                      </a:cubicBezTo>
                      <a:close/>
                    </a:path>
                  </a:pathLst>
                </a:custGeom>
                <a:solidFill>
                  <a:schemeClr val="bg1">
                    <a:lumMod val="95000"/>
                  </a:schemeClr>
                </a:solidFill>
                <a:ln>
                  <a:noFill/>
                </a:ln>
              </p:spPr>
              <p:txBody>
                <a:bodyPr vert="horz" wrap="square" lIns="91440" tIns="45720" rIns="91440" bIns="45720" numCol="1" anchor="t" anchorCtr="0" compatLnSpc="1"/>
                <a:lstStyle/>
                <a:p>
                  <a:endParaRPr lang="zh-CN" altLang="en-US"/>
                </a:p>
              </p:txBody>
            </p:sp>
          </p:grpSp>
        </p:grpSp>
      </p:grpSp>
      <p:grpSp>
        <p:nvGrpSpPr>
          <p:cNvPr id="124" name="组合 123"/>
          <p:cNvGrpSpPr/>
          <p:nvPr/>
        </p:nvGrpSpPr>
        <p:grpSpPr>
          <a:xfrm>
            <a:off x="4595008" y="4786322"/>
            <a:ext cx="928694" cy="1460667"/>
            <a:chOff x="5237950" y="5000636"/>
            <a:chExt cx="928694" cy="1460667"/>
          </a:xfrm>
        </p:grpSpPr>
        <p:sp>
          <p:nvSpPr>
            <p:cNvPr id="61" name="TextBox 60"/>
            <p:cNvSpPr txBox="1"/>
            <p:nvPr/>
          </p:nvSpPr>
          <p:spPr>
            <a:xfrm>
              <a:off x="5237950" y="6215082"/>
              <a:ext cx="928694" cy="246221"/>
            </a:xfrm>
            <a:prstGeom prst="rect">
              <a:avLst/>
            </a:prstGeom>
            <a:noFill/>
          </p:spPr>
          <p:txBody>
            <a:bodyPr wrap="square" rtlCol="0" anchor="ctr">
              <a:spAutoFit/>
            </a:bodyPr>
            <a:lstStyle/>
            <a:p>
              <a:r>
                <a:rPr lang="en-US" altLang="zh-CN" sz="1000" dirty="0" smtClean="0">
                  <a:latin typeface="微软雅黑" panose="020B0503020204020204" pitchFamily="34" charset="-122"/>
                  <a:ea typeface="微软雅黑" panose="020B0503020204020204" pitchFamily="34" charset="-122"/>
                </a:rPr>
                <a:t>2012</a:t>
              </a:r>
              <a:r>
                <a:rPr lang="zh-CN" altLang="en-US" sz="1000" dirty="0" smtClean="0">
                  <a:latin typeface="微软雅黑" panose="020B0503020204020204" pitchFamily="34" charset="-122"/>
                  <a:ea typeface="微软雅黑" panose="020B0503020204020204" pitchFamily="34" charset="-122"/>
                </a:rPr>
                <a:t>年</a:t>
              </a:r>
              <a:r>
                <a:rPr lang="en-US" altLang="zh-CN" sz="1000" dirty="0" smtClean="0">
                  <a:latin typeface="微软雅黑" panose="020B0503020204020204" pitchFamily="34" charset="-122"/>
                  <a:ea typeface="微软雅黑" panose="020B0503020204020204" pitchFamily="34" charset="-122"/>
                </a:rPr>
                <a:t>6</a:t>
              </a:r>
              <a:r>
                <a:rPr lang="zh-CN" altLang="en-US" sz="1000" dirty="0" smtClean="0">
                  <a:latin typeface="微软雅黑" panose="020B0503020204020204" pitchFamily="34" charset="-122"/>
                  <a:ea typeface="微软雅黑" panose="020B0503020204020204" pitchFamily="34" charset="-122"/>
                </a:rPr>
                <a:t>月</a:t>
              </a:r>
              <a:endParaRPr lang="zh-CN" altLang="en-US" sz="1000" dirty="0" smtClean="0">
                <a:latin typeface="微软雅黑" panose="020B0503020204020204" pitchFamily="34" charset="-122"/>
                <a:ea typeface="微软雅黑" panose="020B0503020204020204" pitchFamily="34" charset="-122"/>
              </a:endParaRPr>
            </a:p>
          </p:txBody>
        </p:sp>
        <p:grpSp>
          <p:nvGrpSpPr>
            <p:cNvPr id="89" name="组合 88"/>
            <p:cNvGrpSpPr/>
            <p:nvPr/>
          </p:nvGrpSpPr>
          <p:grpSpPr>
            <a:xfrm>
              <a:off x="5237950" y="5000636"/>
              <a:ext cx="857256" cy="950198"/>
              <a:chOff x="594480" y="5000636"/>
              <a:chExt cx="857256" cy="950198"/>
            </a:xfrm>
          </p:grpSpPr>
          <p:sp>
            <p:nvSpPr>
              <p:cNvPr id="90" name="TextBox 89"/>
              <p:cNvSpPr txBox="1"/>
              <p:nvPr/>
            </p:nvSpPr>
            <p:spPr>
              <a:xfrm>
                <a:off x="594480" y="5000636"/>
                <a:ext cx="857256" cy="461665"/>
              </a:xfrm>
              <a:prstGeom prst="rect">
                <a:avLst/>
              </a:prstGeom>
              <a:noFill/>
            </p:spPr>
            <p:txBody>
              <a:bodyPr wrap="square" rtlCol="0" anchor="ctr">
                <a:spAutoFit/>
              </a:bodyPr>
              <a:lstStyle/>
              <a:p>
                <a:pPr algn="ctr"/>
                <a:r>
                  <a:rPr lang="zh-CN" altLang="en-US" sz="1200" dirty="0" smtClean="0">
                    <a:latin typeface="微软雅黑" panose="020B0503020204020204" pitchFamily="34" charset="-122"/>
                    <a:ea typeface="微软雅黑" panose="020B0503020204020204" pitchFamily="34" charset="-122"/>
                  </a:rPr>
                  <a:t>烟台</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分公司</a:t>
                </a:r>
                <a:endParaRPr lang="zh-CN" altLang="en-US" sz="1200" dirty="0" smtClean="0">
                  <a:latin typeface="微软雅黑" panose="020B0503020204020204" pitchFamily="34" charset="-122"/>
                  <a:ea typeface="微软雅黑" panose="020B0503020204020204" pitchFamily="34" charset="-122"/>
                </a:endParaRPr>
              </a:p>
            </p:txBody>
          </p:sp>
          <p:grpSp>
            <p:nvGrpSpPr>
              <p:cNvPr id="91" name="组合 63"/>
              <p:cNvGrpSpPr/>
              <p:nvPr/>
            </p:nvGrpSpPr>
            <p:grpSpPr>
              <a:xfrm>
                <a:off x="880232" y="5643577"/>
                <a:ext cx="273351" cy="307257"/>
                <a:chOff x="8125599" y="1434035"/>
                <a:chExt cx="2036802" cy="2036802"/>
              </a:xfrm>
            </p:grpSpPr>
            <p:sp>
              <p:nvSpPr>
                <p:cNvPr id="92" name="椭圆 91"/>
                <p:cNvSpPr/>
                <p:nvPr/>
              </p:nvSpPr>
              <p:spPr>
                <a:xfrm>
                  <a:off x="8125599" y="1434035"/>
                  <a:ext cx="2036802" cy="2036802"/>
                </a:xfrm>
                <a:prstGeom prst="ellipse">
                  <a:avLst/>
                </a:prstGeom>
                <a:solidFill>
                  <a:srgbClr val="E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3" name="Freeform 9"/>
                <p:cNvSpPr>
                  <a:spLocks noEditPoints="1"/>
                </p:cNvSpPr>
                <p:nvPr/>
              </p:nvSpPr>
              <p:spPr bwMode="auto">
                <a:xfrm rot="19469485">
                  <a:off x="8577911" y="1818271"/>
                  <a:ext cx="1162161" cy="1238354"/>
                </a:xfrm>
                <a:custGeom>
                  <a:avLst/>
                  <a:gdLst>
                    <a:gd name="T0" fmla="*/ 147 w 243"/>
                    <a:gd name="T1" fmla="*/ 240 h 269"/>
                    <a:gd name="T2" fmla="*/ 90 w 243"/>
                    <a:gd name="T3" fmla="*/ 234 h 269"/>
                    <a:gd name="T4" fmla="*/ 147 w 243"/>
                    <a:gd name="T5" fmla="*/ 227 h 269"/>
                    <a:gd name="T6" fmla="*/ 147 w 243"/>
                    <a:gd name="T7" fmla="*/ 243 h 269"/>
                    <a:gd name="T8" fmla="*/ 90 w 243"/>
                    <a:gd name="T9" fmla="*/ 252 h 269"/>
                    <a:gd name="T10" fmla="*/ 96 w 243"/>
                    <a:gd name="T11" fmla="*/ 256 h 269"/>
                    <a:gd name="T12" fmla="*/ 105 w 243"/>
                    <a:gd name="T13" fmla="*/ 262 h 269"/>
                    <a:gd name="T14" fmla="*/ 126 w 243"/>
                    <a:gd name="T15" fmla="*/ 269 h 269"/>
                    <a:gd name="T16" fmla="*/ 138 w 243"/>
                    <a:gd name="T17" fmla="*/ 261 h 269"/>
                    <a:gd name="T18" fmla="*/ 147 w 243"/>
                    <a:gd name="T19" fmla="*/ 256 h 269"/>
                    <a:gd name="T20" fmla="*/ 147 w 243"/>
                    <a:gd name="T21" fmla="*/ 243 h 269"/>
                    <a:gd name="T22" fmla="*/ 128 w 243"/>
                    <a:gd name="T23" fmla="*/ 32 h 269"/>
                    <a:gd name="T24" fmla="*/ 122 w 243"/>
                    <a:gd name="T25" fmla="*/ 0 h 269"/>
                    <a:gd name="T26" fmla="*/ 115 w 243"/>
                    <a:gd name="T27" fmla="*/ 32 h 269"/>
                    <a:gd name="T28" fmla="*/ 54 w 243"/>
                    <a:gd name="T29" fmla="*/ 63 h 269"/>
                    <a:gd name="T30" fmla="*/ 63 w 243"/>
                    <a:gd name="T31" fmla="*/ 63 h 269"/>
                    <a:gd name="T32" fmla="*/ 45 w 243"/>
                    <a:gd name="T33" fmla="*/ 36 h 269"/>
                    <a:gd name="T34" fmla="*/ 36 w 243"/>
                    <a:gd name="T35" fmla="*/ 45 h 269"/>
                    <a:gd name="T36" fmla="*/ 38 w 243"/>
                    <a:gd name="T37" fmla="*/ 122 h 269"/>
                    <a:gd name="T38" fmla="*/ 6 w 243"/>
                    <a:gd name="T39" fmla="*/ 115 h 269"/>
                    <a:gd name="T40" fmla="*/ 6 w 243"/>
                    <a:gd name="T41" fmla="*/ 128 h 269"/>
                    <a:gd name="T42" fmla="*/ 38 w 243"/>
                    <a:gd name="T43" fmla="*/ 122 h 269"/>
                    <a:gd name="T44" fmla="*/ 36 w 243"/>
                    <a:gd name="T45" fmla="*/ 199 h 269"/>
                    <a:gd name="T46" fmla="*/ 40 w 243"/>
                    <a:gd name="T47" fmla="*/ 209 h 269"/>
                    <a:gd name="T48" fmla="*/ 63 w 243"/>
                    <a:gd name="T49" fmla="*/ 189 h 269"/>
                    <a:gd name="T50" fmla="*/ 54 w 243"/>
                    <a:gd name="T51" fmla="*/ 180 h 269"/>
                    <a:gd name="T52" fmla="*/ 180 w 243"/>
                    <a:gd name="T53" fmla="*/ 180 h 269"/>
                    <a:gd name="T54" fmla="*/ 199 w 243"/>
                    <a:gd name="T55" fmla="*/ 208 h 269"/>
                    <a:gd name="T56" fmla="*/ 208 w 243"/>
                    <a:gd name="T57" fmla="*/ 208 h 269"/>
                    <a:gd name="T58" fmla="*/ 189 w 243"/>
                    <a:gd name="T59" fmla="*/ 180 h 269"/>
                    <a:gd name="T60" fmla="*/ 211 w 243"/>
                    <a:gd name="T61" fmla="*/ 115 h 269"/>
                    <a:gd name="T62" fmla="*/ 211 w 243"/>
                    <a:gd name="T63" fmla="*/ 128 h 269"/>
                    <a:gd name="T64" fmla="*/ 243 w 243"/>
                    <a:gd name="T65" fmla="*/ 122 h 269"/>
                    <a:gd name="T66" fmla="*/ 185 w 243"/>
                    <a:gd name="T67" fmla="*/ 65 h 269"/>
                    <a:gd name="T68" fmla="*/ 208 w 243"/>
                    <a:gd name="T69" fmla="*/ 45 h 269"/>
                    <a:gd name="T70" fmla="*/ 199 w 243"/>
                    <a:gd name="T71" fmla="*/ 36 h 269"/>
                    <a:gd name="T72" fmla="*/ 180 w 243"/>
                    <a:gd name="T73" fmla="*/ 63 h 269"/>
                    <a:gd name="T74" fmla="*/ 154 w 243"/>
                    <a:gd name="T75" fmla="*/ 218 h 269"/>
                    <a:gd name="T76" fmla="*/ 96 w 243"/>
                    <a:gd name="T77" fmla="*/ 224 h 269"/>
                    <a:gd name="T78" fmla="*/ 96 w 243"/>
                    <a:gd name="T79" fmla="*/ 211 h 269"/>
                    <a:gd name="T80" fmla="*/ 122 w 243"/>
                    <a:gd name="T81" fmla="*/ 58 h 269"/>
                    <a:gd name="T82" fmla="*/ 148 w 243"/>
                    <a:gd name="T83" fmla="*/ 211 h 269"/>
                    <a:gd name="T84" fmla="*/ 107 w 243"/>
                    <a:gd name="T85" fmla="*/ 76 h 269"/>
                    <a:gd name="T86" fmla="*/ 67 w 243"/>
                    <a:gd name="T87" fmla="*/ 111 h 269"/>
                    <a:gd name="T88" fmla="*/ 72 w 243"/>
                    <a:gd name="T89" fmla="*/ 117 h 269"/>
                    <a:gd name="T90" fmla="*/ 104 w 243"/>
                    <a:gd name="T91" fmla="*/ 8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69">
                      <a:moveTo>
                        <a:pt x="154" y="234"/>
                      </a:moveTo>
                      <a:cubicBezTo>
                        <a:pt x="154" y="237"/>
                        <a:pt x="151" y="240"/>
                        <a:pt x="147" y="240"/>
                      </a:cubicBezTo>
                      <a:cubicBezTo>
                        <a:pt x="96" y="240"/>
                        <a:pt x="96" y="240"/>
                        <a:pt x="96" y="240"/>
                      </a:cubicBezTo>
                      <a:cubicBezTo>
                        <a:pt x="92" y="240"/>
                        <a:pt x="90" y="237"/>
                        <a:pt x="90" y="234"/>
                      </a:cubicBezTo>
                      <a:cubicBezTo>
                        <a:pt x="90" y="230"/>
                        <a:pt x="92" y="227"/>
                        <a:pt x="96" y="227"/>
                      </a:cubicBezTo>
                      <a:cubicBezTo>
                        <a:pt x="147" y="227"/>
                        <a:pt x="147" y="227"/>
                        <a:pt x="147" y="227"/>
                      </a:cubicBezTo>
                      <a:cubicBezTo>
                        <a:pt x="151" y="227"/>
                        <a:pt x="154" y="230"/>
                        <a:pt x="154" y="234"/>
                      </a:cubicBezTo>
                      <a:close/>
                      <a:moveTo>
                        <a:pt x="147" y="243"/>
                      </a:moveTo>
                      <a:cubicBezTo>
                        <a:pt x="96" y="243"/>
                        <a:pt x="96" y="243"/>
                        <a:pt x="96" y="243"/>
                      </a:cubicBezTo>
                      <a:cubicBezTo>
                        <a:pt x="92" y="243"/>
                        <a:pt x="89" y="247"/>
                        <a:pt x="90" y="252"/>
                      </a:cubicBezTo>
                      <a:cubicBezTo>
                        <a:pt x="91" y="254"/>
                        <a:pt x="93" y="256"/>
                        <a:pt x="96" y="256"/>
                      </a:cubicBezTo>
                      <a:cubicBezTo>
                        <a:pt x="96" y="256"/>
                        <a:pt x="96" y="256"/>
                        <a:pt x="96" y="256"/>
                      </a:cubicBezTo>
                      <a:cubicBezTo>
                        <a:pt x="100" y="256"/>
                        <a:pt x="103" y="258"/>
                        <a:pt x="105" y="261"/>
                      </a:cubicBezTo>
                      <a:cubicBezTo>
                        <a:pt x="105" y="262"/>
                        <a:pt x="105" y="262"/>
                        <a:pt x="105" y="262"/>
                      </a:cubicBezTo>
                      <a:cubicBezTo>
                        <a:pt x="107" y="266"/>
                        <a:pt x="112" y="269"/>
                        <a:pt x="117" y="269"/>
                      </a:cubicBezTo>
                      <a:cubicBezTo>
                        <a:pt x="126" y="269"/>
                        <a:pt x="126" y="269"/>
                        <a:pt x="126" y="269"/>
                      </a:cubicBezTo>
                      <a:cubicBezTo>
                        <a:pt x="131" y="269"/>
                        <a:pt x="136" y="266"/>
                        <a:pt x="138" y="262"/>
                      </a:cubicBezTo>
                      <a:cubicBezTo>
                        <a:pt x="138" y="261"/>
                        <a:pt x="138" y="261"/>
                        <a:pt x="138" y="261"/>
                      </a:cubicBezTo>
                      <a:cubicBezTo>
                        <a:pt x="140" y="258"/>
                        <a:pt x="143" y="256"/>
                        <a:pt x="147" y="256"/>
                      </a:cubicBezTo>
                      <a:cubicBezTo>
                        <a:pt x="147" y="256"/>
                        <a:pt x="147" y="256"/>
                        <a:pt x="147" y="256"/>
                      </a:cubicBezTo>
                      <a:cubicBezTo>
                        <a:pt x="150" y="256"/>
                        <a:pt x="152" y="254"/>
                        <a:pt x="153" y="252"/>
                      </a:cubicBezTo>
                      <a:cubicBezTo>
                        <a:pt x="155" y="247"/>
                        <a:pt x="151" y="243"/>
                        <a:pt x="147" y="243"/>
                      </a:cubicBezTo>
                      <a:close/>
                      <a:moveTo>
                        <a:pt x="122" y="38"/>
                      </a:moveTo>
                      <a:cubicBezTo>
                        <a:pt x="125" y="38"/>
                        <a:pt x="128" y="36"/>
                        <a:pt x="128" y="32"/>
                      </a:cubicBezTo>
                      <a:cubicBezTo>
                        <a:pt x="128" y="6"/>
                        <a:pt x="128" y="6"/>
                        <a:pt x="128" y="6"/>
                      </a:cubicBezTo>
                      <a:cubicBezTo>
                        <a:pt x="128" y="3"/>
                        <a:pt x="125" y="0"/>
                        <a:pt x="122" y="0"/>
                      </a:cubicBezTo>
                      <a:cubicBezTo>
                        <a:pt x="118" y="0"/>
                        <a:pt x="115" y="3"/>
                        <a:pt x="115" y="6"/>
                      </a:cubicBezTo>
                      <a:cubicBezTo>
                        <a:pt x="115" y="32"/>
                        <a:pt x="115" y="32"/>
                        <a:pt x="115" y="32"/>
                      </a:cubicBezTo>
                      <a:cubicBezTo>
                        <a:pt x="115" y="36"/>
                        <a:pt x="118" y="38"/>
                        <a:pt x="122" y="38"/>
                      </a:cubicBezTo>
                      <a:close/>
                      <a:moveTo>
                        <a:pt x="54" y="63"/>
                      </a:moveTo>
                      <a:cubicBezTo>
                        <a:pt x="55" y="64"/>
                        <a:pt x="57" y="65"/>
                        <a:pt x="58" y="65"/>
                      </a:cubicBezTo>
                      <a:cubicBezTo>
                        <a:pt x="60" y="65"/>
                        <a:pt x="62" y="64"/>
                        <a:pt x="63" y="63"/>
                      </a:cubicBezTo>
                      <a:cubicBezTo>
                        <a:pt x="65" y="60"/>
                        <a:pt x="65" y="56"/>
                        <a:pt x="63" y="54"/>
                      </a:cubicBezTo>
                      <a:cubicBezTo>
                        <a:pt x="45" y="36"/>
                        <a:pt x="45" y="36"/>
                        <a:pt x="45" y="36"/>
                      </a:cubicBezTo>
                      <a:cubicBezTo>
                        <a:pt x="42" y="33"/>
                        <a:pt x="38" y="33"/>
                        <a:pt x="36" y="36"/>
                      </a:cubicBezTo>
                      <a:cubicBezTo>
                        <a:pt x="33" y="38"/>
                        <a:pt x="33" y="42"/>
                        <a:pt x="36" y="45"/>
                      </a:cubicBezTo>
                      <a:lnTo>
                        <a:pt x="54" y="63"/>
                      </a:lnTo>
                      <a:close/>
                      <a:moveTo>
                        <a:pt x="38" y="122"/>
                      </a:moveTo>
                      <a:cubicBezTo>
                        <a:pt x="38" y="118"/>
                        <a:pt x="36" y="115"/>
                        <a:pt x="32" y="115"/>
                      </a:cubicBezTo>
                      <a:cubicBezTo>
                        <a:pt x="6" y="115"/>
                        <a:pt x="6" y="115"/>
                        <a:pt x="6" y="115"/>
                      </a:cubicBezTo>
                      <a:cubicBezTo>
                        <a:pt x="3" y="115"/>
                        <a:pt x="0" y="118"/>
                        <a:pt x="0" y="122"/>
                      </a:cubicBezTo>
                      <a:cubicBezTo>
                        <a:pt x="0" y="125"/>
                        <a:pt x="3" y="128"/>
                        <a:pt x="6" y="128"/>
                      </a:cubicBezTo>
                      <a:cubicBezTo>
                        <a:pt x="32" y="128"/>
                        <a:pt x="32" y="128"/>
                        <a:pt x="32" y="128"/>
                      </a:cubicBezTo>
                      <a:cubicBezTo>
                        <a:pt x="36" y="128"/>
                        <a:pt x="38" y="125"/>
                        <a:pt x="38" y="122"/>
                      </a:cubicBezTo>
                      <a:close/>
                      <a:moveTo>
                        <a:pt x="54" y="180"/>
                      </a:moveTo>
                      <a:cubicBezTo>
                        <a:pt x="36" y="199"/>
                        <a:pt x="36" y="199"/>
                        <a:pt x="36" y="199"/>
                      </a:cubicBezTo>
                      <a:cubicBezTo>
                        <a:pt x="33" y="201"/>
                        <a:pt x="33" y="205"/>
                        <a:pt x="36" y="208"/>
                      </a:cubicBezTo>
                      <a:cubicBezTo>
                        <a:pt x="37" y="209"/>
                        <a:pt x="39" y="209"/>
                        <a:pt x="40" y="209"/>
                      </a:cubicBezTo>
                      <a:cubicBezTo>
                        <a:pt x="42" y="209"/>
                        <a:pt x="43" y="209"/>
                        <a:pt x="45" y="208"/>
                      </a:cubicBezTo>
                      <a:cubicBezTo>
                        <a:pt x="63" y="189"/>
                        <a:pt x="63" y="189"/>
                        <a:pt x="63" y="189"/>
                      </a:cubicBezTo>
                      <a:cubicBezTo>
                        <a:pt x="65" y="187"/>
                        <a:pt x="65" y="183"/>
                        <a:pt x="63" y="180"/>
                      </a:cubicBezTo>
                      <a:cubicBezTo>
                        <a:pt x="60" y="178"/>
                        <a:pt x="56" y="178"/>
                        <a:pt x="54" y="180"/>
                      </a:cubicBezTo>
                      <a:close/>
                      <a:moveTo>
                        <a:pt x="189" y="180"/>
                      </a:moveTo>
                      <a:cubicBezTo>
                        <a:pt x="187" y="178"/>
                        <a:pt x="183" y="178"/>
                        <a:pt x="180" y="180"/>
                      </a:cubicBezTo>
                      <a:cubicBezTo>
                        <a:pt x="178" y="183"/>
                        <a:pt x="178" y="187"/>
                        <a:pt x="180" y="189"/>
                      </a:cubicBezTo>
                      <a:cubicBezTo>
                        <a:pt x="199" y="208"/>
                        <a:pt x="199" y="208"/>
                        <a:pt x="199" y="208"/>
                      </a:cubicBezTo>
                      <a:cubicBezTo>
                        <a:pt x="200" y="209"/>
                        <a:pt x="201" y="209"/>
                        <a:pt x="203" y="209"/>
                      </a:cubicBezTo>
                      <a:cubicBezTo>
                        <a:pt x="205" y="209"/>
                        <a:pt x="206" y="209"/>
                        <a:pt x="208" y="208"/>
                      </a:cubicBezTo>
                      <a:cubicBezTo>
                        <a:pt x="210" y="205"/>
                        <a:pt x="210" y="201"/>
                        <a:pt x="208" y="199"/>
                      </a:cubicBezTo>
                      <a:lnTo>
                        <a:pt x="189" y="180"/>
                      </a:lnTo>
                      <a:close/>
                      <a:moveTo>
                        <a:pt x="237" y="115"/>
                      </a:moveTo>
                      <a:cubicBezTo>
                        <a:pt x="211" y="115"/>
                        <a:pt x="211" y="115"/>
                        <a:pt x="211" y="115"/>
                      </a:cubicBezTo>
                      <a:cubicBezTo>
                        <a:pt x="208" y="115"/>
                        <a:pt x="205" y="118"/>
                        <a:pt x="205" y="122"/>
                      </a:cubicBezTo>
                      <a:cubicBezTo>
                        <a:pt x="205" y="125"/>
                        <a:pt x="208" y="128"/>
                        <a:pt x="211" y="128"/>
                      </a:cubicBezTo>
                      <a:cubicBezTo>
                        <a:pt x="237" y="128"/>
                        <a:pt x="237" y="128"/>
                        <a:pt x="237" y="128"/>
                      </a:cubicBezTo>
                      <a:cubicBezTo>
                        <a:pt x="240" y="128"/>
                        <a:pt x="243" y="125"/>
                        <a:pt x="243" y="122"/>
                      </a:cubicBezTo>
                      <a:cubicBezTo>
                        <a:pt x="243" y="118"/>
                        <a:pt x="240" y="115"/>
                        <a:pt x="237" y="115"/>
                      </a:cubicBezTo>
                      <a:close/>
                      <a:moveTo>
                        <a:pt x="185" y="65"/>
                      </a:moveTo>
                      <a:cubicBezTo>
                        <a:pt x="187" y="65"/>
                        <a:pt x="188" y="64"/>
                        <a:pt x="189" y="63"/>
                      </a:cubicBezTo>
                      <a:cubicBezTo>
                        <a:pt x="208" y="45"/>
                        <a:pt x="208" y="45"/>
                        <a:pt x="208" y="45"/>
                      </a:cubicBezTo>
                      <a:cubicBezTo>
                        <a:pt x="210" y="42"/>
                        <a:pt x="210" y="38"/>
                        <a:pt x="208" y="36"/>
                      </a:cubicBezTo>
                      <a:cubicBezTo>
                        <a:pt x="205" y="33"/>
                        <a:pt x="201" y="33"/>
                        <a:pt x="199" y="36"/>
                      </a:cubicBezTo>
                      <a:cubicBezTo>
                        <a:pt x="180" y="54"/>
                        <a:pt x="180" y="54"/>
                        <a:pt x="180" y="54"/>
                      </a:cubicBezTo>
                      <a:cubicBezTo>
                        <a:pt x="178" y="56"/>
                        <a:pt x="178" y="60"/>
                        <a:pt x="180" y="63"/>
                      </a:cubicBezTo>
                      <a:cubicBezTo>
                        <a:pt x="182" y="64"/>
                        <a:pt x="183" y="65"/>
                        <a:pt x="185" y="65"/>
                      </a:cubicBezTo>
                      <a:close/>
                      <a:moveTo>
                        <a:pt x="154" y="218"/>
                      </a:moveTo>
                      <a:cubicBezTo>
                        <a:pt x="154" y="221"/>
                        <a:pt x="151" y="224"/>
                        <a:pt x="147" y="224"/>
                      </a:cubicBezTo>
                      <a:cubicBezTo>
                        <a:pt x="96" y="224"/>
                        <a:pt x="96" y="224"/>
                        <a:pt x="96" y="224"/>
                      </a:cubicBezTo>
                      <a:cubicBezTo>
                        <a:pt x="92" y="224"/>
                        <a:pt x="90" y="221"/>
                        <a:pt x="90" y="218"/>
                      </a:cubicBezTo>
                      <a:cubicBezTo>
                        <a:pt x="90" y="214"/>
                        <a:pt x="92" y="211"/>
                        <a:pt x="96" y="211"/>
                      </a:cubicBezTo>
                      <a:cubicBezTo>
                        <a:pt x="92" y="175"/>
                        <a:pt x="54" y="167"/>
                        <a:pt x="54" y="125"/>
                      </a:cubicBezTo>
                      <a:cubicBezTo>
                        <a:pt x="54" y="88"/>
                        <a:pt x="84" y="58"/>
                        <a:pt x="122" y="58"/>
                      </a:cubicBezTo>
                      <a:cubicBezTo>
                        <a:pt x="159" y="58"/>
                        <a:pt x="189" y="88"/>
                        <a:pt x="189" y="125"/>
                      </a:cubicBezTo>
                      <a:cubicBezTo>
                        <a:pt x="189" y="167"/>
                        <a:pt x="152" y="175"/>
                        <a:pt x="148" y="211"/>
                      </a:cubicBezTo>
                      <a:cubicBezTo>
                        <a:pt x="151" y="211"/>
                        <a:pt x="154" y="214"/>
                        <a:pt x="154" y="218"/>
                      </a:cubicBezTo>
                      <a:close/>
                      <a:moveTo>
                        <a:pt x="107" y="76"/>
                      </a:moveTo>
                      <a:cubicBezTo>
                        <a:pt x="106" y="73"/>
                        <a:pt x="103" y="72"/>
                        <a:pt x="101" y="73"/>
                      </a:cubicBezTo>
                      <a:cubicBezTo>
                        <a:pt x="84" y="80"/>
                        <a:pt x="72" y="94"/>
                        <a:pt x="67" y="111"/>
                      </a:cubicBezTo>
                      <a:cubicBezTo>
                        <a:pt x="67" y="113"/>
                        <a:pt x="68" y="116"/>
                        <a:pt x="71" y="117"/>
                      </a:cubicBezTo>
                      <a:cubicBezTo>
                        <a:pt x="71" y="117"/>
                        <a:pt x="72" y="117"/>
                        <a:pt x="72" y="117"/>
                      </a:cubicBezTo>
                      <a:cubicBezTo>
                        <a:pt x="74" y="117"/>
                        <a:pt x="76" y="115"/>
                        <a:pt x="77" y="113"/>
                      </a:cubicBezTo>
                      <a:cubicBezTo>
                        <a:pt x="80" y="99"/>
                        <a:pt x="91" y="87"/>
                        <a:pt x="104" y="82"/>
                      </a:cubicBezTo>
                      <a:cubicBezTo>
                        <a:pt x="107" y="81"/>
                        <a:pt x="108" y="78"/>
                        <a:pt x="107" y="76"/>
                      </a:cubicBezTo>
                      <a:close/>
                    </a:path>
                  </a:pathLst>
                </a:custGeom>
                <a:solidFill>
                  <a:schemeClr val="bg1">
                    <a:lumMod val="95000"/>
                  </a:schemeClr>
                </a:solidFill>
                <a:ln>
                  <a:noFill/>
                </a:ln>
              </p:spPr>
              <p:txBody>
                <a:bodyPr vert="horz" wrap="square" lIns="91440" tIns="45720" rIns="91440" bIns="45720" numCol="1" anchor="t" anchorCtr="0" compatLnSpc="1"/>
                <a:lstStyle/>
                <a:p>
                  <a:endParaRPr lang="zh-CN" altLang="en-US"/>
                </a:p>
              </p:txBody>
            </p:sp>
          </p:grpSp>
        </p:grpSp>
      </p:grpSp>
      <p:grpSp>
        <p:nvGrpSpPr>
          <p:cNvPr id="125" name="组合 124"/>
          <p:cNvGrpSpPr/>
          <p:nvPr/>
        </p:nvGrpSpPr>
        <p:grpSpPr>
          <a:xfrm>
            <a:off x="5666578" y="4786322"/>
            <a:ext cx="1000132" cy="1460667"/>
            <a:chOff x="6309520" y="5000636"/>
            <a:chExt cx="1000132" cy="1460667"/>
          </a:xfrm>
        </p:grpSpPr>
        <p:sp>
          <p:nvSpPr>
            <p:cNvPr id="62" name="TextBox 61"/>
            <p:cNvSpPr txBox="1"/>
            <p:nvPr/>
          </p:nvSpPr>
          <p:spPr>
            <a:xfrm>
              <a:off x="6380958" y="6215082"/>
              <a:ext cx="928694" cy="246221"/>
            </a:xfrm>
            <a:prstGeom prst="rect">
              <a:avLst/>
            </a:prstGeom>
            <a:noFill/>
          </p:spPr>
          <p:txBody>
            <a:bodyPr wrap="square" rtlCol="0" anchor="ctr">
              <a:spAutoFit/>
            </a:bodyPr>
            <a:lstStyle/>
            <a:p>
              <a:r>
                <a:rPr lang="en-US" altLang="zh-CN" sz="1000" dirty="0" smtClean="0">
                  <a:latin typeface="微软雅黑" panose="020B0503020204020204" pitchFamily="34" charset="-122"/>
                  <a:ea typeface="微软雅黑" panose="020B0503020204020204" pitchFamily="34" charset="-122"/>
                </a:rPr>
                <a:t>2014</a:t>
              </a:r>
              <a:r>
                <a:rPr lang="zh-CN" altLang="en-US" sz="1000" dirty="0" smtClean="0">
                  <a:latin typeface="微软雅黑" panose="020B0503020204020204" pitchFamily="34" charset="-122"/>
                  <a:ea typeface="微软雅黑" panose="020B0503020204020204" pitchFamily="34" charset="-122"/>
                </a:rPr>
                <a:t>年</a:t>
              </a:r>
              <a:r>
                <a:rPr lang="en-US" altLang="zh-CN" sz="1000" dirty="0" smtClean="0">
                  <a:latin typeface="微软雅黑" panose="020B0503020204020204" pitchFamily="34" charset="-122"/>
                  <a:ea typeface="微软雅黑" panose="020B0503020204020204" pitchFamily="34" charset="-122"/>
                </a:rPr>
                <a:t>1</a:t>
              </a:r>
              <a:r>
                <a:rPr lang="zh-CN" altLang="en-US" sz="1000" dirty="0" smtClean="0">
                  <a:latin typeface="微软雅黑" panose="020B0503020204020204" pitchFamily="34" charset="-122"/>
                  <a:ea typeface="微软雅黑" panose="020B0503020204020204" pitchFamily="34" charset="-122"/>
                </a:rPr>
                <a:t>月</a:t>
              </a:r>
              <a:endParaRPr lang="zh-CN" altLang="en-US" sz="1000" dirty="0" smtClean="0">
                <a:latin typeface="微软雅黑" panose="020B0503020204020204" pitchFamily="34" charset="-122"/>
                <a:ea typeface="微软雅黑" panose="020B0503020204020204" pitchFamily="34" charset="-122"/>
              </a:endParaRPr>
            </a:p>
          </p:txBody>
        </p:sp>
        <p:grpSp>
          <p:nvGrpSpPr>
            <p:cNvPr id="94" name="组合 93"/>
            <p:cNvGrpSpPr/>
            <p:nvPr/>
          </p:nvGrpSpPr>
          <p:grpSpPr>
            <a:xfrm>
              <a:off x="6309520" y="5000636"/>
              <a:ext cx="857256" cy="950198"/>
              <a:chOff x="594480" y="5000636"/>
              <a:chExt cx="857256" cy="950198"/>
            </a:xfrm>
          </p:grpSpPr>
          <p:sp>
            <p:nvSpPr>
              <p:cNvPr id="95" name="TextBox 94"/>
              <p:cNvSpPr txBox="1"/>
              <p:nvPr/>
            </p:nvSpPr>
            <p:spPr>
              <a:xfrm>
                <a:off x="594480" y="5000636"/>
                <a:ext cx="857256" cy="461665"/>
              </a:xfrm>
              <a:prstGeom prst="rect">
                <a:avLst/>
              </a:prstGeom>
              <a:noFill/>
            </p:spPr>
            <p:txBody>
              <a:bodyPr wrap="square" rtlCol="0" anchor="ctr">
                <a:spAutoFit/>
              </a:bodyPr>
              <a:lstStyle/>
              <a:p>
                <a:pPr algn="ctr"/>
                <a:r>
                  <a:rPr lang="zh-CN" altLang="en-US" sz="1200" dirty="0" smtClean="0">
                    <a:latin typeface="微软雅黑" panose="020B0503020204020204" pitchFamily="34" charset="-122"/>
                    <a:ea typeface="微软雅黑" panose="020B0503020204020204" pitchFamily="34" charset="-122"/>
                  </a:rPr>
                  <a:t>东营</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分公司</a:t>
                </a:r>
                <a:endParaRPr lang="zh-CN" altLang="en-US" sz="1200" dirty="0" smtClean="0">
                  <a:latin typeface="微软雅黑" panose="020B0503020204020204" pitchFamily="34" charset="-122"/>
                  <a:ea typeface="微软雅黑" panose="020B0503020204020204" pitchFamily="34" charset="-122"/>
                </a:endParaRPr>
              </a:p>
            </p:txBody>
          </p:sp>
          <p:grpSp>
            <p:nvGrpSpPr>
              <p:cNvPr id="96" name="组合 63"/>
              <p:cNvGrpSpPr/>
              <p:nvPr/>
            </p:nvGrpSpPr>
            <p:grpSpPr>
              <a:xfrm>
                <a:off x="880232" y="5643577"/>
                <a:ext cx="273351" cy="307257"/>
                <a:chOff x="8125599" y="1434035"/>
                <a:chExt cx="2036802" cy="2036802"/>
              </a:xfrm>
            </p:grpSpPr>
            <p:sp>
              <p:nvSpPr>
                <p:cNvPr id="97" name="椭圆 96"/>
                <p:cNvSpPr/>
                <p:nvPr/>
              </p:nvSpPr>
              <p:spPr>
                <a:xfrm>
                  <a:off x="8125599" y="1434035"/>
                  <a:ext cx="2036802" cy="2036802"/>
                </a:xfrm>
                <a:prstGeom prst="ellipse">
                  <a:avLst/>
                </a:prstGeom>
                <a:solidFill>
                  <a:srgbClr val="E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98" name="Freeform 9"/>
                <p:cNvSpPr>
                  <a:spLocks noEditPoints="1"/>
                </p:cNvSpPr>
                <p:nvPr/>
              </p:nvSpPr>
              <p:spPr bwMode="auto">
                <a:xfrm rot="19469485">
                  <a:off x="8577911" y="1818271"/>
                  <a:ext cx="1162161" cy="1238354"/>
                </a:xfrm>
                <a:custGeom>
                  <a:avLst/>
                  <a:gdLst>
                    <a:gd name="T0" fmla="*/ 147 w 243"/>
                    <a:gd name="T1" fmla="*/ 240 h 269"/>
                    <a:gd name="T2" fmla="*/ 90 w 243"/>
                    <a:gd name="T3" fmla="*/ 234 h 269"/>
                    <a:gd name="T4" fmla="*/ 147 w 243"/>
                    <a:gd name="T5" fmla="*/ 227 h 269"/>
                    <a:gd name="T6" fmla="*/ 147 w 243"/>
                    <a:gd name="T7" fmla="*/ 243 h 269"/>
                    <a:gd name="T8" fmla="*/ 90 w 243"/>
                    <a:gd name="T9" fmla="*/ 252 h 269"/>
                    <a:gd name="T10" fmla="*/ 96 w 243"/>
                    <a:gd name="T11" fmla="*/ 256 h 269"/>
                    <a:gd name="T12" fmla="*/ 105 w 243"/>
                    <a:gd name="T13" fmla="*/ 262 h 269"/>
                    <a:gd name="T14" fmla="*/ 126 w 243"/>
                    <a:gd name="T15" fmla="*/ 269 h 269"/>
                    <a:gd name="T16" fmla="*/ 138 w 243"/>
                    <a:gd name="T17" fmla="*/ 261 h 269"/>
                    <a:gd name="T18" fmla="*/ 147 w 243"/>
                    <a:gd name="T19" fmla="*/ 256 h 269"/>
                    <a:gd name="T20" fmla="*/ 147 w 243"/>
                    <a:gd name="T21" fmla="*/ 243 h 269"/>
                    <a:gd name="T22" fmla="*/ 128 w 243"/>
                    <a:gd name="T23" fmla="*/ 32 h 269"/>
                    <a:gd name="T24" fmla="*/ 122 w 243"/>
                    <a:gd name="T25" fmla="*/ 0 h 269"/>
                    <a:gd name="T26" fmla="*/ 115 w 243"/>
                    <a:gd name="T27" fmla="*/ 32 h 269"/>
                    <a:gd name="T28" fmla="*/ 54 w 243"/>
                    <a:gd name="T29" fmla="*/ 63 h 269"/>
                    <a:gd name="T30" fmla="*/ 63 w 243"/>
                    <a:gd name="T31" fmla="*/ 63 h 269"/>
                    <a:gd name="T32" fmla="*/ 45 w 243"/>
                    <a:gd name="T33" fmla="*/ 36 h 269"/>
                    <a:gd name="T34" fmla="*/ 36 w 243"/>
                    <a:gd name="T35" fmla="*/ 45 h 269"/>
                    <a:gd name="T36" fmla="*/ 38 w 243"/>
                    <a:gd name="T37" fmla="*/ 122 h 269"/>
                    <a:gd name="T38" fmla="*/ 6 w 243"/>
                    <a:gd name="T39" fmla="*/ 115 h 269"/>
                    <a:gd name="T40" fmla="*/ 6 w 243"/>
                    <a:gd name="T41" fmla="*/ 128 h 269"/>
                    <a:gd name="T42" fmla="*/ 38 w 243"/>
                    <a:gd name="T43" fmla="*/ 122 h 269"/>
                    <a:gd name="T44" fmla="*/ 36 w 243"/>
                    <a:gd name="T45" fmla="*/ 199 h 269"/>
                    <a:gd name="T46" fmla="*/ 40 w 243"/>
                    <a:gd name="T47" fmla="*/ 209 h 269"/>
                    <a:gd name="T48" fmla="*/ 63 w 243"/>
                    <a:gd name="T49" fmla="*/ 189 h 269"/>
                    <a:gd name="T50" fmla="*/ 54 w 243"/>
                    <a:gd name="T51" fmla="*/ 180 h 269"/>
                    <a:gd name="T52" fmla="*/ 180 w 243"/>
                    <a:gd name="T53" fmla="*/ 180 h 269"/>
                    <a:gd name="T54" fmla="*/ 199 w 243"/>
                    <a:gd name="T55" fmla="*/ 208 h 269"/>
                    <a:gd name="T56" fmla="*/ 208 w 243"/>
                    <a:gd name="T57" fmla="*/ 208 h 269"/>
                    <a:gd name="T58" fmla="*/ 189 w 243"/>
                    <a:gd name="T59" fmla="*/ 180 h 269"/>
                    <a:gd name="T60" fmla="*/ 211 w 243"/>
                    <a:gd name="T61" fmla="*/ 115 h 269"/>
                    <a:gd name="T62" fmla="*/ 211 w 243"/>
                    <a:gd name="T63" fmla="*/ 128 h 269"/>
                    <a:gd name="T64" fmla="*/ 243 w 243"/>
                    <a:gd name="T65" fmla="*/ 122 h 269"/>
                    <a:gd name="T66" fmla="*/ 185 w 243"/>
                    <a:gd name="T67" fmla="*/ 65 h 269"/>
                    <a:gd name="T68" fmla="*/ 208 w 243"/>
                    <a:gd name="T69" fmla="*/ 45 h 269"/>
                    <a:gd name="T70" fmla="*/ 199 w 243"/>
                    <a:gd name="T71" fmla="*/ 36 h 269"/>
                    <a:gd name="T72" fmla="*/ 180 w 243"/>
                    <a:gd name="T73" fmla="*/ 63 h 269"/>
                    <a:gd name="T74" fmla="*/ 154 w 243"/>
                    <a:gd name="T75" fmla="*/ 218 h 269"/>
                    <a:gd name="T76" fmla="*/ 96 w 243"/>
                    <a:gd name="T77" fmla="*/ 224 h 269"/>
                    <a:gd name="T78" fmla="*/ 96 w 243"/>
                    <a:gd name="T79" fmla="*/ 211 h 269"/>
                    <a:gd name="T80" fmla="*/ 122 w 243"/>
                    <a:gd name="T81" fmla="*/ 58 h 269"/>
                    <a:gd name="T82" fmla="*/ 148 w 243"/>
                    <a:gd name="T83" fmla="*/ 211 h 269"/>
                    <a:gd name="T84" fmla="*/ 107 w 243"/>
                    <a:gd name="T85" fmla="*/ 76 h 269"/>
                    <a:gd name="T86" fmla="*/ 67 w 243"/>
                    <a:gd name="T87" fmla="*/ 111 h 269"/>
                    <a:gd name="T88" fmla="*/ 72 w 243"/>
                    <a:gd name="T89" fmla="*/ 117 h 269"/>
                    <a:gd name="T90" fmla="*/ 104 w 243"/>
                    <a:gd name="T91" fmla="*/ 8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69">
                      <a:moveTo>
                        <a:pt x="154" y="234"/>
                      </a:moveTo>
                      <a:cubicBezTo>
                        <a:pt x="154" y="237"/>
                        <a:pt x="151" y="240"/>
                        <a:pt x="147" y="240"/>
                      </a:cubicBezTo>
                      <a:cubicBezTo>
                        <a:pt x="96" y="240"/>
                        <a:pt x="96" y="240"/>
                        <a:pt x="96" y="240"/>
                      </a:cubicBezTo>
                      <a:cubicBezTo>
                        <a:pt x="92" y="240"/>
                        <a:pt x="90" y="237"/>
                        <a:pt x="90" y="234"/>
                      </a:cubicBezTo>
                      <a:cubicBezTo>
                        <a:pt x="90" y="230"/>
                        <a:pt x="92" y="227"/>
                        <a:pt x="96" y="227"/>
                      </a:cubicBezTo>
                      <a:cubicBezTo>
                        <a:pt x="147" y="227"/>
                        <a:pt x="147" y="227"/>
                        <a:pt x="147" y="227"/>
                      </a:cubicBezTo>
                      <a:cubicBezTo>
                        <a:pt x="151" y="227"/>
                        <a:pt x="154" y="230"/>
                        <a:pt x="154" y="234"/>
                      </a:cubicBezTo>
                      <a:close/>
                      <a:moveTo>
                        <a:pt x="147" y="243"/>
                      </a:moveTo>
                      <a:cubicBezTo>
                        <a:pt x="96" y="243"/>
                        <a:pt x="96" y="243"/>
                        <a:pt x="96" y="243"/>
                      </a:cubicBezTo>
                      <a:cubicBezTo>
                        <a:pt x="92" y="243"/>
                        <a:pt x="89" y="247"/>
                        <a:pt x="90" y="252"/>
                      </a:cubicBezTo>
                      <a:cubicBezTo>
                        <a:pt x="91" y="254"/>
                        <a:pt x="93" y="256"/>
                        <a:pt x="96" y="256"/>
                      </a:cubicBezTo>
                      <a:cubicBezTo>
                        <a:pt x="96" y="256"/>
                        <a:pt x="96" y="256"/>
                        <a:pt x="96" y="256"/>
                      </a:cubicBezTo>
                      <a:cubicBezTo>
                        <a:pt x="100" y="256"/>
                        <a:pt x="103" y="258"/>
                        <a:pt x="105" y="261"/>
                      </a:cubicBezTo>
                      <a:cubicBezTo>
                        <a:pt x="105" y="262"/>
                        <a:pt x="105" y="262"/>
                        <a:pt x="105" y="262"/>
                      </a:cubicBezTo>
                      <a:cubicBezTo>
                        <a:pt x="107" y="266"/>
                        <a:pt x="112" y="269"/>
                        <a:pt x="117" y="269"/>
                      </a:cubicBezTo>
                      <a:cubicBezTo>
                        <a:pt x="126" y="269"/>
                        <a:pt x="126" y="269"/>
                        <a:pt x="126" y="269"/>
                      </a:cubicBezTo>
                      <a:cubicBezTo>
                        <a:pt x="131" y="269"/>
                        <a:pt x="136" y="266"/>
                        <a:pt x="138" y="262"/>
                      </a:cubicBezTo>
                      <a:cubicBezTo>
                        <a:pt x="138" y="261"/>
                        <a:pt x="138" y="261"/>
                        <a:pt x="138" y="261"/>
                      </a:cubicBezTo>
                      <a:cubicBezTo>
                        <a:pt x="140" y="258"/>
                        <a:pt x="143" y="256"/>
                        <a:pt x="147" y="256"/>
                      </a:cubicBezTo>
                      <a:cubicBezTo>
                        <a:pt x="147" y="256"/>
                        <a:pt x="147" y="256"/>
                        <a:pt x="147" y="256"/>
                      </a:cubicBezTo>
                      <a:cubicBezTo>
                        <a:pt x="150" y="256"/>
                        <a:pt x="152" y="254"/>
                        <a:pt x="153" y="252"/>
                      </a:cubicBezTo>
                      <a:cubicBezTo>
                        <a:pt x="155" y="247"/>
                        <a:pt x="151" y="243"/>
                        <a:pt x="147" y="243"/>
                      </a:cubicBezTo>
                      <a:close/>
                      <a:moveTo>
                        <a:pt x="122" y="38"/>
                      </a:moveTo>
                      <a:cubicBezTo>
                        <a:pt x="125" y="38"/>
                        <a:pt x="128" y="36"/>
                        <a:pt x="128" y="32"/>
                      </a:cubicBezTo>
                      <a:cubicBezTo>
                        <a:pt x="128" y="6"/>
                        <a:pt x="128" y="6"/>
                        <a:pt x="128" y="6"/>
                      </a:cubicBezTo>
                      <a:cubicBezTo>
                        <a:pt x="128" y="3"/>
                        <a:pt x="125" y="0"/>
                        <a:pt x="122" y="0"/>
                      </a:cubicBezTo>
                      <a:cubicBezTo>
                        <a:pt x="118" y="0"/>
                        <a:pt x="115" y="3"/>
                        <a:pt x="115" y="6"/>
                      </a:cubicBezTo>
                      <a:cubicBezTo>
                        <a:pt x="115" y="32"/>
                        <a:pt x="115" y="32"/>
                        <a:pt x="115" y="32"/>
                      </a:cubicBezTo>
                      <a:cubicBezTo>
                        <a:pt x="115" y="36"/>
                        <a:pt x="118" y="38"/>
                        <a:pt x="122" y="38"/>
                      </a:cubicBezTo>
                      <a:close/>
                      <a:moveTo>
                        <a:pt x="54" y="63"/>
                      </a:moveTo>
                      <a:cubicBezTo>
                        <a:pt x="55" y="64"/>
                        <a:pt x="57" y="65"/>
                        <a:pt x="58" y="65"/>
                      </a:cubicBezTo>
                      <a:cubicBezTo>
                        <a:pt x="60" y="65"/>
                        <a:pt x="62" y="64"/>
                        <a:pt x="63" y="63"/>
                      </a:cubicBezTo>
                      <a:cubicBezTo>
                        <a:pt x="65" y="60"/>
                        <a:pt x="65" y="56"/>
                        <a:pt x="63" y="54"/>
                      </a:cubicBezTo>
                      <a:cubicBezTo>
                        <a:pt x="45" y="36"/>
                        <a:pt x="45" y="36"/>
                        <a:pt x="45" y="36"/>
                      </a:cubicBezTo>
                      <a:cubicBezTo>
                        <a:pt x="42" y="33"/>
                        <a:pt x="38" y="33"/>
                        <a:pt x="36" y="36"/>
                      </a:cubicBezTo>
                      <a:cubicBezTo>
                        <a:pt x="33" y="38"/>
                        <a:pt x="33" y="42"/>
                        <a:pt x="36" y="45"/>
                      </a:cubicBezTo>
                      <a:lnTo>
                        <a:pt x="54" y="63"/>
                      </a:lnTo>
                      <a:close/>
                      <a:moveTo>
                        <a:pt x="38" y="122"/>
                      </a:moveTo>
                      <a:cubicBezTo>
                        <a:pt x="38" y="118"/>
                        <a:pt x="36" y="115"/>
                        <a:pt x="32" y="115"/>
                      </a:cubicBezTo>
                      <a:cubicBezTo>
                        <a:pt x="6" y="115"/>
                        <a:pt x="6" y="115"/>
                        <a:pt x="6" y="115"/>
                      </a:cubicBezTo>
                      <a:cubicBezTo>
                        <a:pt x="3" y="115"/>
                        <a:pt x="0" y="118"/>
                        <a:pt x="0" y="122"/>
                      </a:cubicBezTo>
                      <a:cubicBezTo>
                        <a:pt x="0" y="125"/>
                        <a:pt x="3" y="128"/>
                        <a:pt x="6" y="128"/>
                      </a:cubicBezTo>
                      <a:cubicBezTo>
                        <a:pt x="32" y="128"/>
                        <a:pt x="32" y="128"/>
                        <a:pt x="32" y="128"/>
                      </a:cubicBezTo>
                      <a:cubicBezTo>
                        <a:pt x="36" y="128"/>
                        <a:pt x="38" y="125"/>
                        <a:pt x="38" y="122"/>
                      </a:cubicBezTo>
                      <a:close/>
                      <a:moveTo>
                        <a:pt x="54" y="180"/>
                      </a:moveTo>
                      <a:cubicBezTo>
                        <a:pt x="36" y="199"/>
                        <a:pt x="36" y="199"/>
                        <a:pt x="36" y="199"/>
                      </a:cubicBezTo>
                      <a:cubicBezTo>
                        <a:pt x="33" y="201"/>
                        <a:pt x="33" y="205"/>
                        <a:pt x="36" y="208"/>
                      </a:cubicBezTo>
                      <a:cubicBezTo>
                        <a:pt x="37" y="209"/>
                        <a:pt x="39" y="209"/>
                        <a:pt x="40" y="209"/>
                      </a:cubicBezTo>
                      <a:cubicBezTo>
                        <a:pt x="42" y="209"/>
                        <a:pt x="43" y="209"/>
                        <a:pt x="45" y="208"/>
                      </a:cubicBezTo>
                      <a:cubicBezTo>
                        <a:pt x="63" y="189"/>
                        <a:pt x="63" y="189"/>
                        <a:pt x="63" y="189"/>
                      </a:cubicBezTo>
                      <a:cubicBezTo>
                        <a:pt x="65" y="187"/>
                        <a:pt x="65" y="183"/>
                        <a:pt x="63" y="180"/>
                      </a:cubicBezTo>
                      <a:cubicBezTo>
                        <a:pt x="60" y="178"/>
                        <a:pt x="56" y="178"/>
                        <a:pt x="54" y="180"/>
                      </a:cubicBezTo>
                      <a:close/>
                      <a:moveTo>
                        <a:pt x="189" y="180"/>
                      </a:moveTo>
                      <a:cubicBezTo>
                        <a:pt x="187" y="178"/>
                        <a:pt x="183" y="178"/>
                        <a:pt x="180" y="180"/>
                      </a:cubicBezTo>
                      <a:cubicBezTo>
                        <a:pt x="178" y="183"/>
                        <a:pt x="178" y="187"/>
                        <a:pt x="180" y="189"/>
                      </a:cubicBezTo>
                      <a:cubicBezTo>
                        <a:pt x="199" y="208"/>
                        <a:pt x="199" y="208"/>
                        <a:pt x="199" y="208"/>
                      </a:cubicBezTo>
                      <a:cubicBezTo>
                        <a:pt x="200" y="209"/>
                        <a:pt x="201" y="209"/>
                        <a:pt x="203" y="209"/>
                      </a:cubicBezTo>
                      <a:cubicBezTo>
                        <a:pt x="205" y="209"/>
                        <a:pt x="206" y="209"/>
                        <a:pt x="208" y="208"/>
                      </a:cubicBezTo>
                      <a:cubicBezTo>
                        <a:pt x="210" y="205"/>
                        <a:pt x="210" y="201"/>
                        <a:pt x="208" y="199"/>
                      </a:cubicBezTo>
                      <a:lnTo>
                        <a:pt x="189" y="180"/>
                      </a:lnTo>
                      <a:close/>
                      <a:moveTo>
                        <a:pt x="237" y="115"/>
                      </a:moveTo>
                      <a:cubicBezTo>
                        <a:pt x="211" y="115"/>
                        <a:pt x="211" y="115"/>
                        <a:pt x="211" y="115"/>
                      </a:cubicBezTo>
                      <a:cubicBezTo>
                        <a:pt x="208" y="115"/>
                        <a:pt x="205" y="118"/>
                        <a:pt x="205" y="122"/>
                      </a:cubicBezTo>
                      <a:cubicBezTo>
                        <a:pt x="205" y="125"/>
                        <a:pt x="208" y="128"/>
                        <a:pt x="211" y="128"/>
                      </a:cubicBezTo>
                      <a:cubicBezTo>
                        <a:pt x="237" y="128"/>
                        <a:pt x="237" y="128"/>
                        <a:pt x="237" y="128"/>
                      </a:cubicBezTo>
                      <a:cubicBezTo>
                        <a:pt x="240" y="128"/>
                        <a:pt x="243" y="125"/>
                        <a:pt x="243" y="122"/>
                      </a:cubicBezTo>
                      <a:cubicBezTo>
                        <a:pt x="243" y="118"/>
                        <a:pt x="240" y="115"/>
                        <a:pt x="237" y="115"/>
                      </a:cubicBezTo>
                      <a:close/>
                      <a:moveTo>
                        <a:pt x="185" y="65"/>
                      </a:moveTo>
                      <a:cubicBezTo>
                        <a:pt x="187" y="65"/>
                        <a:pt x="188" y="64"/>
                        <a:pt x="189" y="63"/>
                      </a:cubicBezTo>
                      <a:cubicBezTo>
                        <a:pt x="208" y="45"/>
                        <a:pt x="208" y="45"/>
                        <a:pt x="208" y="45"/>
                      </a:cubicBezTo>
                      <a:cubicBezTo>
                        <a:pt x="210" y="42"/>
                        <a:pt x="210" y="38"/>
                        <a:pt x="208" y="36"/>
                      </a:cubicBezTo>
                      <a:cubicBezTo>
                        <a:pt x="205" y="33"/>
                        <a:pt x="201" y="33"/>
                        <a:pt x="199" y="36"/>
                      </a:cubicBezTo>
                      <a:cubicBezTo>
                        <a:pt x="180" y="54"/>
                        <a:pt x="180" y="54"/>
                        <a:pt x="180" y="54"/>
                      </a:cubicBezTo>
                      <a:cubicBezTo>
                        <a:pt x="178" y="56"/>
                        <a:pt x="178" y="60"/>
                        <a:pt x="180" y="63"/>
                      </a:cubicBezTo>
                      <a:cubicBezTo>
                        <a:pt x="182" y="64"/>
                        <a:pt x="183" y="65"/>
                        <a:pt x="185" y="65"/>
                      </a:cubicBezTo>
                      <a:close/>
                      <a:moveTo>
                        <a:pt x="154" y="218"/>
                      </a:moveTo>
                      <a:cubicBezTo>
                        <a:pt x="154" y="221"/>
                        <a:pt x="151" y="224"/>
                        <a:pt x="147" y="224"/>
                      </a:cubicBezTo>
                      <a:cubicBezTo>
                        <a:pt x="96" y="224"/>
                        <a:pt x="96" y="224"/>
                        <a:pt x="96" y="224"/>
                      </a:cubicBezTo>
                      <a:cubicBezTo>
                        <a:pt x="92" y="224"/>
                        <a:pt x="90" y="221"/>
                        <a:pt x="90" y="218"/>
                      </a:cubicBezTo>
                      <a:cubicBezTo>
                        <a:pt x="90" y="214"/>
                        <a:pt x="92" y="211"/>
                        <a:pt x="96" y="211"/>
                      </a:cubicBezTo>
                      <a:cubicBezTo>
                        <a:pt x="92" y="175"/>
                        <a:pt x="54" y="167"/>
                        <a:pt x="54" y="125"/>
                      </a:cubicBezTo>
                      <a:cubicBezTo>
                        <a:pt x="54" y="88"/>
                        <a:pt x="84" y="58"/>
                        <a:pt x="122" y="58"/>
                      </a:cubicBezTo>
                      <a:cubicBezTo>
                        <a:pt x="159" y="58"/>
                        <a:pt x="189" y="88"/>
                        <a:pt x="189" y="125"/>
                      </a:cubicBezTo>
                      <a:cubicBezTo>
                        <a:pt x="189" y="167"/>
                        <a:pt x="152" y="175"/>
                        <a:pt x="148" y="211"/>
                      </a:cubicBezTo>
                      <a:cubicBezTo>
                        <a:pt x="151" y="211"/>
                        <a:pt x="154" y="214"/>
                        <a:pt x="154" y="218"/>
                      </a:cubicBezTo>
                      <a:close/>
                      <a:moveTo>
                        <a:pt x="107" y="76"/>
                      </a:moveTo>
                      <a:cubicBezTo>
                        <a:pt x="106" y="73"/>
                        <a:pt x="103" y="72"/>
                        <a:pt x="101" y="73"/>
                      </a:cubicBezTo>
                      <a:cubicBezTo>
                        <a:pt x="84" y="80"/>
                        <a:pt x="72" y="94"/>
                        <a:pt x="67" y="111"/>
                      </a:cubicBezTo>
                      <a:cubicBezTo>
                        <a:pt x="67" y="113"/>
                        <a:pt x="68" y="116"/>
                        <a:pt x="71" y="117"/>
                      </a:cubicBezTo>
                      <a:cubicBezTo>
                        <a:pt x="71" y="117"/>
                        <a:pt x="72" y="117"/>
                        <a:pt x="72" y="117"/>
                      </a:cubicBezTo>
                      <a:cubicBezTo>
                        <a:pt x="74" y="117"/>
                        <a:pt x="76" y="115"/>
                        <a:pt x="77" y="113"/>
                      </a:cubicBezTo>
                      <a:cubicBezTo>
                        <a:pt x="80" y="99"/>
                        <a:pt x="91" y="87"/>
                        <a:pt x="104" y="82"/>
                      </a:cubicBezTo>
                      <a:cubicBezTo>
                        <a:pt x="107" y="81"/>
                        <a:pt x="108" y="78"/>
                        <a:pt x="107" y="76"/>
                      </a:cubicBezTo>
                      <a:close/>
                    </a:path>
                  </a:pathLst>
                </a:custGeom>
                <a:solidFill>
                  <a:schemeClr val="bg1">
                    <a:lumMod val="95000"/>
                  </a:schemeClr>
                </a:solidFill>
                <a:ln>
                  <a:noFill/>
                </a:ln>
              </p:spPr>
              <p:txBody>
                <a:bodyPr vert="horz" wrap="square" lIns="91440" tIns="45720" rIns="91440" bIns="45720" numCol="1" anchor="t" anchorCtr="0" compatLnSpc="1"/>
                <a:lstStyle/>
                <a:p>
                  <a:endParaRPr lang="zh-CN" altLang="en-US"/>
                </a:p>
              </p:txBody>
            </p:sp>
          </p:grpSp>
        </p:grpSp>
      </p:grpSp>
      <p:grpSp>
        <p:nvGrpSpPr>
          <p:cNvPr id="126" name="组合 125"/>
          <p:cNvGrpSpPr/>
          <p:nvPr/>
        </p:nvGrpSpPr>
        <p:grpSpPr>
          <a:xfrm>
            <a:off x="6738148" y="4786322"/>
            <a:ext cx="1000132" cy="1460667"/>
            <a:chOff x="7381090" y="5000636"/>
            <a:chExt cx="1000132" cy="1460667"/>
          </a:xfrm>
        </p:grpSpPr>
        <p:sp>
          <p:nvSpPr>
            <p:cNvPr id="63" name="TextBox 62"/>
            <p:cNvSpPr txBox="1"/>
            <p:nvPr/>
          </p:nvSpPr>
          <p:spPr>
            <a:xfrm>
              <a:off x="7452528" y="6215082"/>
              <a:ext cx="928694" cy="246221"/>
            </a:xfrm>
            <a:prstGeom prst="rect">
              <a:avLst/>
            </a:prstGeom>
            <a:noFill/>
          </p:spPr>
          <p:txBody>
            <a:bodyPr wrap="square" rtlCol="0" anchor="ctr">
              <a:spAutoFit/>
            </a:bodyPr>
            <a:lstStyle/>
            <a:p>
              <a:r>
                <a:rPr lang="en-US" altLang="zh-CN" sz="1000" dirty="0" smtClean="0">
                  <a:latin typeface="微软雅黑" panose="020B0503020204020204" pitchFamily="34" charset="-122"/>
                  <a:ea typeface="微软雅黑" panose="020B0503020204020204" pitchFamily="34" charset="-122"/>
                </a:rPr>
                <a:t>2014</a:t>
              </a:r>
              <a:r>
                <a:rPr lang="zh-CN" altLang="en-US" sz="1000" dirty="0" smtClean="0">
                  <a:latin typeface="微软雅黑" panose="020B0503020204020204" pitchFamily="34" charset="-122"/>
                  <a:ea typeface="微软雅黑" panose="020B0503020204020204" pitchFamily="34" charset="-122"/>
                </a:rPr>
                <a:t>年</a:t>
              </a:r>
              <a:r>
                <a:rPr lang="en-US" altLang="zh-CN" sz="1000" dirty="0" smtClean="0">
                  <a:latin typeface="微软雅黑" panose="020B0503020204020204" pitchFamily="34" charset="-122"/>
                  <a:ea typeface="微软雅黑" panose="020B0503020204020204" pitchFamily="34" charset="-122"/>
                </a:rPr>
                <a:t>7</a:t>
              </a:r>
              <a:r>
                <a:rPr lang="zh-CN" altLang="en-US" sz="1000" dirty="0" smtClean="0">
                  <a:latin typeface="微软雅黑" panose="020B0503020204020204" pitchFamily="34" charset="-122"/>
                  <a:ea typeface="微软雅黑" panose="020B0503020204020204" pitchFamily="34" charset="-122"/>
                </a:rPr>
                <a:t>月</a:t>
              </a:r>
              <a:endParaRPr lang="zh-CN" altLang="en-US" sz="1000" dirty="0" smtClean="0">
                <a:latin typeface="微软雅黑" panose="020B0503020204020204" pitchFamily="34" charset="-122"/>
                <a:ea typeface="微软雅黑" panose="020B0503020204020204" pitchFamily="34" charset="-122"/>
              </a:endParaRPr>
            </a:p>
          </p:txBody>
        </p:sp>
        <p:grpSp>
          <p:nvGrpSpPr>
            <p:cNvPr id="99" name="组合 98"/>
            <p:cNvGrpSpPr/>
            <p:nvPr/>
          </p:nvGrpSpPr>
          <p:grpSpPr>
            <a:xfrm>
              <a:off x="7381090" y="5000636"/>
              <a:ext cx="857256" cy="950198"/>
              <a:chOff x="594480" y="5000636"/>
              <a:chExt cx="857256" cy="950198"/>
            </a:xfrm>
          </p:grpSpPr>
          <p:sp>
            <p:nvSpPr>
              <p:cNvPr id="100" name="TextBox 99"/>
              <p:cNvSpPr txBox="1"/>
              <p:nvPr/>
            </p:nvSpPr>
            <p:spPr>
              <a:xfrm>
                <a:off x="594480" y="5000636"/>
                <a:ext cx="857256" cy="461665"/>
              </a:xfrm>
              <a:prstGeom prst="rect">
                <a:avLst/>
              </a:prstGeom>
              <a:noFill/>
            </p:spPr>
            <p:txBody>
              <a:bodyPr wrap="square" rtlCol="0" anchor="ctr">
                <a:spAutoFit/>
              </a:bodyPr>
              <a:lstStyle/>
              <a:p>
                <a:pPr algn="ctr"/>
                <a:r>
                  <a:rPr lang="zh-CN" altLang="en-US" sz="1200" dirty="0" smtClean="0">
                    <a:latin typeface="微软雅黑" panose="020B0503020204020204" pitchFamily="34" charset="-122"/>
                    <a:ea typeface="微软雅黑" panose="020B0503020204020204" pitchFamily="34" charset="-122"/>
                  </a:rPr>
                  <a:t>济宁</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分公司</a:t>
                </a:r>
                <a:endParaRPr lang="zh-CN" altLang="en-US" sz="1200" dirty="0" smtClean="0">
                  <a:latin typeface="微软雅黑" panose="020B0503020204020204" pitchFamily="34" charset="-122"/>
                  <a:ea typeface="微软雅黑" panose="020B0503020204020204" pitchFamily="34" charset="-122"/>
                </a:endParaRPr>
              </a:p>
            </p:txBody>
          </p:sp>
          <p:grpSp>
            <p:nvGrpSpPr>
              <p:cNvPr id="101" name="组合 63"/>
              <p:cNvGrpSpPr/>
              <p:nvPr/>
            </p:nvGrpSpPr>
            <p:grpSpPr>
              <a:xfrm>
                <a:off x="880232" y="5643577"/>
                <a:ext cx="273351" cy="307257"/>
                <a:chOff x="8125599" y="1434035"/>
                <a:chExt cx="2036802" cy="2036802"/>
              </a:xfrm>
            </p:grpSpPr>
            <p:sp>
              <p:nvSpPr>
                <p:cNvPr id="102" name="椭圆 101"/>
                <p:cNvSpPr/>
                <p:nvPr/>
              </p:nvSpPr>
              <p:spPr>
                <a:xfrm>
                  <a:off x="8125599" y="1434035"/>
                  <a:ext cx="2036802" cy="2036802"/>
                </a:xfrm>
                <a:prstGeom prst="ellipse">
                  <a:avLst/>
                </a:prstGeom>
                <a:solidFill>
                  <a:srgbClr val="E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3" name="Freeform 9"/>
                <p:cNvSpPr>
                  <a:spLocks noEditPoints="1"/>
                </p:cNvSpPr>
                <p:nvPr/>
              </p:nvSpPr>
              <p:spPr bwMode="auto">
                <a:xfrm rot="19469485">
                  <a:off x="8577911" y="1818271"/>
                  <a:ext cx="1162161" cy="1238354"/>
                </a:xfrm>
                <a:custGeom>
                  <a:avLst/>
                  <a:gdLst>
                    <a:gd name="T0" fmla="*/ 147 w 243"/>
                    <a:gd name="T1" fmla="*/ 240 h 269"/>
                    <a:gd name="T2" fmla="*/ 90 w 243"/>
                    <a:gd name="T3" fmla="*/ 234 h 269"/>
                    <a:gd name="T4" fmla="*/ 147 w 243"/>
                    <a:gd name="T5" fmla="*/ 227 h 269"/>
                    <a:gd name="T6" fmla="*/ 147 w 243"/>
                    <a:gd name="T7" fmla="*/ 243 h 269"/>
                    <a:gd name="T8" fmla="*/ 90 w 243"/>
                    <a:gd name="T9" fmla="*/ 252 h 269"/>
                    <a:gd name="T10" fmla="*/ 96 w 243"/>
                    <a:gd name="T11" fmla="*/ 256 h 269"/>
                    <a:gd name="T12" fmla="*/ 105 w 243"/>
                    <a:gd name="T13" fmla="*/ 262 h 269"/>
                    <a:gd name="T14" fmla="*/ 126 w 243"/>
                    <a:gd name="T15" fmla="*/ 269 h 269"/>
                    <a:gd name="T16" fmla="*/ 138 w 243"/>
                    <a:gd name="T17" fmla="*/ 261 h 269"/>
                    <a:gd name="T18" fmla="*/ 147 w 243"/>
                    <a:gd name="T19" fmla="*/ 256 h 269"/>
                    <a:gd name="T20" fmla="*/ 147 w 243"/>
                    <a:gd name="T21" fmla="*/ 243 h 269"/>
                    <a:gd name="T22" fmla="*/ 128 w 243"/>
                    <a:gd name="T23" fmla="*/ 32 h 269"/>
                    <a:gd name="T24" fmla="*/ 122 w 243"/>
                    <a:gd name="T25" fmla="*/ 0 h 269"/>
                    <a:gd name="T26" fmla="*/ 115 w 243"/>
                    <a:gd name="T27" fmla="*/ 32 h 269"/>
                    <a:gd name="T28" fmla="*/ 54 w 243"/>
                    <a:gd name="T29" fmla="*/ 63 h 269"/>
                    <a:gd name="T30" fmla="*/ 63 w 243"/>
                    <a:gd name="T31" fmla="*/ 63 h 269"/>
                    <a:gd name="T32" fmla="*/ 45 w 243"/>
                    <a:gd name="T33" fmla="*/ 36 h 269"/>
                    <a:gd name="T34" fmla="*/ 36 w 243"/>
                    <a:gd name="T35" fmla="*/ 45 h 269"/>
                    <a:gd name="T36" fmla="*/ 38 w 243"/>
                    <a:gd name="T37" fmla="*/ 122 h 269"/>
                    <a:gd name="T38" fmla="*/ 6 w 243"/>
                    <a:gd name="T39" fmla="*/ 115 h 269"/>
                    <a:gd name="T40" fmla="*/ 6 w 243"/>
                    <a:gd name="T41" fmla="*/ 128 h 269"/>
                    <a:gd name="T42" fmla="*/ 38 w 243"/>
                    <a:gd name="T43" fmla="*/ 122 h 269"/>
                    <a:gd name="T44" fmla="*/ 36 w 243"/>
                    <a:gd name="T45" fmla="*/ 199 h 269"/>
                    <a:gd name="T46" fmla="*/ 40 w 243"/>
                    <a:gd name="T47" fmla="*/ 209 h 269"/>
                    <a:gd name="T48" fmla="*/ 63 w 243"/>
                    <a:gd name="T49" fmla="*/ 189 h 269"/>
                    <a:gd name="T50" fmla="*/ 54 w 243"/>
                    <a:gd name="T51" fmla="*/ 180 h 269"/>
                    <a:gd name="T52" fmla="*/ 180 w 243"/>
                    <a:gd name="T53" fmla="*/ 180 h 269"/>
                    <a:gd name="T54" fmla="*/ 199 w 243"/>
                    <a:gd name="T55" fmla="*/ 208 h 269"/>
                    <a:gd name="T56" fmla="*/ 208 w 243"/>
                    <a:gd name="T57" fmla="*/ 208 h 269"/>
                    <a:gd name="T58" fmla="*/ 189 w 243"/>
                    <a:gd name="T59" fmla="*/ 180 h 269"/>
                    <a:gd name="T60" fmla="*/ 211 w 243"/>
                    <a:gd name="T61" fmla="*/ 115 h 269"/>
                    <a:gd name="T62" fmla="*/ 211 w 243"/>
                    <a:gd name="T63" fmla="*/ 128 h 269"/>
                    <a:gd name="T64" fmla="*/ 243 w 243"/>
                    <a:gd name="T65" fmla="*/ 122 h 269"/>
                    <a:gd name="T66" fmla="*/ 185 w 243"/>
                    <a:gd name="T67" fmla="*/ 65 h 269"/>
                    <a:gd name="T68" fmla="*/ 208 w 243"/>
                    <a:gd name="T69" fmla="*/ 45 h 269"/>
                    <a:gd name="T70" fmla="*/ 199 w 243"/>
                    <a:gd name="T71" fmla="*/ 36 h 269"/>
                    <a:gd name="T72" fmla="*/ 180 w 243"/>
                    <a:gd name="T73" fmla="*/ 63 h 269"/>
                    <a:gd name="T74" fmla="*/ 154 w 243"/>
                    <a:gd name="T75" fmla="*/ 218 h 269"/>
                    <a:gd name="T76" fmla="*/ 96 w 243"/>
                    <a:gd name="T77" fmla="*/ 224 h 269"/>
                    <a:gd name="T78" fmla="*/ 96 w 243"/>
                    <a:gd name="T79" fmla="*/ 211 h 269"/>
                    <a:gd name="T80" fmla="*/ 122 w 243"/>
                    <a:gd name="T81" fmla="*/ 58 h 269"/>
                    <a:gd name="T82" fmla="*/ 148 w 243"/>
                    <a:gd name="T83" fmla="*/ 211 h 269"/>
                    <a:gd name="T84" fmla="*/ 107 w 243"/>
                    <a:gd name="T85" fmla="*/ 76 h 269"/>
                    <a:gd name="T86" fmla="*/ 67 w 243"/>
                    <a:gd name="T87" fmla="*/ 111 h 269"/>
                    <a:gd name="T88" fmla="*/ 72 w 243"/>
                    <a:gd name="T89" fmla="*/ 117 h 269"/>
                    <a:gd name="T90" fmla="*/ 104 w 243"/>
                    <a:gd name="T91" fmla="*/ 8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69">
                      <a:moveTo>
                        <a:pt x="154" y="234"/>
                      </a:moveTo>
                      <a:cubicBezTo>
                        <a:pt x="154" y="237"/>
                        <a:pt x="151" y="240"/>
                        <a:pt x="147" y="240"/>
                      </a:cubicBezTo>
                      <a:cubicBezTo>
                        <a:pt x="96" y="240"/>
                        <a:pt x="96" y="240"/>
                        <a:pt x="96" y="240"/>
                      </a:cubicBezTo>
                      <a:cubicBezTo>
                        <a:pt x="92" y="240"/>
                        <a:pt x="90" y="237"/>
                        <a:pt x="90" y="234"/>
                      </a:cubicBezTo>
                      <a:cubicBezTo>
                        <a:pt x="90" y="230"/>
                        <a:pt x="92" y="227"/>
                        <a:pt x="96" y="227"/>
                      </a:cubicBezTo>
                      <a:cubicBezTo>
                        <a:pt x="147" y="227"/>
                        <a:pt x="147" y="227"/>
                        <a:pt x="147" y="227"/>
                      </a:cubicBezTo>
                      <a:cubicBezTo>
                        <a:pt x="151" y="227"/>
                        <a:pt x="154" y="230"/>
                        <a:pt x="154" y="234"/>
                      </a:cubicBezTo>
                      <a:close/>
                      <a:moveTo>
                        <a:pt x="147" y="243"/>
                      </a:moveTo>
                      <a:cubicBezTo>
                        <a:pt x="96" y="243"/>
                        <a:pt x="96" y="243"/>
                        <a:pt x="96" y="243"/>
                      </a:cubicBezTo>
                      <a:cubicBezTo>
                        <a:pt x="92" y="243"/>
                        <a:pt x="89" y="247"/>
                        <a:pt x="90" y="252"/>
                      </a:cubicBezTo>
                      <a:cubicBezTo>
                        <a:pt x="91" y="254"/>
                        <a:pt x="93" y="256"/>
                        <a:pt x="96" y="256"/>
                      </a:cubicBezTo>
                      <a:cubicBezTo>
                        <a:pt x="96" y="256"/>
                        <a:pt x="96" y="256"/>
                        <a:pt x="96" y="256"/>
                      </a:cubicBezTo>
                      <a:cubicBezTo>
                        <a:pt x="100" y="256"/>
                        <a:pt x="103" y="258"/>
                        <a:pt x="105" y="261"/>
                      </a:cubicBezTo>
                      <a:cubicBezTo>
                        <a:pt x="105" y="262"/>
                        <a:pt x="105" y="262"/>
                        <a:pt x="105" y="262"/>
                      </a:cubicBezTo>
                      <a:cubicBezTo>
                        <a:pt x="107" y="266"/>
                        <a:pt x="112" y="269"/>
                        <a:pt x="117" y="269"/>
                      </a:cubicBezTo>
                      <a:cubicBezTo>
                        <a:pt x="126" y="269"/>
                        <a:pt x="126" y="269"/>
                        <a:pt x="126" y="269"/>
                      </a:cubicBezTo>
                      <a:cubicBezTo>
                        <a:pt x="131" y="269"/>
                        <a:pt x="136" y="266"/>
                        <a:pt x="138" y="262"/>
                      </a:cubicBezTo>
                      <a:cubicBezTo>
                        <a:pt x="138" y="261"/>
                        <a:pt x="138" y="261"/>
                        <a:pt x="138" y="261"/>
                      </a:cubicBezTo>
                      <a:cubicBezTo>
                        <a:pt x="140" y="258"/>
                        <a:pt x="143" y="256"/>
                        <a:pt x="147" y="256"/>
                      </a:cubicBezTo>
                      <a:cubicBezTo>
                        <a:pt x="147" y="256"/>
                        <a:pt x="147" y="256"/>
                        <a:pt x="147" y="256"/>
                      </a:cubicBezTo>
                      <a:cubicBezTo>
                        <a:pt x="150" y="256"/>
                        <a:pt x="152" y="254"/>
                        <a:pt x="153" y="252"/>
                      </a:cubicBezTo>
                      <a:cubicBezTo>
                        <a:pt x="155" y="247"/>
                        <a:pt x="151" y="243"/>
                        <a:pt x="147" y="243"/>
                      </a:cubicBezTo>
                      <a:close/>
                      <a:moveTo>
                        <a:pt x="122" y="38"/>
                      </a:moveTo>
                      <a:cubicBezTo>
                        <a:pt x="125" y="38"/>
                        <a:pt x="128" y="36"/>
                        <a:pt x="128" y="32"/>
                      </a:cubicBezTo>
                      <a:cubicBezTo>
                        <a:pt x="128" y="6"/>
                        <a:pt x="128" y="6"/>
                        <a:pt x="128" y="6"/>
                      </a:cubicBezTo>
                      <a:cubicBezTo>
                        <a:pt x="128" y="3"/>
                        <a:pt x="125" y="0"/>
                        <a:pt x="122" y="0"/>
                      </a:cubicBezTo>
                      <a:cubicBezTo>
                        <a:pt x="118" y="0"/>
                        <a:pt x="115" y="3"/>
                        <a:pt x="115" y="6"/>
                      </a:cubicBezTo>
                      <a:cubicBezTo>
                        <a:pt x="115" y="32"/>
                        <a:pt x="115" y="32"/>
                        <a:pt x="115" y="32"/>
                      </a:cubicBezTo>
                      <a:cubicBezTo>
                        <a:pt x="115" y="36"/>
                        <a:pt x="118" y="38"/>
                        <a:pt x="122" y="38"/>
                      </a:cubicBezTo>
                      <a:close/>
                      <a:moveTo>
                        <a:pt x="54" y="63"/>
                      </a:moveTo>
                      <a:cubicBezTo>
                        <a:pt x="55" y="64"/>
                        <a:pt x="57" y="65"/>
                        <a:pt x="58" y="65"/>
                      </a:cubicBezTo>
                      <a:cubicBezTo>
                        <a:pt x="60" y="65"/>
                        <a:pt x="62" y="64"/>
                        <a:pt x="63" y="63"/>
                      </a:cubicBezTo>
                      <a:cubicBezTo>
                        <a:pt x="65" y="60"/>
                        <a:pt x="65" y="56"/>
                        <a:pt x="63" y="54"/>
                      </a:cubicBezTo>
                      <a:cubicBezTo>
                        <a:pt x="45" y="36"/>
                        <a:pt x="45" y="36"/>
                        <a:pt x="45" y="36"/>
                      </a:cubicBezTo>
                      <a:cubicBezTo>
                        <a:pt x="42" y="33"/>
                        <a:pt x="38" y="33"/>
                        <a:pt x="36" y="36"/>
                      </a:cubicBezTo>
                      <a:cubicBezTo>
                        <a:pt x="33" y="38"/>
                        <a:pt x="33" y="42"/>
                        <a:pt x="36" y="45"/>
                      </a:cubicBezTo>
                      <a:lnTo>
                        <a:pt x="54" y="63"/>
                      </a:lnTo>
                      <a:close/>
                      <a:moveTo>
                        <a:pt x="38" y="122"/>
                      </a:moveTo>
                      <a:cubicBezTo>
                        <a:pt x="38" y="118"/>
                        <a:pt x="36" y="115"/>
                        <a:pt x="32" y="115"/>
                      </a:cubicBezTo>
                      <a:cubicBezTo>
                        <a:pt x="6" y="115"/>
                        <a:pt x="6" y="115"/>
                        <a:pt x="6" y="115"/>
                      </a:cubicBezTo>
                      <a:cubicBezTo>
                        <a:pt x="3" y="115"/>
                        <a:pt x="0" y="118"/>
                        <a:pt x="0" y="122"/>
                      </a:cubicBezTo>
                      <a:cubicBezTo>
                        <a:pt x="0" y="125"/>
                        <a:pt x="3" y="128"/>
                        <a:pt x="6" y="128"/>
                      </a:cubicBezTo>
                      <a:cubicBezTo>
                        <a:pt x="32" y="128"/>
                        <a:pt x="32" y="128"/>
                        <a:pt x="32" y="128"/>
                      </a:cubicBezTo>
                      <a:cubicBezTo>
                        <a:pt x="36" y="128"/>
                        <a:pt x="38" y="125"/>
                        <a:pt x="38" y="122"/>
                      </a:cubicBezTo>
                      <a:close/>
                      <a:moveTo>
                        <a:pt x="54" y="180"/>
                      </a:moveTo>
                      <a:cubicBezTo>
                        <a:pt x="36" y="199"/>
                        <a:pt x="36" y="199"/>
                        <a:pt x="36" y="199"/>
                      </a:cubicBezTo>
                      <a:cubicBezTo>
                        <a:pt x="33" y="201"/>
                        <a:pt x="33" y="205"/>
                        <a:pt x="36" y="208"/>
                      </a:cubicBezTo>
                      <a:cubicBezTo>
                        <a:pt x="37" y="209"/>
                        <a:pt x="39" y="209"/>
                        <a:pt x="40" y="209"/>
                      </a:cubicBezTo>
                      <a:cubicBezTo>
                        <a:pt x="42" y="209"/>
                        <a:pt x="43" y="209"/>
                        <a:pt x="45" y="208"/>
                      </a:cubicBezTo>
                      <a:cubicBezTo>
                        <a:pt x="63" y="189"/>
                        <a:pt x="63" y="189"/>
                        <a:pt x="63" y="189"/>
                      </a:cubicBezTo>
                      <a:cubicBezTo>
                        <a:pt x="65" y="187"/>
                        <a:pt x="65" y="183"/>
                        <a:pt x="63" y="180"/>
                      </a:cubicBezTo>
                      <a:cubicBezTo>
                        <a:pt x="60" y="178"/>
                        <a:pt x="56" y="178"/>
                        <a:pt x="54" y="180"/>
                      </a:cubicBezTo>
                      <a:close/>
                      <a:moveTo>
                        <a:pt x="189" y="180"/>
                      </a:moveTo>
                      <a:cubicBezTo>
                        <a:pt x="187" y="178"/>
                        <a:pt x="183" y="178"/>
                        <a:pt x="180" y="180"/>
                      </a:cubicBezTo>
                      <a:cubicBezTo>
                        <a:pt x="178" y="183"/>
                        <a:pt x="178" y="187"/>
                        <a:pt x="180" y="189"/>
                      </a:cubicBezTo>
                      <a:cubicBezTo>
                        <a:pt x="199" y="208"/>
                        <a:pt x="199" y="208"/>
                        <a:pt x="199" y="208"/>
                      </a:cubicBezTo>
                      <a:cubicBezTo>
                        <a:pt x="200" y="209"/>
                        <a:pt x="201" y="209"/>
                        <a:pt x="203" y="209"/>
                      </a:cubicBezTo>
                      <a:cubicBezTo>
                        <a:pt x="205" y="209"/>
                        <a:pt x="206" y="209"/>
                        <a:pt x="208" y="208"/>
                      </a:cubicBezTo>
                      <a:cubicBezTo>
                        <a:pt x="210" y="205"/>
                        <a:pt x="210" y="201"/>
                        <a:pt x="208" y="199"/>
                      </a:cubicBezTo>
                      <a:lnTo>
                        <a:pt x="189" y="180"/>
                      </a:lnTo>
                      <a:close/>
                      <a:moveTo>
                        <a:pt x="237" y="115"/>
                      </a:moveTo>
                      <a:cubicBezTo>
                        <a:pt x="211" y="115"/>
                        <a:pt x="211" y="115"/>
                        <a:pt x="211" y="115"/>
                      </a:cubicBezTo>
                      <a:cubicBezTo>
                        <a:pt x="208" y="115"/>
                        <a:pt x="205" y="118"/>
                        <a:pt x="205" y="122"/>
                      </a:cubicBezTo>
                      <a:cubicBezTo>
                        <a:pt x="205" y="125"/>
                        <a:pt x="208" y="128"/>
                        <a:pt x="211" y="128"/>
                      </a:cubicBezTo>
                      <a:cubicBezTo>
                        <a:pt x="237" y="128"/>
                        <a:pt x="237" y="128"/>
                        <a:pt x="237" y="128"/>
                      </a:cubicBezTo>
                      <a:cubicBezTo>
                        <a:pt x="240" y="128"/>
                        <a:pt x="243" y="125"/>
                        <a:pt x="243" y="122"/>
                      </a:cubicBezTo>
                      <a:cubicBezTo>
                        <a:pt x="243" y="118"/>
                        <a:pt x="240" y="115"/>
                        <a:pt x="237" y="115"/>
                      </a:cubicBezTo>
                      <a:close/>
                      <a:moveTo>
                        <a:pt x="185" y="65"/>
                      </a:moveTo>
                      <a:cubicBezTo>
                        <a:pt x="187" y="65"/>
                        <a:pt x="188" y="64"/>
                        <a:pt x="189" y="63"/>
                      </a:cubicBezTo>
                      <a:cubicBezTo>
                        <a:pt x="208" y="45"/>
                        <a:pt x="208" y="45"/>
                        <a:pt x="208" y="45"/>
                      </a:cubicBezTo>
                      <a:cubicBezTo>
                        <a:pt x="210" y="42"/>
                        <a:pt x="210" y="38"/>
                        <a:pt x="208" y="36"/>
                      </a:cubicBezTo>
                      <a:cubicBezTo>
                        <a:pt x="205" y="33"/>
                        <a:pt x="201" y="33"/>
                        <a:pt x="199" y="36"/>
                      </a:cubicBezTo>
                      <a:cubicBezTo>
                        <a:pt x="180" y="54"/>
                        <a:pt x="180" y="54"/>
                        <a:pt x="180" y="54"/>
                      </a:cubicBezTo>
                      <a:cubicBezTo>
                        <a:pt x="178" y="56"/>
                        <a:pt x="178" y="60"/>
                        <a:pt x="180" y="63"/>
                      </a:cubicBezTo>
                      <a:cubicBezTo>
                        <a:pt x="182" y="64"/>
                        <a:pt x="183" y="65"/>
                        <a:pt x="185" y="65"/>
                      </a:cubicBezTo>
                      <a:close/>
                      <a:moveTo>
                        <a:pt x="154" y="218"/>
                      </a:moveTo>
                      <a:cubicBezTo>
                        <a:pt x="154" y="221"/>
                        <a:pt x="151" y="224"/>
                        <a:pt x="147" y="224"/>
                      </a:cubicBezTo>
                      <a:cubicBezTo>
                        <a:pt x="96" y="224"/>
                        <a:pt x="96" y="224"/>
                        <a:pt x="96" y="224"/>
                      </a:cubicBezTo>
                      <a:cubicBezTo>
                        <a:pt x="92" y="224"/>
                        <a:pt x="90" y="221"/>
                        <a:pt x="90" y="218"/>
                      </a:cubicBezTo>
                      <a:cubicBezTo>
                        <a:pt x="90" y="214"/>
                        <a:pt x="92" y="211"/>
                        <a:pt x="96" y="211"/>
                      </a:cubicBezTo>
                      <a:cubicBezTo>
                        <a:pt x="92" y="175"/>
                        <a:pt x="54" y="167"/>
                        <a:pt x="54" y="125"/>
                      </a:cubicBezTo>
                      <a:cubicBezTo>
                        <a:pt x="54" y="88"/>
                        <a:pt x="84" y="58"/>
                        <a:pt x="122" y="58"/>
                      </a:cubicBezTo>
                      <a:cubicBezTo>
                        <a:pt x="159" y="58"/>
                        <a:pt x="189" y="88"/>
                        <a:pt x="189" y="125"/>
                      </a:cubicBezTo>
                      <a:cubicBezTo>
                        <a:pt x="189" y="167"/>
                        <a:pt x="152" y="175"/>
                        <a:pt x="148" y="211"/>
                      </a:cubicBezTo>
                      <a:cubicBezTo>
                        <a:pt x="151" y="211"/>
                        <a:pt x="154" y="214"/>
                        <a:pt x="154" y="218"/>
                      </a:cubicBezTo>
                      <a:close/>
                      <a:moveTo>
                        <a:pt x="107" y="76"/>
                      </a:moveTo>
                      <a:cubicBezTo>
                        <a:pt x="106" y="73"/>
                        <a:pt x="103" y="72"/>
                        <a:pt x="101" y="73"/>
                      </a:cubicBezTo>
                      <a:cubicBezTo>
                        <a:pt x="84" y="80"/>
                        <a:pt x="72" y="94"/>
                        <a:pt x="67" y="111"/>
                      </a:cubicBezTo>
                      <a:cubicBezTo>
                        <a:pt x="67" y="113"/>
                        <a:pt x="68" y="116"/>
                        <a:pt x="71" y="117"/>
                      </a:cubicBezTo>
                      <a:cubicBezTo>
                        <a:pt x="71" y="117"/>
                        <a:pt x="72" y="117"/>
                        <a:pt x="72" y="117"/>
                      </a:cubicBezTo>
                      <a:cubicBezTo>
                        <a:pt x="74" y="117"/>
                        <a:pt x="76" y="115"/>
                        <a:pt x="77" y="113"/>
                      </a:cubicBezTo>
                      <a:cubicBezTo>
                        <a:pt x="80" y="99"/>
                        <a:pt x="91" y="87"/>
                        <a:pt x="104" y="82"/>
                      </a:cubicBezTo>
                      <a:cubicBezTo>
                        <a:pt x="107" y="81"/>
                        <a:pt x="108" y="78"/>
                        <a:pt x="107" y="76"/>
                      </a:cubicBezTo>
                      <a:close/>
                    </a:path>
                  </a:pathLst>
                </a:custGeom>
                <a:solidFill>
                  <a:schemeClr val="bg1">
                    <a:lumMod val="95000"/>
                  </a:schemeClr>
                </a:solidFill>
                <a:ln>
                  <a:noFill/>
                </a:ln>
              </p:spPr>
              <p:txBody>
                <a:bodyPr vert="horz" wrap="square" lIns="91440" tIns="45720" rIns="91440" bIns="45720" numCol="1" anchor="t" anchorCtr="0" compatLnSpc="1"/>
                <a:lstStyle/>
                <a:p>
                  <a:endParaRPr lang="zh-CN" altLang="en-US"/>
                </a:p>
              </p:txBody>
            </p:sp>
          </p:grpSp>
        </p:grpSp>
      </p:grpSp>
      <p:grpSp>
        <p:nvGrpSpPr>
          <p:cNvPr id="127" name="组合 126"/>
          <p:cNvGrpSpPr/>
          <p:nvPr/>
        </p:nvGrpSpPr>
        <p:grpSpPr>
          <a:xfrm>
            <a:off x="7809718" y="4786322"/>
            <a:ext cx="928694" cy="1460667"/>
            <a:chOff x="8666974" y="4929198"/>
            <a:chExt cx="928694" cy="1460667"/>
          </a:xfrm>
        </p:grpSpPr>
        <p:sp>
          <p:nvSpPr>
            <p:cNvPr id="57" name="TextBox 56"/>
            <p:cNvSpPr txBox="1"/>
            <p:nvPr/>
          </p:nvSpPr>
          <p:spPr>
            <a:xfrm>
              <a:off x="8666974" y="6143644"/>
              <a:ext cx="928694" cy="246221"/>
            </a:xfrm>
            <a:prstGeom prst="rect">
              <a:avLst/>
            </a:prstGeom>
            <a:noFill/>
          </p:spPr>
          <p:txBody>
            <a:bodyPr wrap="square" rtlCol="0" anchor="ctr">
              <a:spAutoFit/>
            </a:bodyPr>
            <a:lstStyle/>
            <a:p>
              <a:r>
                <a:rPr lang="en-US" altLang="zh-CN" sz="1000" dirty="0" smtClean="0">
                  <a:latin typeface="微软雅黑" panose="020B0503020204020204" pitchFamily="34" charset="-122"/>
                  <a:ea typeface="微软雅黑" panose="020B0503020204020204" pitchFamily="34" charset="-122"/>
                </a:rPr>
                <a:t>2015</a:t>
              </a:r>
              <a:r>
                <a:rPr lang="zh-CN" altLang="en-US" sz="1000" dirty="0" smtClean="0">
                  <a:latin typeface="微软雅黑" panose="020B0503020204020204" pitchFamily="34" charset="-122"/>
                  <a:ea typeface="微软雅黑" panose="020B0503020204020204" pitchFamily="34" charset="-122"/>
                </a:rPr>
                <a:t>年</a:t>
              </a:r>
              <a:r>
                <a:rPr lang="en-US" altLang="zh-CN" sz="1000" dirty="0" smtClean="0">
                  <a:latin typeface="微软雅黑" panose="020B0503020204020204" pitchFamily="34" charset="-122"/>
                  <a:ea typeface="微软雅黑" panose="020B0503020204020204" pitchFamily="34" charset="-122"/>
                </a:rPr>
                <a:t>8</a:t>
              </a:r>
              <a:r>
                <a:rPr lang="zh-CN" altLang="en-US" sz="1000" dirty="0" smtClean="0">
                  <a:latin typeface="微软雅黑" panose="020B0503020204020204" pitchFamily="34" charset="-122"/>
                  <a:ea typeface="微软雅黑" panose="020B0503020204020204" pitchFamily="34" charset="-122"/>
                </a:rPr>
                <a:t>月</a:t>
              </a:r>
              <a:endParaRPr lang="zh-CN" altLang="en-US" sz="1000" dirty="0" smtClean="0">
                <a:latin typeface="微软雅黑" panose="020B0503020204020204" pitchFamily="34" charset="-122"/>
                <a:ea typeface="微软雅黑" panose="020B0503020204020204" pitchFamily="34" charset="-122"/>
              </a:endParaRPr>
            </a:p>
          </p:txBody>
        </p:sp>
        <p:grpSp>
          <p:nvGrpSpPr>
            <p:cNvPr id="104" name="组合 103"/>
            <p:cNvGrpSpPr/>
            <p:nvPr/>
          </p:nvGrpSpPr>
          <p:grpSpPr>
            <a:xfrm>
              <a:off x="8666974" y="4929198"/>
              <a:ext cx="857256" cy="950198"/>
              <a:chOff x="665918" y="5000636"/>
              <a:chExt cx="857256" cy="950198"/>
            </a:xfrm>
          </p:grpSpPr>
          <p:sp>
            <p:nvSpPr>
              <p:cNvPr id="105" name="TextBox 104"/>
              <p:cNvSpPr txBox="1"/>
              <p:nvPr/>
            </p:nvSpPr>
            <p:spPr>
              <a:xfrm>
                <a:off x="665918" y="5000636"/>
                <a:ext cx="857256" cy="461665"/>
              </a:xfrm>
              <a:prstGeom prst="rect">
                <a:avLst/>
              </a:prstGeom>
              <a:noFill/>
            </p:spPr>
            <p:txBody>
              <a:bodyPr wrap="square" rtlCol="0" anchor="ctr">
                <a:spAutoFit/>
              </a:bodyPr>
              <a:lstStyle/>
              <a:p>
                <a:pPr algn="ctr"/>
                <a:r>
                  <a:rPr lang="zh-CN" altLang="en-US" sz="1200" dirty="0" smtClean="0">
                    <a:latin typeface="微软雅黑" panose="020B0503020204020204" pitchFamily="34" charset="-122"/>
                    <a:ea typeface="微软雅黑" panose="020B0503020204020204" pitchFamily="34" charset="-122"/>
                  </a:rPr>
                  <a:t>德州</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分公司</a:t>
                </a:r>
                <a:endParaRPr lang="en-US" altLang="zh-CN" sz="1200" dirty="0" smtClean="0">
                  <a:latin typeface="微软雅黑" panose="020B0503020204020204" pitchFamily="34" charset="-122"/>
                  <a:ea typeface="微软雅黑" panose="020B0503020204020204" pitchFamily="34" charset="-122"/>
                </a:endParaRPr>
              </a:p>
            </p:txBody>
          </p:sp>
          <p:grpSp>
            <p:nvGrpSpPr>
              <p:cNvPr id="106" name="组合 63"/>
              <p:cNvGrpSpPr/>
              <p:nvPr/>
            </p:nvGrpSpPr>
            <p:grpSpPr>
              <a:xfrm>
                <a:off x="880232" y="5643577"/>
                <a:ext cx="273351" cy="307257"/>
                <a:chOff x="8125599" y="1434035"/>
                <a:chExt cx="2036802" cy="2036802"/>
              </a:xfrm>
            </p:grpSpPr>
            <p:sp>
              <p:nvSpPr>
                <p:cNvPr id="107" name="椭圆 106"/>
                <p:cNvSpPr/>
                <p:nvPr/>
              </p:nvSpPr>
              <p:spPr>
                <a:xfrm>
                  <a:off x="8125599" y="1434035"/>
                  <a:ext cx="2036802" cy="2036802"/>
                </a:xfrm>
                <a:prstGeom prst="ellipse">
                  <a:avLst/>
                </a:prstGeom>
                <a:solidFill>
                  <a:srgbClr val="E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8" name="Freeform 9"/>
                <p:cNvSpPr>
                  <a:spLocks noEditPoints="1"/>
                </p:cNvSpPr>
                <p:nvPr/>
              </p:nvSpPr>
              <p:spPr bwMode="auto">
                <a:xfrm rot="19469485">
                  <a:off x="8577911" y="1818271"/>
                  <a:ext cx="1162161" cy="1238354"/>
                </a:xfrm>
                <a:custGeom>
                  <a:avLst/>
                  <a:gdLst>
                    <a:gd name="T0" fmla="*/ 147 w 243"/>
                    <a:gd name="T1" fmla="*/ 240 h 269"/>
                    <a:gd name="T2" fmla="*/ 90 w 243"/>
                    <a:gd name="T3" fmla="*/ 234 h 269"/>
                    <a:gd name="T4" fmla="*/ 147 w 243"/>
                    <a:gd name="T5" fmla="*/ 227 h 269"/>
                    <a:gd name="T6" fmla="*/ 147 w 243"/>
                    <a:gd name="T7" fmla="*/ 243 h 269"/>
                    <a:gd name="T8" fmla="*/ 90 w 243"/>
                    <a:gd name="T9" fmla="*/ 252 h 269"/>
                    <a:gd name="T10" fmla="*/ 96 w 243"/>
                    <a:gd name="T11" fmla="*/ 256 h 269"/>
                    <a:gd name="T12" fmla="*/ 105 w 243"/>
                    <a:gd name="T13" fmla="*/ 262 h 269"/>
                    <a:gd name="T14" fmla="*/ 126 w 243"/>
                    <a:gd name="T15" fmla="*/ 269 h 269"/>
                    <a:gd name="T16" fmla="*/ 138 w 243"/>
                    <a:gd name="T17" fmla="*/ 261 h 269"/>
                    <a:gd name="T18" fmla="*/ 147 w 243"/>
                    <a:gd name="T19" fmla="*/ 256 h 269"/>
                    <a:gd name="T20" fmla="*/ 147 w 243"/>
                    <a:gd name="T21" fmla="*/ 243 h 269"/>
                    <a:gd name="T22" fmla="*/ 128 w 243"/>
                    <a:gd name="T23" fmla="*/ 32 h 269"/>
                    <a:gd name="T24" fmla="*/ 122 w 243"/>
                    <a:gd name="T25" fmla="*/ 0 h 269"/>
                    <a:gd name="T26" fmla="*/ 115 w 243"/>
                    <a:gd name="T27" fmla="*/ 32 h 269"/>
                    <a:gd name="T28" fmla="*/ 54 w 243"/>
                    <a:gd name="T29" fmla="*/ 63 h 269"/>
                    <a:gd name="T30" fmla="*/ 63 w 243"/>
                    <a:gd name="T31" fmla="*/ 63 h 269"/>
                    <a:gd name="T32" fmla="*/ 45 w 243"/>
                    <a:gd name="T33" fmla="*/ 36 h 269"/>
                    <a:gd name="T34" fmla="*/ 36 w 243"/>
                    <a:gd name="T35" fmla="*/ 45 h 269"/>
                    <a:gd name="T36" fmla="*/ 38 w 243"/>
                    <a:gd name="T37" fmla="*/ 122 h 269"/>
                    <a:gd name="T38" fmla="*/ 6 w 243"/>
                    <a:gd name="T39" fmla="*/ 115 h 269"/>
                    <a:gd name="T40" fmla="*/ 6 w 243"/>
                    <a:gd name="T41" fmla="*/ 128 h 269"/>
                    <a:gd name="T42" fmla="*/ 38 w 243"/>
                    <a:gd name="T43" fmla="*/ 122 h 269"/>
                    <a:gd name="T44" fmla="*/ 36 w 243"/>
                    <a:gd name="T45" fmla="*/ 199 h 269"/>
                    <a:gd name="T46" fmla="*/ 40 w 243"/>
                    <a:gd name="T47" fmla="*/ 209 h 269"/>
                    <a:gd name="T48" fmla="*/ 63 w 243"/>
                    <a:gd name="T49" fmla="*/ 189 h 269"/>
                    <a:gd name="T50" fmla="*/ 54 w 243"/>
                    <a:gd name="T51" fmla="*/ 180 h 269"/>
                    <a:gd name="T52" fmla="*/ 180 w 243"/>
                    <a:gd name="T53" fmla="*/ 180 h 269"/>
                    <a:gd name="T54" fmla="*/ 199 w 243"/>
                    <a:gd name="T55" fmla="*/ 208 h 269"/>
                    <a:gd name="T56" fmla="*/ 208 w 243"/>
                    <a:gd name="T57" fmla="*/ 208 h 269"/>
                    <a:gd name="T58" fmla="*/ 189 w 243"/>
                    <a:gd name="T59" fmla="*/ 180 h 269"/>
                    <a:gd name="T60" fmla="*/ 211 w 243"/>
                    <a:gd name="T61" fmla="*/ 115 h 269"/>
                    <a:gd name="T62" fmla="*/ 211 w 243"/>
                    <a:gd name="T63" fmla="*/ 128 h 269"/>
                    <a:gd name="T64" fmla="*/ 243 w 243"/>
                    <a:gd name="T65" fmla="*/ 122 h 269"/>
                    <a:gd name="T66" fmla="*/ 185 w 243"/>
                    <a:gd name="T67" fmla="*/ 65 h 269"/>
                    <a:gd name="T68" fmla="*/ 208 w 243"/>
                    <a:gd name="T69" fmla="*/ 45 h 269"/>
                    <a:gd name="T70" fmla="*/ 199 w 243"/>
                    <a:gd name="T71" fmla="*/ 36 h 269"/>
                    <a:gd name="T72" fmla="*/ 180 w 243"/>
                    <a:gd name="T73" fmla="*/ 63 h 269"/>
                    <a:gd name="T74" fmla="*/ 154 w 243"/>
                    <a:gd name="T75" fmla="*/ 218 h 269"/>
                    <a:gd name="T76" fmla="*/ 96 w 243"/>
                    <a:gd name="T77" fmla="*/ 224 h 269"/>
                    <a:gd name="T78" fmla="*/ 96 w 243"/>
                    <a:gd name="T79" fmla="*/ 211 h 269"/>
                    <a:gd name="T80" fmla="*/ 122 w 243"/>
                    <a:gd name="T81" fmla="*/ 58 h 269"/>
                    <a:gd name="T82" fmla="*/ 148 w 243"/>
                    <a:gd name="T83" fmla="*/ 211 h 269"/>
                    <a:gd name="T84" fmla="*/ 107 w 243"/>
                    <a:gd name="T85" fmla="*/ 76 h 269"/>
                    <a:gd name="T86" fmla="*/ 67 w 243"/>
                    <a:gd name="T87" fmla="*/ 111 h 269"/>
                    <a:gd name="T88" fmla="*/ 72 w 243"/>
                    <a:gd name="T89" fmla="*/ 117 h 269"/>
                    <a:gd name="T90" fmla="*/ 104 w 243"/>
                    <a:gd name="T91" fmla="*/ 8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69">
                      <a:moveTo>
                        <a:pt x="154" y="234"/>
                      </a:moveTo>
                      <a:cubicBezTo>
                        <a:pt x="154" y="237"/>
                        <a:pt x="151" y="240"/>
                        <a:pt x="147" y="240"/>
                      </a:cubicBezTo>
                      <a:cubicBezTo>
                        <a:pt x="96" y="240"/>
                        <a:pt x="96" y="240"/>
                        <a:pt x="96" y="240"/>
                      </a:cubicBezTo>
                      <a:cubicBezTo>
                        <a:pt x="92" y="240"/>
                        <a:pt x="90" y="237"/>
                        <a:pt x="90" y="234"/>
                      </a:cubicBezTo>
                      <a:cubicBezTo>
                        <a:pt x="90" y="230"/>
                        <a:pt x="92" y="227"/>
                        <a:pt x="96" y="227"/>
                      </a:cubicBezTo>
                      <a:cubicBezTo>
                        <a:pt x="147" y="227"/>
                        <a:pt x="147" y="227"/>
                        <a:pt x="147" y="227"/>
                      </a:cubicBezTo>
                      <a:cubicBezTo>
                        <a:pt x="151" y="227"/>
                        <a:pt x="154" y="230"/>
                        <a:pt x="154" y="234"/>
                      </a:cubicBezTo>
                      <a:close/>
                      <a:moveTo>
                        <a:pt x="147" y="243"/>
                      </a:moveTo>
                      <a:cubicBezTo>
                        <a:pt x="96" y="243"/>
                        <a:pt x="96" y="243"/>
                        <a:pt x="96" y="243"/>
                      </a:cubicBezTo>
                      <a:cubicBezTo>
                        <a:pt x="92" y="243"/>
                        <a:pt x="89" y="247"/>
                        <a:pt x="90" y="252"/>
                      </a:cubicBezTo>
                      <a:cubicBezTo>
                        <a:pt x="91" y="254"/>
                        <a:pt x="93" y="256"/>
                        <a:pt x="96" y="256"/>
                      </a:cubicBezTo>
                      <a:cubicBezTo>
                        <a:pt x="96" y="256"/>
                        <a:pt x="96" y="256"/>
                        <a:pt x="96" y="256"/>
                      </a:cubicBezTo>
                      <a:cubicBezTo>
                        <a:pt x="100" y="256"/>
                        <a:pt x="103" y="258"/>
                        <a:pt x="105" y="261"/>
                      </a:cubicBezTo>
                      <a:cubicBezTo>
                        <a:pt x="105" y="262"/>
                        <a:pt x="105" y="262"/>
                        <a:pt x="105" y="262"/>
                      </a:cubicBezTo>
                      <a:cubicBezTo>
                        <a:pt x="107" y="266"/>
                        <a:pt x="112" y="269"/>
                        <a:pt x="117" y="269"/>
                      </a:cubicBezTo>
                      <a:cubicBezTo>
                        <a:pt x="126" y="269"/>
                        <a:pt x="126" y="269"/>
                        <a:pt x="126" y="269"/>
                      </a:cubicBezTo>
                      <a:cubicBezTo>
                        <a:pt x="131" y="269"/>
                        <a:pt x="136" y="266"/>
                        <a:pt x="138" y="262"/>
                      </a:cubicBezTo>
                      <a:cubicBezTo>
                        <a:pt x="138" y="261"/>
                        <a:pt x="138" y="261"/>
                        <a:pt x="138" y="261"/>
                      </a:cubicBezTo>
                      <a:cubicBezTo>
                        <a:pt x="140" y="258"/>
                        <a:pt x="143" y="256"/>
                        <a:pt x="147" y="256"/>
                      </a:cubicBezTo>
                      <a:cubicBezTo>
                        <a:pt x="147" y="256"/>
                        <a:pt x="147" y="256"/>
                        <a:pt x="147" y="256"/>
                      </a:cubicBezTo>
                      <a:cubicBezTo>
                        <a:pt x="150" y="256"/>
                        <a:pt x="152" y="254"/>
                        <a:pt x="153" y="252"/>
                      </a:cubicBezTo>
                      <a:cubicBezTo>
                        <a:pt x="155" y="247"/>
                        <a:pt x="151" y="243"/>
                        <a:pt x="147" y="243"/>
                      </a:cubicBezTo>
                      <a:close/>
                      <a:moveTo>
                        <a:pt x="122" y="38"/>
                      </a:moveTo>
                      <a:cubicBezTo>
                        <a:pt x="125" y="38"/>
                        <a:pt x="128" y="36"/>
                        <a:pt x="128" y="32"/>
                      </a:cubicBezTo>
                      <a:cubicBezTo>
                        <a:pt x="128" y="6"/>
                        <a:pt x="128" y="6"/>
                        <a:pt x="128" y="6"/>
                      </a:cubicBezTo>
                      <a:cubicBezTo>
                        <a:pt x="128" y="3"/>
                        <a:pt x="125" y="0"/>
                        <a:pt x="122" y="0"/>
                      </a:cubicBezTo>
                      <a:cubicBezTo>
                        <a:pt x="118" y="0"/>
                        <a:pt x="115" y="3"/>
                        <a:pt x="115" y="6"/>
                      </a:cubicBezTo>
                      <a:cubicBezTo>
                        <a:pt x="115" y="32"/>
                        <a:pt x="115" y="32"/>
                        <a:pt x="115" y="32"/>
                      </a:cubicBezTo>
                      <a:cubicBezTo>
                        <a:pt x="115" y="36"/>
                        <a:pt x="118" y="38"/>
                        <a:pt x="122" y="38"/>
                      </a:cubicBezTo>
                      <a:close/>
                      <a:moveTo>
                        <a:pt x="54" y="63"/>
                      </a:moveTo>
                      <a:cubicBezTo>
                        <a:pt x="55" y="64"/>
                        <a:pt x="57" y="65"/>
                        <a:pt x="58" y="65"/>
                      </a:cubicBezTo>
                      <a:cubicBezTo>
                        <a:pt x="60" y="65"/>
                        <a:pt x="62" y="64"/>
                        <a:pt x="63" y="63"/>
                      </a:cubicBezTo>
                      <a:cubicBezTo>
                        <a:pt x="65" y="60"/>
                        <a:pt x="65" y="56"/>
                        <a:pt x="63" y="54"/>
                      </a:cubicBezTo>
                      <a:cubicBezTo>
                        <a:pt x="45" y="36"/>
                        <a:pt x="45" y="36"/>
                        <a:pt x="45" y="36"/>
                      </a:cubicBezTo>
                      <a:cubicBezTo>
                        <a:pt x="42" y="33"/>
                        <a:pt x="38" y="33"/>
                        <a:pt x="36" y="36"/>
                      </a:cubicBezTo>
                      <a:cubicBezTo>
                        <a:pt x="33" y="38"/>
                        <a:pt x="33" y="42"/>
                        <a:pt x="36" y="45"/>
                      </a:cubicBezTo>
                      <a:lnTo>
                        <a:pt x="54" y="63"/>
                      </a:lnTo>
                      <a:close/>
                      <a:moveTo>
                        <a:pt x="38" y="122"/>
                      </a:moveTo>
                      <a:cubicBezTo>
                        <a:pt x="38" y="118"/>
                        <a:pt x="36" y="115"/>
                        <a:pt x="32" y="115"/>
                      </a:cubicBezTo>
                      <a:cubicBezTo>
                        <a:pt x="6" y="115"/>
                        <a:pt x="6" y="115"/>
                        <a:pt x="6" y="115"/>
                      </a:cubicBezTo>
                      <a:cubicBezTo>
                        <a:pt x="3" y="115"/>
                        <a:pt x="0" y="118"/>
                        <a:pt x="0" y="122"/>
                      </a:cubicBezTo>
                      <a:cubicBezTo>
                        <a:pt x="0" y="125"/>
                        <a:pt x="3" y="128"/>
                        <a:pt x="6" y="128"/>
                      </a:cubicBezTo>
                      <a:cubicBezTo>
                        <a:pt x="32" y="128"/>
                        <a:pt x="32" y="128"/>
                        <a:pt x="32" y="128"/>
                      </a:cubicBezTo>
                      <a:cubicBezTo>
                        <a:pt x="36" y="128"/>
                        <a:pt x="38" y="125"/>
                        <a:pt x="38" y="122"/>
                      </a:cubicBezTo>
                      <a:close/>
                      <a:moveTo>
                        <a:pt x="54" y="180"/>
                      </a:moveTo>
                      <a:cubicBezTo>
                        <a:pt x="36" y="199"/>
                        <a:pt x="36" y="199"/>
                        <a:pt x="36" y="199"/>
                      </a:cubicBezTo>
                      <a:cubicBezTo>
                        <a:pt x="33" y="201"/>
                        <a:pt x="33" y="205"/>
                        <a:pt x="36" y="208"/>
                      </a:cubicBezTo>
                      <a:cubicBezTo>
                        <a:pt x="37" y="209"/>
                        <a:pt x="39" y="209"/>
                        <a:pt x="40" y="209"/>
                      </a:cubicBezTo>
                      <a:cubicBezTo>
                        <a:pt x="42" y="209"/>
                        <a:pt x="43" y="209"/>
                        <a:pt x="45" y="208"/>
                      </a:cubicBezTo>
                      <a:cubicBezTo>
                        <a:pt x="63" y="189"/>
                        <a:pt x="63" y="189"/>
                        <a:pt x="63" y="189"/>
                      </a:cubicBezTo>
                      <a:cubicBezTo>
                        <a:pt x="65" y="187"/>
                        <a:pt x="65" y="183"/>
                        <a:pt x="63" y="180"/>
                      </a:cubicBezTo>
                      <a:cubicBezTo>
                        <a:pt x="60" y="178"/>
                        <a:pt x="56" y="178"/>
                        <a:pt x="54" y="180"/>
                      </a:cubicBezTo>
                      <a:close/>
                      <a:moveTo>
                        <a:pt x="189" y="180"/>
                      </a:moveTo>
                      <a:cubicBezTo>
                        <a:pt x="187" y="178"/>
                        <a:pt x="183" y="178"/>
                        <a:pt x="180" y="180"/>
                      </a:cubicBezTo>
                      <a:cubicBezTo>
                        <a:pt x="178" y="183"/>
                        <a:pt x="178" y="187"/>
                        <a:pt x="180" y="189"/>
                      </a:cubicBezTo>
                      <a:cubicBezTo>
                        <a:pt x="199" y="208"/>
                        <a:pt x="199" y="208"/>
                        <a:pt x="199" y="208"/>
                      </a:cubicBezTo>
                      <a:cubicBezTo>
                        <a:pt x="200" y="209"/>
                        <a:pt x="201" y="209"/>
                        <a:pt x="203" y="209"/>
                      </a:cubicBezTo>
                      <a:cubicBezTo>
                        <a:pt x="205" y="209"/>
                        <a:pt x="206" y="209"/>
                        <a:pt x="208" y="208"/>
                      </a:cubicBezTo>
                      <a:cubicBezTo>
                        <a:pt x="210" y="205"/>
                        <a:pt x="210" y="201"/>
                        <a:pt x="208" y="199"/>
                      </a:cubicBezTo>
                      <a:lnTo>
                        <a:pt x="189" y="180"/>
                      </a:lnTo>
                      <a:close/>
                      <a:moveTo>
                        <a:pt x="237" y="115"/>
                      </a:moveTo>
                      <a:cubicBezTo>
                        <a:pt x="211" y="115"/>
                        <a:pt x="211" y="115"/>
                        <a:pt x="211" y="115"/>
                      </a:cubicBezTo>
                      <a:cubicBezTo>
                        <a:pt x="208" y="115"/>
                        <a:pt x="205" y="118"/>
                        <a:pt x="205" y="122"/>
                      </a:cubicBezTo>
                      <a:cubicBezTo>
                        <a:pt x="205" y="125"/>
                        <a:pt x="208" y="128"/>
                        <a:pt x="211" y="128"/>
                      </a:cubicBezTo>
                      <a:cubicBezTo>
                        <a:pt x="237" y="128"/>
                        <a:pt x="237" y="128"/>
                        <a:pt x="237" y="128"/>
                      </a:cubicBezTo>
                      <a:cubicBezTo>
                        <a:pt x="240" y="128"/>
                        <a:pt x="243" y="125"/>
                        <a:pt x="243" y="122"/>
                      </a:cubicBezTo>
                      <a:cubicBezTo>
                        <a:pt x="243" y="118"/>
                        <a:pt x="240" y="115"/>
                        <a:pt x="237" y="115"/>
                      </a:cubicBezTo>
                      <a:close/>
                      <a:moveTo>
                        <a:pt x="185" y="65"/>
                      </a:moveTo>
                      <a:cubicBezTo>
                        <a:pt x="187" y="65"/>
                        <a:pt x="188" y="64"/>
                        <a:pt x="189" y="63"/>
                      </a:cubicBezTo>
                      <a:cubicBezTo>
                        <a:pt x="208" y="45"/>
                        <a:pt x="208" y="45"/>
                        <a:pt x="208" y="45"/>
                      </a:cubicBezTo>
                      <a:cubicBezTo>
                        <a:pt x="210" y="42"/>
                        <a:pt x="210" y="38"/>
                        <a:pt x="208" y="36"/>
                      </a:cubicBezTo>
                      <a:cubicBezTo>
                        <a:pt x="205" y="33"/>
                        <a:pt x="201" y="33"/>
                        <a:pt x="199" y="36"/>
                      </a:cubicBezTo>
                      <a:cubicBezTo>
                        <a:pt x="180" y="54"/>
                        <a:pt x="180" y="54"/>
                        <a:pt x="180" y="54"/>
                      </a:cubicBezTo>
                      <a:cubicBezTo>
                        <a:pt x="178" y="56"/>
                        <a:pt x="178" y="60"/>
                        <a:pt x="180" y="63"/>
                      </a:cubicBezTo>
                      <a:cubicBezTo>
                        <a:pt x="182" y="64"/>
                        <a:pt x="183" y="65"/>
                        <a:pt x="185" y="65"/>
                      </a:cubicBezTo>
                      <a:close/>
                      <a:moveTo>
                        <a:pt x="154" y="218"/>
                      </a:moveTo>
                      <a:cubicBezTo>
                        <a:pt x="154" y="221"/>
                        <a:pt x="151" y="224"/>
                        <a:pt x="147" y="224"/>
                      </a:cubicBezTo>
                      <a:cubicBezTo>
                        <a:pt x="96" y="224"/>
                        <a:pt x="96" y="224"/>
                        <a:pt x="96" y="224"/>
                      </a:cubicBezTo>
                      <a:cubicBezTo>
                        <a:pt x="92" y="224"/>
                        <a:pt x="90" y="221"/>
                        <a:pt x="90" y="218"/>
                      </a:cubicBezTo>
                      <a:cubicBezTo>
                        <a:pt x="90" y="214"/>
                        <a:pt x="92" y="211"/>
                        <a:pt x="96" y="211"/>
                      </a:cubicBezTo>
                      <a:cubicBezTo>
                        <a:pt x="92" y="175"/>
                        <a:pt x="54" y="167"/>
                        <a:pt x="54" y="125"/>
                      </a:cubicBezTo>
                      <a:cubicBezTo>
                        <a:pt x="54" y="88"/>
                        <a:pt x="84" y="58"/>
                        <a:pt x="122" y="58"/>
                      </a:cubicBezTo>
                      <a:cubicBezTo>
                        <a:pt x="159" y="58"/>
                        <a:pt x="189" y="88"/>
                        <a:pt x="189" y="125"/>
                      </a:cubicBezTo>
                      <a:cubicBezTo>
                        <a:pt x="189" y="167"/>
                        <a:pt x="152" y="175"/>
                        <a:pt x="148" y="211"/>
                      </a:cubicBezTo>
                      <a:cubicBezTo>
                        <a:pt x="151" y="211"/>
                        <a:pt x="154" y="214"/>
                        <a:pt x="154" y="218"/>
                      </a:cubicBezTo>
                      <a:close/>
                      <a:moveTo>
                        <a:pt x="107" y="76"/>
                      </a:moveTo>
                      <a:cubicBezTo>
                        <a:pt x="106" y="73"/>
                        <a:pt x="103" y="72"/>
                        <a:pt x="101" y="73"/>
                      </a:cubicBezTo>
                      <a:cubicBezTo>
                        <a:pt x="84" y="80"/>
                        <a:pt x="72" y="94"/>
                        <a:pt x="67" y="111"/>
                      </a:cubicBezTo>
                      <a:cubicBezTo>
                        <a:pt x="67" y="113"/>
                        <a:pt x="68" y="116"/>
                        <a:pt x="71" y="117"/>
                      </a:cubicBezTo>
                      <a:cubicBezTo>
                        <a:pt x="71" y="117"/>
                        <a:pt x="72" y="117"/>
                        <a:pt x="72" y="117"/>
                      </a:cubicBezTo>
                      <a:cubicBezTo>
                        <a:pt x="74" y="117"/>
                        <a:pt x="76" y="115"/>
                        <a:pt x="77" y="113"/>
                      </a:cubicBezTo>
                      <a:cubicBezTo>
                        <a:pt x="80" y="99"/>
                        <a:pt x="91" y="87"/>
                        <a:pt x="104" y="82"/>
                      </a:cubicBezTo>
                      <a:cubicBezTo>
                        <a:pt x="107" y="81"/>
                        <a:pt x="108" y="78"/>
                        <a:pt x="107" y="76"/>
                      </a:cubicBezTo>
                      <a:close/>
                    </a:path>
                  </a:pathLst>
                </a:custGeom>
                <a:solidFill>
                  <a:schemeClr val="bg1">
                    <a:lumMod val="95000"/>
                  </a:schemeClr>
                </a:solidFill>
                <a:ln>
                  <a:noFill/>
                </a:ln>
              </p:spPr>
              <p:txBody>
                <a:bodyPr vert="horz" wrap="square" lIns="91440" tIns="45720" rIns="91440" bIns="45720" numCol="1" anchor="t" anchorCtr="0" compatLnSpc="1"/>
                <a:lstStyle/>
                <a:p>
                  <a:endParaRPr lang="zh-CN" altLang="en-US"/>
                </a:p>
              </p:txBody>
            </p:sp>
          </p:grpSp>
        </p:grpSp>
      </p:grpSp>
      <p:sp>
        <p:nvSpPr>
          <p:cNvPr id="110" name="TextBox 109"/>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sz="2400" b="1" dirty="0" smtClean="0">
              <a:latin typeface="微软雅黑" panose="020B0503020204020204" pitchFamily="34" charset="-122"/>
              <a:ea typeface="微软雅黑" panose="020B0503020204020204" pitchFamily="34" charset="-122"/>
            </a:endParaRPr>
          </a:p>
        </p:txBody>
      </p:sp>
      <p:sp>
        <p:nvSpPr>
          <p:cNvPr id="111" name="TextBox 110"/>
          <p:cNvSpPr txBox="1"/>
          <p:nvPr/>
        </p:nvSpPr>
        <p:spPr>
          <a:xfrm>
            <a:off x="1165984" y="1000108"/>
            <a:ext cx="1357322" cy="400110"/>
          </a:xfrm>
          <a:prstGeom prst="rect">
            <a:avLst/>
          </a:prstGeom>
          <a:noFill/>
        </p:spPr>
        <p:txBody>
          <a:bodyPr wrap="square" rtlCol="0" anchor="ctr">
            <a:spAutoFit/>
          </a:bodyPr>
          <a:lstStyle/>
          <a:p>
            <a:r>
              <a:rPr lang="zh-CN" altLang="en-US" sz="2000" b="1" dirty="0" smtClean="0">
                <a:latin typeface="微软雅黑" panose="020B0503020204020204" pitchFamily="34" charset="-122"/>
                <a:ea typeface="微软雅黑" panose="020B0503020204020204" pitchFamily="34" charset="-122"/>
              </a:rPr>
              <a:t>战略布局</a:t>
            </a:r>
            <a:endParaRPr lang="zh-CN" altLang="en-US" sz="2000" b="1" dirty="0" smtClean="0">
              <a:latin typeface="微软雅黑" panose="020B0503020204020204" pitchFamily="34" charset="-122"/>
              <a:ea typeface="微软雅黑" panose="020B0503020204020204" pitchFamily="34" charset="-122"/>
            </a:endParaRPr>
          </a:p>
        </p:txBody>
      </p:sp>
      <p:sp>
        <p:nvSpPr>
          <p:cNvPr id="113" name="TextBox 112"/>
          <p:cNvSpPr txBox="1"/>
          <p:nvPr/>
        </p:nvSpPr>
        <p:spPr>
          <a:xfrm>
            <a:off x="9952990" y="4929505"/>
            <a:ext cx="1643380" cy="584835"/>
          </a:xfrm>
          <a:prstGeom prst="rect">
            <a:avLst/>
          </a:prstGeom>
          <a:noFill/>
        </p:spPr>
        <p:txBody>
          <a:bodyPr wrap="square" rtlCol="0" anchor="ctr">
            <a:spAutoFit/>
          </a:bodyPr>
          <a:lstStyle/>
          <a:p>
            <a:r>
              <a:rPr lang="en-US" altLang="zh-CN" sz="3200" b="1" dirty="0" smtClean="0">
                <a:latin typeface="微软雅黑" panose="020B0503020204020204" pitchFamily="34" charset="-122"/>
                <a:ea typeface="微软雅黑" panose="020B0503020204020204" pitchFamily="34" charset="-122"/>
              </a:rPr>
              <a:t>……</a:t>
            </a:r>
            <a:endParaRPr lang="zh-CN" altLang="en-US" sz="3200" b="1" dirty="0" smtClean="0">
              <a:latin typeface="微软雅黑" panose="020B0503020204020204" pitchFamily="34" charset="-122"/>
              <a:ea typeface="微软雅黑" panose="020B0503020204020204" pitchFamily="34" charset="-122"/>
            </a:endParaRPr>
          </a:p>
        </p:txBody>
      </p:sp>
      <p:grpSp>
        <p:nvGrpSpPr>
          <p:cNvPr id="119" name="组合 118"/>
          <p:cNvGrpSpPr/>
          <p:nvPr/>
        </p:nvGrpSpPr>
        <p:grpSpPr>
          <a:xfrm>
            <a:off x="3887831" y="1837634"/>
            <a:ext cx="1682980" cy="1233865"/>
            <a:chOff x="3887831" y="1837634"/>
            <a:chExt cx="1682980" cy="1233865"/>
          </a:xfrm>
          <a:solidFill>
            <a:srgbClr val="FFCCFF"/>
          </a:solidFill>
        </p:grpSpPr>
        <p:grpSp>
          <p:nvGrpSpPr>
            <p:cNvPr id="118" name="组合 117"/>
            <p:cNvGrpSpPr/>
            <p:nvPr/>
          </p:nvGrpSpPr>
          <p:grpSpPr>
            <a:xfrm>
              <a:off x="3887831" y="1837634"/>
              <a:ext cx="1682980" cy="1233865"/>
              <a:chOff x="3887831" y="1837634"/>
              <a:chExt cx="1682980" cy="1233865"/>
            </a:xfrm>
            <a:grpFill/>
          </p:grpSpPr>
          <p:sp>
            <p:nvSpPr>
              <p:cNvPr id="34" name="任意多边形 33"/>
              <p:cNvSpPr/>
              <p:nvPr/>
            </p:nvSpPr>
            <p:spPr bwMode="auto">
              <a:xfrm>
                <a:off x="3887831" y="1837634"/>
                <a:ext cx="1450712" cy="1233865"/>
              </a:xfrm>
              <a:custGeom>
                <a:avLst/>
                <a:gdLst>
                  <a:gd name="connsiteX0" fmla="*/ 0 w 1135380"/>
                  <a:gd name="connsiteY0" fmla="*/ 1295400 h 1413510"/>
                  <a:gd name="connsiteX1" fmla="*/ 11430 w 1135380"/>
                  <a:gd name="connsiteY1" fmla="*/ 1371600 h 1413510"/>
                  <a:gd name="connsiteX2" fmla="*/ 34290 w 1135380"/>
                  <a:gd name="connsiteY2" fmla="*/ 1386840 h 1413510"/>
                  <a:gd name="connsiteX3" fmla="*/ 95250 w 1135380"/>
                  <a:gd name="connsiteY3" fmla="*/ 1390650 h 1413510"/>
                  <a:gd name="connsiteX4" fmla="*/ 144780 w 1135380"/>
                  <a:gd name="connsiteY4" fmla="*/ 1390650 h 1413510"/>
                  <a:gd name="connsiteX5" fmla="*/ 198120 w 1135380"/>
                  <a:gd name="connsiteY5" fmla="*/ 1413510 h 1413510"/>
                  <a:gd name="connsiteX6" fmla="*/ 243840 w 1135380"/>
                  <a:gd name="connsiteY6" fmla="*/ 1405890 h 1413510"/>
                  <a:gd name="connsiteX7" fmla="*/ 247650 w 1135380"/>
                  <a:gd name="connsiteY7" fmla="*/ 1375410 h 1413510"/>
                  <a:gd name="connsiteX8" fmla="*/ 240030 w 1135380"/>
                  <a:gd name="connsiteY8" fmla="*/ 1306830 h 1413510"/>
                  <a:gd name="connsiteX9" fmla="*/ 224790 w 1135380"/>
                  <a:gd name="connsiteY9" fmla="*/ 1249680 h 1413510"/>
                  <a:gd name="connsiteX10" fmla="*/ 289560 w 1135380"/>
                  <a:gd name="connsiteY10" fmla="*/ 1207770 h 1413510"/>
                  <a:gd name="connsiteX11" fmla="*/ 384810 w 1135380"/>
                  <a:gd name="connsiteY11" fmla="*/ 1169670 h 1413510"/>
                  <a:gd name="connsiteX12" fmla="*/ 422910 w 1135380"/>
                  <a:gd name="connsiteY12" fmla="*/ 1169670 h 1413510"/>
                  <a:gd name="connsiteX13" fmla="*/ 495300 w 1135380"/>
                  <a:gd name="connsiteY13" fmla="*/ 1200150 h 1413510"/>
                  <a:gd name="connsiteX14" fmla="*/ 552450 w 1135380"/>
                  <a:gd name="connsiteY14" fmla="*/ 1230630 h 1413510"/>
                  <a:gd name="connsiteX15" fmla="*/ 605790 w 1135380"/>
                  <a:gd name="connsiteY15" fmla="*/ 1223010 h 1413510"/>
                  <a:gd name="connsiteX16" fmla="*/ 697230 w 1135380"/>
                  <a:gd name="connsiteY16" fmla="*/ 1173480 h 1413510"/>
                  <a:gd name="connsiteX17" fmla="*/ 739140 w 1135380"/>
                  <a:gd name="connsiteY17" fmla="*/ 1116330 h 1413510"/>
                  <a:gd name="connsiteX18" fmla="*/ 788670 w 1135380"/>
                  <a:gd name="connsiteY18" fmla="*/ 1036320 h 1413510"/>
                  <a:gd name="connsiteX19" fmla="*/ 838200 w 1135380"/>
                  <a:gd name="connsiteY19" fmla="*/ 1024890 h 1413510"/>
                  <a:gd name="connsiteX20" fmla="*/ 933450 w 1135380"/>
                  <a:gd name="connsiteY20" fmla="*/ 1024890 h 1413510"/>
                  <a:gd name="connsiteX21" fmla="*/ 982980 w 1135380"/>
                  <a:gd name="connsiteY21" fmla="*/ 1005840 h 1413510"/>
                  <a:gd name="connsiteX22" fmla="*/ 1036320 w 1135380"/>
                  <a:gd name="connsiteY22" fmla="*/ 979170 h 1413510"/>
                  <a:gd name="connsiteX23" fmla="*/ 1112520 w 1135380"/>
                  <a:gd name="connsiteY23" fmla="*/ 971550 h 1413510"/>
                  <a:gd name="connsiteX24" fmla="*/ 1135380 w 1135380"/>
                  <a:gd name="connsiteY24" fmla="*/ 956310 h 1413510"/>
                  <a:gd name="connsiteX25" fmla="*/ 1135380 w 1135380"/>
                  <a:gd name="connsiteY25" fmla="*/ 918210 h 1413510"/>
                  <a:gd name="connsiteX26" fmla="*/ 1108710 w 1135380"/>
                  <a:gd name="connsiteY26" fmla="*/ 872490 h 1413510"/>
                  <a:gd name="connsiteX27" fmla="*/ 1104900 w 1135380"/>
                  <a:gd name="connsiteY27" fmla="*/ 830580 h 1413510"/>
                  <a:gd name="connsiteX28" fmla="*/ 1097280 w 1135380"/>
                  <a:gd name="connsiteY28" fmla="*/ 792480 h 1413510"/>
                  <a:gd name="connsiteX29" fmla="*/ 1085850 w 1135380"/>
                  <a:gd name="connsiteY29" fmla="*/ 731520 h 1413510"/>
                  <a:gd name="connsiteX30" fmla="*/ 1028700 w 1135380"/>
                  <a:gd name="connsiteY30" fmla="*/ 681990 h 1413510"/>
                  <a:gd name="connsiteX31" fmla="*/ 1013460 w 1135380"/>
                  <a:gd name="connsiteY31" fmla="*/ 575310 h 1413510"/>
                  <a:gd name="connsiteX32" fmla="*/ 982980 w 1135380"/>
                  <a:gd name="connsiteY32" fmla="*/ 533400 h 1413510"/>
                  <a:gd name="connsiteX33" fmla="*/ 895350 w 1135380"/>
                  <a:gd name="connsiteY33" fmla="*/ 563880 h 1413510"/>
                  <a:gd name="connsiteX34" fmla="*/ 857250 w 1135380"/>
                  <a:gd name="connsiteY34" fmla="*/ 533400 h 1413510"/>
                  <a:gd name="connsiteX35" fmla="*/ 826770 w 1135380"/>
                  <a:gd name="connsiteY35" fmla="*/ 495300 h 1413510"/>
                  <a:gd name="connsiteX36" fmla="*/ 834390 w 1135380"/>
                  <a:gd name="connsiteY36" fmla="*/ 445770 h 1413510"/>
                  <a:gd name="connsiteX37" fmla="*/ 906780 w 1135380"/>
                  <a:gd name="connsiteY37" fmla="*/ 422910 h 1413510"/>
                  <a:gd name="connsiteX38" fmla="*/ 925830 w 1135380"/>
                  <a:gd name="connsiteY38" fmla="*/ 396240 h 1413510"/>
                  <a:gd name="connsiteX39" fmla="*/ 883920 w 1135380"/>
                  <a:gd name="connsiteY39" fmla="*/ 255270 h 1413510"/>
                  <a:gd name="connsiteX40" fmla="*/ 906780 w 1135380"/>
                  <a:gd name="connsiteY40" fmla="*/ 129540 h 1413510"/>
                  <a:gd name="connsiteX41" fmla="*/ 872490 w 1135380"/>
                  <a:gd name="connsiteY41" fmla="*/ 87630 h 1413510"/>
                  <a:gd name="connsiteX42" fmla="*/ 842010 w 1135380"/>
                  <a:gd name="connsiteY42" fmla="*/ 76200 h 1413510"/>
                  <a:gd name="connsiteX43" fmla="*/ 815340 w 1135380"/>
                  <a:gd name="connsiteY43" fmla="*/ 57150 h 1413510"/>
                  <a:gd name="connsiteX44" fmla="*/ 811530 w 1135380"/>
                  <a:gd name="connsiteY44" fmla="*/ 0 h 1413510"/>
                  <a:gd name="connsiteX45" fmla="*/ 727710 w 1135380"/>
                  <a:gd name="connsiteY45" fmla="*/ 60960 h 1413510"/>
                  <a:gd name="connsiteX46" fmla="*/ 678180 w 1135380"/>
                  <a:gd name="connsiteY46" fmla="*/ 26670 h 1413510"/>
                  <a:gd name="connsiteX47" fmla="*/ 640080 w 1135380"/>
                  <a:gd name="connsiteY47" fmla="*/ 49530 h 1413510"/>
                  <a:gd name="connsiteX48" fmla="*/ 640080 w 1135380"/>
                  <a:gd name="connsiteY48" fmla="*/ 95250 h 1413510"/>
                  <a:gd name="connsiteX49" fmla="*/ 609600 w 1135380"/>
                  <a:gd name="connsiteY49" fmla="*/ 190500 h 1413510"/>
                  <a:gd name="connsiteX50" fmla="*/ 621030 w 1135380"/>
                  <a:gd name="connsiteY50" fmla="*/ 259080 h 1413510"/>
                  <a:gd name="connsiteX51" fmla="*/ 659130 w 1135380"/>
                  <a:gd name="connsiteY51" fmla="*/ 365760 h 1413510"/>
                  <a:gd name="connsiteX52" fmla="*/ 643890 w 1135380"/>
                  <a:gd name="connsiteY52" fmla="*/ 392430 h 1413510"/>
                  <a:gd name="connsiteX53" fmla="*/ 582930 w 1135380"/>
                  <a:gd name="connsiteY53" fmla="*/ 426720 h 1413510"/>
                  <a:gd name="connsiteX54" fmla="*/ 544830 w 1135380"/>
                  <a:gd name="connsiteY54" fmla="*/ 445770 h 1413510"/>
                  <a:gd name="connsiteX55" fmla="*/ 529590 w 1135380"/>
                  <a:gd name="connsiteY55" fmla="*/ 476250 h 1413510"/>
                  <a:gd name="connsiteX56" fmla="*/ 537210 w 1135380"/>
                  <a:gd name="connsiteY56" fmla="*/ 521970 h 1413510"/>
                  <a:gd name="connsiteX57" fmla="*/ 586740 w 1135380"/>
                  <a:gd name="connsiteY57" fmla="*/ 621030 h 1413510"/>
                  <a:gd name="connsiteX58" fmla="*/ 579120 w 1135380"/>
                  <a:gd name="connsiteY58" fmla="*/ 655320 h 1413510"/>
                  <a:gd name="connsiteX59" fmla="*/ 529590 w 1135380"/>
                  <a:gd name="connsiteY59" fmla="*/ 681990 h 1413510"/>
                  <a:gd name="connsiteX60" fmla="*/ 510540 w 1135380"/>
                  <a:gd name="connsiteY60" fmla="*/ 720090 h 1413510"/>
                  <a:gd name="connsiteX61" fmla="*/ 510540 w 1135380"/>
                  <a:gd name="connsiteY61" fmla="*/ 781050 h 1413510"/>
                  <a:gd name="connsiteX62" fmla="*/ 457200 w 1135380"/>
                  <a:gd name="connsiteY62" fmla="*/ 811530 h 1413510"/>
                  <a:gd name="connsiteX63" fmla="*/ 422910 w 1135380"/>
                  <a:gd name="connsiteY63" fmla="*/ 883920 h 1413510"/>
                  <a:gd name="connsiteX64" fmla="*/ 369570 w 1135380"/>
                  <a:gd name="connsiteY64" fmla="*/ 910590 h 1413510"/>
                  <a:gd name="connsiteX65" fmla="*/ 316230 w 1135380"/>
                  <a:gd name="connsiteY65" fmla="*/ 1009650 h 1413510"/>
                  <a:gd name="connsiteX66" fmla="*/ 300990 w 1135380"/>
                  <a:gd name="connsiteY66" fmla="*/ 1055370 h 1413510"/>
                  <a:gd name="connsiteX67" fmla="*/ 247650 w 1135380"/>
                  <a:gd name="connsiteY67" fmla="*/ 1082040 h 1413510"/>
                  <a:gd name="connsiteX68" fmla="*/ 171450 w 1135380"/>
                  <a:gd name="connsiteY68" fmla="*/ 1150620 h 1413510"/>
                  <a:gd name="connsiteX69" fmla="*/ 137160 w 1135380"/>
                  <a:gd name="connsiteY69" fmla="*/ 1169670 h 1413510"/>
                  <a:gd name="connsiteX70" fmla="*/ 95250 w 1135380"/>
                  <a:gd name="connsiteY70" fmla="*/ 1181100 h 1413510"/>
                  <a:gd name="connsiteX71" fmla="*/ 68580 w 1135380"/>
                  <a:gd name="connsiteY71" fmla="*/ 1223010 h 1413510"/>
                  <a:gd name="connsiteX72" fmla="*/ 0 w 1135380"/>
                  <a:gd name="connsiteY72" fmla="*/ 1295400 h 1413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135380" h="1413510">
                    <a:moveTo>
                      <a:pt x="0" y="1295400"/>
                    </a:moveTo>
                    <a:lnTo>
                      <a:pt x="11430" y="1371600"/>
                    </a:lnTo>
                    <a:lnTo>
                      <a:pt x="34290" y="1386840"/>
                    </a:lnTo>
                    <a:lnTo>
                      <a:pt x="95250" y="1390650"/>
                    </a:lnTo>
                    <a:lnTo>
                      <a:pt x="144780" y="1390650"/>
                    </a:lnTo>
                    <a:lnTo>
                      <a:pt x="198120" y="1413510"/>
                    </a:lnTo>
                    <a:lnTo>
                      <a:pt x="243840" y="1405890"/>
                    </a:lnTo>
                    <a:lnTo>
                      <a:pt x="247650" y="1375410"/>
                    </a:lnTo>
                    <a:lnTo>
                      <a:pt x="240030" y="1306830"/>
                    </a:lnTo>
                    <a:lnTo>
                      <a:pt x="224790" y="1249680"/>
                    </a:lnTo>
                    <a:lnTo>
                      <a:pt x="289560" y="1207770"/>
                    </a:lnTo>
                    <a:lnTo>
                      <a:pt x="384810" y="1169670"/>
                    </a:lnTo>
                    <a:lnTo>
                      <a:pt x="422910" y="1169670"/>
                    </a:lnTo>
                    <a:lnTo>
                      <a:pt x="495300" y="1200150"/>
                    </a:lnTo>
                    <a:lnTo>
                      <a:pt x="552450" y="1230630"/>
                    </a:lnTo>
                    <a:lnTo>
                      <a:pt x="605790" y="1223010"/>
                    </a:lnTo>
                    <a:lnTo>
                      <a:pt x="697230" y="1173480"/>
                    </a:lnTo>
                    <a:lnTo>
                      <a:pt x="739140" y="1116330"/>
                    </a:lnTo>
                    <a:lnTo>
                      <a:pt x="788670" y="1036320"/>
                    </a:lnTo>
                    <a:lnTo>
                      <a:pt x="838200" y="1024890"/>
                    </a:lnTo>
                    <a:lnTo>
                      <a:pt x="933450" y="1024890"/>
                    </a:lnTo>
                    <a:lnTo>
                      <a:pt x="982980" y="1005840"/>
                    </a:lnTo>
                    <a:lnTo>
                      <a:pt x="1036320" y="979170"/>
                    </a:lnTo>
                    <a:lnTo>
                      <a:pt x="1112520" y="971550"/>
                    </a:lnTo>
                    <a:lnTo>
                      <a:pt x="1135380" y="956310"/>
                    </a:lnTo>
                    <a:lnTo>
                      <a:pt x="1135380" y="918210"/>
                    </a:lnTo>
                    <a:lnTo>
                      <a:pt x="1108710" y="872490"/>
                    </a:lnTo>
                    <a:lnTo>
                      <a:pt x="1104900" y="830580"/>
                    </a:lnTo>
                    <a:lnTo>
                      <a:pt x="1097280" y="792480"/>
                    </a:lnTo>
                    <a:lnTo>
                      <a:pt x="1085850" y="731520"/>
                    </a:lnTo>
                    <a:lnTo>
                      <a:pt x="1028700" y="681990"/>
                    </a:lnTo>
                    <a:lnTo>
                      <a:pt x="1013460" y="575310"/>
                    </a:lnTo>
                    <a:lnTo>
                      <a:pt x="982980" y="533400"/>
                    </a:lnTo>
                    <a:lnTo>
                      <a:pt x="895350" y="563880"/>
                    </a:lnTo>
                    <a:lnTo>
                      <a:pt x="857250" y="533400"/>
                    </a:lnTo>
                    <a:lnTo>
                      <a:pt x="826770" y="495300"/>
                    </a:lnTo>
                    <a:lnTo>
                      <a:pt x="834390" y="445770"/>
                    </a:lnTo>
                    <a:lnTo>
                      <a:pt x="906780" y="422910"/>
                    </a:lnTo>
                    <a:lnTo>
                      <a:pt x="925830" y="396240"/>
                    </a:lnTo>
                    <a:lnTo>
                      <a:pt x="883920" y="255270"/>
                    </a:lnTo>
                    <a:lnTo>
                      <a:pt x="906780" y="129540"/>
                    </a:lnTo>
                    <a:lnTo>
                      <a:pt x="872490" y="87630"/>
                    </a:lnTo>
                    <a:lnTo>
                      <a:pt x="842010" y="76200"/>
                    </a:lnTo>
                    <a:lnTo>
                      <a:pt x="815340" y="57150"/>
                    </a:lnTo>
                    <a:lnTo>
                      <a:pt x="811530" y="0"/>
                    </a:lnTo>
                    <a:lnTo>
                      <a:pt x="727710" y="60960"/>
                    </a:lnTo>
                    <a:lnTo>
                      <a:pt x="678180" y="26670"/>
                    </a:lnTo>
                    <a:lnTo>
                      <a:pt x="640080" y="49530"/>
                    </a:lnTo>
                    <a:lnTo>
                      <a:pt x="640080" y="95250"/>
                    </a:lnTo>
                    <a:lnTo>
                      <a:pt x="609600" y="190500"/>
                    </a:lnTo>
                    <a:lnTo>
                      <a:pt x="621030" y="259080"/>
                    </a:lnTo>
                    <a:lnTo>
                      <a:pt x="659130" y="365760"/>
                    </a:lnTo>
                    <a:lnTo>
                      <a:pt x="643890" y="392430"/>
                    </a:lnTo>
                    <a:lnTo>
                      <a:pt x="582930" y="426720"/>
                    </a:lnTo>
                    <a:lnTo>
                      <a:pt x="544830" y="445770"/>
                    </a:lnTo>
                    <a:lnTo>
                      <a:pt x="529590" y="476250"/>
                    </a:lnTo>
                    <a:lnTo>
                      <a:pt x="537210" y="521970"/>
                    </a:lnTo>
                    <a:lnTo>
                      <a:pt x="586740" y="621030"/>
                    </a:lnTo>
                    <a:lnTo>
                      <a:pt x="579120" y="655320"/>
                    </a:lnTo>
                    <a:lnTo>
                      <a:pt x="529590" y="681990"/>
                    </a:lnTo>
                    <a:lnTo>
                      <a:pt x="510540" y="720090"/>
                    </a:lnTo>
                    <a:lnTo>
                      <a:pt x="510540" y="781050"/>
                    </a:lnTo>
                    <a:lnTo>
                      <a:pt x="457200" y="811530"/>
                    </a:lnTo>
                    <a:lnTo>
                      <a:pt x="422910" y="883920"/>
                    </a:lnTo>
                    <a:lnTo>
                      <a:pt x="369570" y="910590"/>
                    </a:lnTo>
                    <a:lnTo>
                      <a:pt x="316230" y="1009650"/>
                    </a:lnTo>
                    <a:lnTo>
                      <a:pt x="300990" y="1055370"/>
                    </a:lnTo>
                    <a:lnTo>
                      <a:pt x="247650" y="1082040"/>
                    </a:lnTo>
                    <a:lnTo>
                      <a:pt x="171450" y="1150620"/>
                    </a:lnTo>
                    <a:lnTo>
                      <a:pt x="137160" y="1169670"/>
                    </a:lnTo>
                    <a:lnTo>
                      <a:pt x="95250" y="1181100"/>
                    </a:lnTo>
                    <a:lnTo>
                      <a:pt x="68580" y="1223010"/>
                    </a:lnTo>
                    <a:lnTo>
                      <a:pt x="0" y="1295400"/>
                    </a:lnTo>
                    <a:close/>
                  </a:path>
                </a:pathLst>
              </a:cu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36" name="任意多边形 35"/>
              <p:cNvSpPr/>
              <p:nvPr/>
            </p:nvSpPr>
            <p:spPr bwMode="auto">
              <a:xfrm>
                <a:off x="4943862" y="2683316"/>
                <a:ext cx="626949" cy="388182"/>
              </a:xfrm>
              <a:custGeom>
                <a:avLst/>
                <a:gdLst>
                  <a:gd name="connsiteX0" fmla="*/ 0 w 491490"/>
                  <a:gd name="connsiteY0" fmla="*/ 68580 h 445770"/>
                  <a:gd name="connsiteX1" fmla="*/ 15240 w 491490"/>
                  <a:gd name="connsiteY1" fmla="*/ 152400 h 445770"/>
                  <a:gd name="connsiteX2" fmla="*/ 26670 w 491490"/>
                  <a:gd name="connsiteY2" fmla="*/ 179070 h 445770"/>
                  <a:gd name="connsiteX3" fmla="*/ 57150 w 491490"/>
                  <a:gd name="connsiteY3" fmla="*/ 209550 h 445770"/>
                  <a:gd name="connsiteX4" fmla="*/ 68580 w 491490"/>
                  <a:gd name="connsiteY4" fmla="*/ 270510 h 445770"/>
                  <a:gd name="connsiteX5" fmla="*/ 91440 w 491490"/>
                  <a:gd name="connsiteY5" fmla="*/ 327660 h 445770"/>
                  <a:gd name="connsiteX6" fmla="*/ 102870 w 491490"/>
                  <a:gd name="connsiteY6" fmla="*/ 377190 h 445770"/>
                  <a:gd name="connsiteX7" fmla="*/ 121920 w 491490"/>
                  <a:gd name="connsiteY7" fmla="*/ 392430 h 445770"/>
                  <a:gd name="connsiteX8" fmla="*/ 167640 w 491490"/>
                  <a:gd name="connsiteY8" fmla="*/ 392430 h 445770"/>
                  <a:gd name="connsiteX9" fmla="*/ 220980 w 491490"/>
                  <a:gd name="connsiteY9" fmla="*/ 434340 h 445770"/>
                  <a:gd name="connsiteX10" fmla="*/ 342900 w 491490"/>
                  <a:gd name="connsiteY10" fmla="*/ 445770 h 445770"/>
                  <a:gd name="connsiteX11" fmla="*/ 369570 w 491490"/>
                  <a:gd name="connsiteY11" fmla="*/ 445770 h 445770"/>
                  <a:gd name="connsiteX12" fmla="*/ 396240 w 491490"/>
                  <a:gd name="connsiteY12" fmla="*/ 422910 h 445770"/>
                  <a:gd name="connsiteX13" fmla="*/ 430530 w 491490"/>
                  <a:gd name="connsiteY13" fmla="*/ 400050 h 445770"/>
                  <a:gd name="connsiteX14" fmla="*/ 441960 w 491490"/>
                  <a:gd name="connsiteY14" fmla="*/ 346710 h 445770"/>
                  <a:gd name="connsiteX15" fmla="*/ 487680 w 491490"/>
                  <a:gd name="connsiteY15" fmla="*/ 270510 h 445770"/>
                  <a:gd name="connsiteX16" fmla="*/ 491490 w 491490"/>
                  <a:gd name="connsiteY16" fmla="*/ 236220 h 445770"/>
                  <a:gd name="connsiteX17" fmla="*/ 453390 w 491490"/>
                  <a:gd name="connsiteY17" fmla="*/ 171450 h 445770"/>
                  <a:gd name="connsiteX18" fmla="*/ 411480 w 491490"/>
                  <a:gd name="connsiteY18" fmla="*/ 99060 h 445770"/>
                  <a:gd name="connsiteX19" fmla="*/ 365760 w 491490"/>
                  <a:gd name="connsiteY19" fmla="*/ 83820 h 445770"/>
                  <a:gd name="connsiteX20" fmla="*/ 308610 w 491490"/>
                  <a:gd name="connsiteY20" fmla="*/ 0 h 445770"/>
                  <a:gd name="connsiteX21" fmla="*/ 281940 w 491490"/>
                  <a:gd name="connsiteY21" fmla="*/ 7620 h 445770"/>
                  <a:gd name="connsiteX22" fmla="*/ 213360 w 491490"/>
                  <a:gd name="connsiteY22" fmla="*/ 7620 h 445770"/>
                  <a:gd name="connsiteX23" fmla="*/ 118110 w 491490"/>
                  <a:gd name="connsiteY23" fmla="*/ 57150 h 445770"/>
                  <a:gd name="connsiteX24" fmla="*/ 0 w 491490"/>
                  <a:gd name="connsiteY24" fmla="*/ 68580 h 44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490" h="445770">
                    <a:moveTo>
                      <a:pt x="0" y="68580"/>
                    </a:moveTo>
                    <a:lnTo>
                      <a:pt x="15240" y="152400"/>
                    </a:lnTo>
                    <a:lnTo>
                      <a:pt x="26670" y="179070"/>
                    </a:lnTo>
                    <a:lnTo>
                      <a:pt x="57150" y="209550"/>
                    </a:lnTo>
                    <a:lnTo>
                      <a:pt x="68580" y="270510"/>
                    </a:lnTo>
                    <a:lnTo>
                      <a:pt x="91440" y="327660"/>
                    </a:lnTo>
                    <a:lnTo>
                      <a:pt x="102870" y="377190"/>
                    </a:lnTo>
                    <a:lnTo>
                      <a:pt x="121920" y="392430"/>
                    </a:lnTo>
                    <a:lnTo>
                      <a:pt x="167640" y="392430"/>
                    </a:lnTo>
                    <a:lnTo>
                      <a:pt x="220980" y="434340"/>
                    </a:lnTo>
                    <a:lnTo>
                      <a:pt x="342900" y="445770"/>
                    </a:lnTo>
                    <a:lnTo>
                      <a:pt x="369570" y="445770"/>
                    </a:lnTo>
                    <a:lnTo>
                      <a:pt x="396240" y="422910"/>
                    </a:lnTo>
                    <a:lnTo>
                      <a:pt x="430530" y="400050"/>
                    </a:lnTo>
                    <a:lnTo>
                      <a:pt x="441960" y="346710"/>
                    </a:lnTo>
                    <a:lnTo>
                      <a:pt x="487680" y="270510"/>
                    </a:lnTo>
                    <a:lnTo>
                      <a:pt x="491490" y="236220"/>
                    </a:lnTo>
                    <a:lnTo>
                      <a:pt x="453390" y="171450"/>
                    </a:lnTo>
                    <a:lnTo>
                      <a:pt x="411480" y="99060"/>
                    </a:lnTo>
                    <a:lnTo>
                      <a:pt x="365760" y="83820"/>
                    </a:lnTo>
                    <a:lnTo>
                      <a:pt x="308610" y="0"/>
                    </a:lnTo>
                    <a:lnTo>
                      <a:pt x="281940" y="7620"/>
                    </a:lnTo>
                    <a:lnTo>
                      <a:pt x="213360" y="7620"/>
                    </a:lnTo>
                    <a:lnTo>
                      <a:pt x="118110" y="57150"/>
                    </a:lnTo>
                    <a:lnTo>
                      <a:pt x="0" y="68580"/>
                    </a:lnTo>
                    <a:close/>
                  </a:path>
                </a:pathLst>
              </a:cu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grpSp>
          <p:nvGrpSpPr>
            <p:cNvPr id="117" name="组合 116"/>
            <p:cNvGrpSpPr/>
            <p:nvPr/>
          </p:nvGrpSpPr>
          <p:grpSpPr>
            <a:xfrm>
              <a:off x="4595008" y="2428868"/>
              <a:ext cx="928694" cy="562751"/>
              <a:chOff x="4595008" y="2428868"/>
              <a:chExt cx="928694" cy="562751"/>
            </a:xfrm>
            <a:grpFill/>
          </p:grpSpPr>
          <p:sp>
            <p:nvSpPr>
              <p:cNvPr id="115" name="TextBox 114"/>
              <p:cNvSpPr txBox="1"/>
              <p:nvPr/>
            </p:nvSpPr>
            <p:spPr>
              <a:xfrm>
                <a:off x="4595008" y="2428868"/>
                <a:ext cx="500066" cy="276999"/>
              </a:xfrm>
              <a:prstGeom prst="rect">
                <a:avLst/>
              </a:prstGeom>
              <a:grp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济南</a:t>
                </a:r>
                <a:endParaRPr lang="zh-CN" altLang="en-US" sz="1200" dirty="0" smtClean="0">
                  <a:latin typeface="微软雅黑" panose="020B0503020204020204" pitchFamily="34" charset="-122"/>
                  <a:ea typeface="微软雅黑" panose="020B0503020204020204" pitchFamily="34" charset="-122"/>
                </a:endParaRPr>
              </a:p>
            </p:txBody>
          </p:sp>
          <p:sp>
            <p:nvSpPr>
              <p:cNvPr id="116" name="TextBox 115"/>
              <p:cNvSpPr txBox="1"/>
              <p:nvPr/>
            </p:nvSpPr>
            <p:spPr>
              <a:xfrm>
                <a:off x="5023636" y="2714620"/>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莱芜</a:t>
                </a:r>
                <a:endParaRPr lang="zh-CN" altLang="en-US" sz="1200" dirty="0" smtClean="0">
                  <a:latin typeface="微软雅黑" panose="020B0503020204020204" pitchFamily="34" charset="-122"/>
                  <a:ea typeface="微软雅黑" panose="020B0503020204020204" pitchFamily="34" charset="-122"/>
                </a:endParaRPr>
              </a:p>
            </p:txBody>
          </p:sp>
        </p:grpSp>
      </p:grpSp>
      <p:sp>
        <p:nvSpPr>
          <p:cNvPr id="129" name="TextBox 128"/>
          <p:cNvSpPr txBox="1"/>
          <p:nvPr/>
        </p:nvSpPr>
        <p:spPr>
          <a:xfrm>
            <a:off x="3166248" y="3714752"/>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菏泽</a:t>
            </a:r>
            <a:endParaRPr lang="zh-CN" altLang="en-US" sz="1200" dirty="0" smtClean="0">
              <a:latin typeface="微软雅黑" panose="020B0503020204020204" pitchFamily="34" charset="-122"/>
              <a:ea typeface="微软雅黑" panose="020B0503020204020204" pitchFamily="34" charset="-122"/>
            </a:endParaRPr>
          </a:p>
        </p:txBody>
      </p:sp>
      <p:sp>
        <p:nvSpPr>
          <p:cNvPr id="130" name="TextBox 129"/>
          <p:cNvSpPr txBox="1"/>
          <p:nvPr/>
        </p:nvSpPr>
        <p:spPr>
          <a:xfrm>
            <a:off x="4094942" y="3500438"/>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济宁</a:t>
            </a:r>
            <a:endParaRPr lang="zh-CN" altLang="en-US" sz="1200" dirty="0" smtClean="0">
              <a:latin typeface="微软雅黑" panose="020B0503020204020204" pitchFamily="34" charset="-122"/>
              <a:ea typeface="微软雅黑" panose="020B0503020204020204" pitchFamily="34" charset="-122"/>
            </a:endParaRPr>
          </a:p>
        </p:txBody>
      </p:sp>
      <p:sp>
        <p:nvSpPr>
          <p:cNvPr id="131" name="TextBox 130"/>
          <p:cNvSpPr txBox="1"/>
          <p:nvPr/>
        </p:nvSpPr>
        <p:spPr>
          <a:xfrm>
            <a:off x="4809322" y="3857628"/>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枣庄</a:t>
            </a:r>
            <a:endParaRPr lang="zh-CN" altLang="en-US" sz="1200" dirty="0" smtClean="0">
              <a:latin typeface="微软雅黑" panose="020B0503020204020204" pitchFamily="34" charset="-122"/>
              <a:ea typeface="微软雅黑" panose="020B0503020204020204" pitchFamily="34" charset="-122"/>
            </a:endParaRPr>
          </a:p>
        </p:txBody>
      </p:sp>
      <p:sp>
        <p:nvSpPr>
          <p:cNvPr id="132" name="TextBox 131"/>
          <p:cNvSpPr txBox="1"/>
          <p:nvPr/>
        </p:nvSpPr>
        <p:spPr>
          <a:xfrm>
            <a:off x="5595140" y="3643314"/>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临沂</a:t>
            </a:r>
            <a:endParaRPr lang="zh-CN" altLang="en-US" sz="1200" dirty="0" smtClean="0">
              <a:latin typeface="微软雅黑" panose="020B0503020204020204" pitchFamily="34" charset="-122"/>
              <a:ea typeface="微软雅黑" panose="020B0503020204020204" pitchFamily="34" charset="-122"/>
            </a:endParaRPr>
          </a:p>
        </p:txBody>
      </p:sp>
      <p:sp>
        <p:nvSpPr>
          <p:cNvPr id="133" name="TextBox 132"/>
          <p:cNvSpPr txBox="1"/>
          <p:nvPr/>
        </p:nvSpPr>
        <p:spPr>
          <a:xfrm>
            <a:off x="6452396" y="3286124"/>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日照</a:t>
            </a:r>
            <a:endParaRPr lang="zh-CN" altLang="en-US" sz="1200" dirty="0" smtClean="0">
              <a:latin typeface="微软雅黑" panose="020B0503020204020204" pitchFamily="34" charset="-122"/>
              <a:ea typeface="微软雅黑" panose="020B0503020204020204" pitchFamily="34" charset="-122"/>
            </a:endParaRPr>
          </a:p>
        </p:txBody>
      </p:sp>
      <p:sp>
        <p:nvSpPr>
          <p:cNvPr id="134" name="TextBox 133"/>
          <p:cNvSpPr txBox="1"/>
          <p:nvPr/>
        </p:nvSpPr>
        <p:spPr>
          <a:xfrm>
            <a:off x="7523966" y="2500306"/>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青岛</a:t>
            </a:r>
            <a:endParaRPr lang="zh-CN" altLang="en-US" sz="1200" dirty="0" smtClean="0">
              <a:latin typeface="微软雅黑" panose="020B0503020204020204" pitchFamily="34" charset="-122"/>
              <a:ea typeface="微软雅黑" panose="020B0503020204020204" pitchFamily="34" charset="-122"/>
            </a:endParaRPr>
          </a:p>
        </p:txBody>
      </p:sp>
      <p:sp>
        <p:nvSpPr>
          <p:cNvPr id="135" name="TextBox 134"/>
          <p:cNvSpPr txBox="1"/>
          <p:nvPr/>
        </p:nvSpPr>
        <p:spPr>
          <a:xfrm>
            <a:off x="6452396" y="2571744"/>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潍坊</a:t>
            </a:r>
            <a:endParaRPr lang="zh-CN" altLang="en-US" sz="1200" dirty="0" smtClean="0">
              <a:latin typeface="微软雅黑" panose="020B0503020204020204" pitchFamily="34" charset="-122"/>
              <a:ea typeface="微软雅黑" panose="020B0503020204020204" pitchFamily="34" charset="-122"/>
            </a:endParaRPr>
          </a:p>
        </p:txBody>
      </p:sp>
      <p:sp>
        <p:nvSpPr>
          <p:cNvPr id="136" name="TextBox 135"/>
          <p:cNvSpPr txBox="1"/>
          <p:nvPr/>
        </p:nvSpPr>
        <p:spPr>
          <a:xfrm>
            <a:off x="8095470" y="1928802"/>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烟台</a:t>
            </a:r>
            <a:endParaRPr lang="zh-CN" altLang="en-US" sz="1200" dirty="0" smtClean="0">
              <a:latin typeface="微软雅黑" panose="020B0503020204020204" pitchFamily="34" charset="-122"/>
              <a:ea typeface="微软雅黑" panose="020B0503020204020204" pitchFamily="34" charset="-122"/>
            </a:endParaRPr>
          </a:p>
        </p:txBody>
      </p:sp>
      <p:sp>
        <p:nvSpPr>
          <p:cNvPr id="137" name="TextBox 136"/>
          <p:cNvSpPr txBox="1"/>
          <p:nvPr/>
        </p:nvSpPr>
        <p:spPr>
          <a:xfrm>
            <a:off x="9167040" y="2000240"/>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威海</a:t>
            </a:r>
            <a:endParaRPr lang="zh-CN" altLang="en-US" sz="1200" dirty="0" smtClean="0">
              <a:latin typeface="微软雅黑" panose="020B0503020204020204" pitchFamily="34" charset="-122"/>
              <a:ea typeface="微软雅黑" panose="020B0503020204020204" pitchFamily="34" charset="-122"/>
            </a:endParaRPr>
          </a:p>
        </p:txBody>
      </p:sp>
      <p:sp>
        <p:nvSpPr>
          <p:cNvPr id="138" name="TextBox 137"/>
          <p:cNvSpPr txBox="1"/>
          <p:nvPr/>
        </p:nvSpPr>
        <p:spPr>
          <a:xfrm>
            <a:off x="3523438" y="2500306"/>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聊城</a:t>
            </a:r>
            <a:endParaRPr lang="zh-CN" altLang="en-US" sz="1200" dirty="0" smtClean="0">
              <a:latin typeface="微软雅黑" panose="020B0503020204020204" pitchFamily="34" charset="-122"/>
              <a:ea typeface="微软雅黑" panose="020B0503020204020204" pitchFamily="34" charset="-122"/>
            </a:endParaRPr>
          </a:p>
        </p:txBody>
      </p:sp>
      <p:sp>
        <p:nvSpPr>
          <p:cNvPr id="139" name="TextBox 138"/>
          <p:cNvSpPr txBox="1"/>
          <p:nvPr/>
        </p:nvSpPr>
        <p:spPr>
          <a:xfrm>
            <a:off x="4166380" y="1928802"/>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德州</a:t>
            </a:r>
            <a:endParaRPr lang="zh-CN" altLang="en-US" sz="1200" dirty="0" smtClean="0">
              <a:latin typeface="微软雅黑" panose="020B0503020204020204" pitchFamily="34" charset="-122"/>
              <a:ea typeface="微软雅黑" panose="020B0503020204020204" pitchFamily="34" charset="-122"/>
            </a:endParaRPr>
          </a:p>
        </p:txBody>
      </p:sp>
      <p:sp>
        <p:nvSpPr>
          <p:cNvPr id="140" name="TextBox 139"/>
          <p:cNvSpPr txBox="1"/>
          <p:nvPr/>
        </p:nvSpPr>
        <p:spPr>
          <a:xfrm>
            <a:off x="4523570" y="2928934"/>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泰安</a:t>
            </a:r>
            <a:endParaRPr lang="zh-CN" altLang="en-US" sz="1200" dirty="0" smtClean="0">
              <a:latin typeface="微软雅黑" panose="020B0503020204020204" pitchFamily="34" charset="-122"/>
              <a:ea typeface="微软雅黑" panose="020B0503020204020204" pitchFamily="34" charset="-122"/>
            </a:endParaRPr>
          </a:p>
        </p:txBody>
      </p:sp>
      <p:sp>
        <p:nvSpPr>
          <p:cNvPr id="141" name="TextBox 140"/>
          <p:cNvSpPr txBox="1"/>
          <p:nvPr/>
        </p:nvSpPr>
        <p:spPr>
          <a:xfrm>
            <a:off x="5523702" y="2428868"/>
            <a:ext cx="357190" cy="461665"/>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淄博</a:t>
            </a:r>
            <a:endParaRPr lang="zh-CN" altLang="en-US" sz="1200" dirty="0" smtClean="0">
              <a:latin typeface="微软雅黑" panose="020B0503020204020204" pitchFamily="34" charset="-122"/>
              <a:ea typeface="微软雅黑" panose="020B0503020204020204" pitchFamily="34" charset="-122"/>
            </a:endParaRPr>
          </a:p>
        </p:txBody>
      </p:sp>
      <p:sp>
        <p:nvSpPr>
          <p:cNvPr id="142" name="TextBox 141"/>
          <p:cNvSpPr txBox="1"/>
          <p:nvPr/>
        </p:nvSpPr>
        <p:spPr>
          <a:xfrm>
            <a:off x="5166512" y="1714488"/>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东营</a:t>
            </a:r>
            <a:endParaRPr lang="zh-CN" altLang="en-US" sz="1200" dirty="0" smtClean="0">
              <a:latin typeface="微软雅黑" panose="020B0503020204020204" pitchFamily="34" charset="-122"/>
              <a:ea typeface="微软雅黑" panose="020B0503020204020204" pitchFamily="34" charset="-122"/>
            </a:endParaRPr>
          </a:p>
        </p:txBody>
      </p:sp>
      <p:sp>
        <p:nvSpPr>
          <p:cNvPr id="143" name="TextBox 142"/>
          <p:cNvSpPr txBox="1"/>
          <p:nvPr/>
        </p:nvSpPr>
        <p:spPr>
          <a:xfrm>
            <a:off x="5952330" y="1714488"/>
            <a:ext cx="500066" cy="276999"/>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滨州</a:t>
            </a:r>
            <a:endParaRPr lang="zh-CN" altLang="en-US" sz="1200" dirty="0" smtClean="0">
              <a:latin typeface="微软雅黑" panose="020B0503020204020204" pitchFamily="34" charset="-122"/>
              <a:ea typeface="微软雅黑" panose="020B0503020204020204" pitchFamily="34" charset="-122"/>
            </a:endParaRPr>
          </a:p>
        </p:txBody>
      </p:sp>
      <p:grpSp>
        <p:nvGrpSpPr>
          <p:cNvPr id="114" name="组合 113"/>
          <p:cNvGrpSpPr/>
          <p:nvPr/>
        </p:nvGrpSpPr>
        <p:grpSpPr>
          <a:xfrm>
            <a:off x="8881288" y="4786322"/>
            <a:ext cx="1000132" cy="1460667"/>
            <a:chOff x="8595536" y="4929198"/>
            <a:chExt cx="1000132" cy="1460667"/>
          </a:xfrm>
        </p:grpSpPr>
        <p:sp>
          <p:nvSpPr>
            <p:cNvPr id="123" name="TextBox 122"/>
            <p:cNvSpPr txBox="1"/>
            <p:nvPr/>
          </p:nvSpPr>
          <p:spPr>
            <a:xfrm>
              <a:off x="8666974" y="6143644"/>
              <a:ext cx="928694" cy="246221"/>
            </a:xfrm>
            <a:prstGeom prst="rect">
              <a:avLst/>
            </a:prstGeom>
            <a:noFill/>
          </p:spPr>
          <p:txBody>
            <a:bodyPr wrap="square" rtlCol="0" anchor="ctr">
              <a:spAutoFit/>
            </a:bodyPr>
            <a:lstStyle/>
            <a:p>
              <a:r>
                <a:rPr lang="en-US" altLang="zh-CN" sz="1000" dirty="0" smtClean="0">
                  <a:latin typeface="微软雅黑" panose="020B0503020204020204" pitchFamily="34" charset="-122"/>
                  <a:ea typeface="微软雅黑" panose="020B0503020204020204" pitchFamily="34" charset="-122"/>
                </a:rPr>
                <a:t>2017</a:t>
              </a:r>
              <a:r>
                <a:rPr lang="zh-CN" altLang="en-US" sz="1000" dirty="0" smtClean="0">
                  <a:latin typeface="微软雅黑" panose="020B0503020204020204" pitchFamily="34" charset="-122"/>
                  <a:ea typeface="微软雅黑" panose="020B0503020204020204" pitchFamily="34" charset="-122"/>
                </a:rPr>
                <a:t>年</a:t>
              </a:r>
              <a:r>
                <a:rPr lang="en-US" altLang="zh-CN" sz="1000" dirty="0" smtClean="0">
                  <a:latin typeface="微软雅黑" panose="020B0503020204020204" pitchFamily="34" charset="-122"/>
                  <a:ea typeface="微软雅黑" panose="020B0503020204020204" pitchFamily="34" charset="-122"/>
                </a:rPr>
                <a:t>4</a:t>
              </a:r>
              <a:r>
                <a:rPr lang="zh-CN" altLang="en-US" sz="1000" dirty="0" smtClean="0">
                  <a:latin typeface="微软雅黑" panose="020B0503020204020204" pitchFamily="34" charset="-122"/>
                  <a:ea typeface="微软雅黑" panose="020B0503020204020204" pitchFamily="34" charset="-122"/>
                </a:rPr>
                <a:t>月</a:t>
              </a:r>
              <a:endParaRPr lang="zh-CN" altLang="en-US" sz="1000" dirty="0" smtClean="0">
                <a:latin typeface="微软雅黑" panose="020B0503020204020204" pitchFamily="34" charset="-122"/>
                <a:ea typeface="微软雅黑" panose="020B0503020204020204" pitchFamily="34" charset="-122"/>
              </a:endParaRPr>
            </a:p>
          </p:txBody>
        </p:sp>
        <p:grpSp>
          <p:nvGrpSpPr>
            <p:cNvPr id="144" name="组合 103"/>
            <p:cNvGrpSpPr/>
            <p:nvPr/>
          </p:nvGrpSpPr>
          <p:grpSpPr>
            <a:xfrm>
              <a:off x="8595536" y="4929198"/>
              <a:ext cx="857256" cy="950198"/>
              <a:chOff x="594480" y="5000636"/>
              <a:chExt cx="857256" cy="950198"/>
            </a:xfrm>
          </p:grpSpPr>
          <p:sp>
            <p:nvSpPr>
              <p:cNvPr id="145" name="TextBox 144"/>
              <p:cNvSpPr txBox="1"/>
              <p:nvPr/>
            </p:nvSpPr>
            <p:spPr>
              <a:xfrm>
                <a:off x="594480" y="5000636"/>
                <a:ext cx="857256" cy="461665"/>
              </a:xfrm>
              <a:prstGeom prst="rect">
                <a:avLst/>
              </a:prstGeom>
              <a:noFill/>
            </p:spPr>
            <p:txBody>
              <a:bodyPr wrap="square" rtlCol="0" anchor="ctr">
                <a:spAutoFit/>
              </a:bodyPr>
              <a:lstStyle/>
              <a:p>
                <a:pPr algn="ctr"/>
                <a:r>
                  <a:rPr lang="zh-CN" altLang="en-US" sz="1200" dirty="0" smtClean="0">
                    <a:latin typeface="微软雅黑" panose="020B0503020204020204" pitchFamily="34" charset="-122"/>
                    <a:ea typeface="微软雅黑" panose="020B0503020204020204" pitchFamily="34" charset="-122"/>
                  </a:rPr>
                  <a:t>菏泽</a:t>
                </a:r>
                <a:endParaRPr lang="en-US" altLang="zh-CN" sz="1200" dirty="0" smtClean="0">
                  <a:latin typeface="微软雅黑" panose="020B0503020204020204" pitchFamily="34" charset="-122"/>
                  <a:ea typeface="微软雅黑" panose="020B0503020204020204" pitchFamily="34" charset="-122"/>
                </a:endParaRPr>
              </a:p>
              <a:p>
                <a:pPr algn="ctr"/>
                <a:r>
                  <a:rPr lang="zh-CN" altLang="en-US" sz="1200" dirty="0" smtClean="0">
                    <a:latin typeface="微软雅黑" panose="020B0503020204020204" pitchFamily="34" charset="-122"/>
                    <a:ea typeface="微软雅黑" panose="020B0503020204020204" pitchFamily="34" charset="-122"/>
                  </a:rPr>
                  <a:t>办事处</a:t>
                </a:r>
                <a:endParaRPr lang="en-US" altLang="zh-CN" sz="1200" dirty="0" smtClean="0">
                  <a:latin typeface="微软雅黑" panose="020B0503020204020204" pitchFamily="34" charset="-122"/>
                  <a:ea typeface="微软雅黑" panose="020B0503020204020204" pitchFamily="34" charset="-122"/>
                </a:endParaRPr>
              </a:p>
            </p:txBody>
          </p:sp>
          <p:grpSp>
            <p:nvGrpSpPr>
              <p:cNvPr id="146" name="组合 63"/>
              <p:cNvGrpSpPr/>
              <p:nvPr/>
            </p:nvGrpSpPr>
            <p:grpSpPr>
              <a:xfrm>
                <a:off x="880232" y="5643577"/>
                <a:ext cx="273351" cy="307257"/>
                <a:chOff x="8125599" y="1434035"/>
                <a:chExt cx="2036802" cy="2036802"/>
              </a:xfrm>
            </p:grpSpPr>
            <p:sp>
              <p:nvSpPr>
                <p:cNvPr id="147" name="椭圆 146"/>
                <p:cNvSpPr/>
                <p:nvPr/>
              </p:nvSpPr>
              <p:spPr>
                <a:xfrm>
                  <a:off x="8125599" y="1434035"/>
                  <a:ext cx="2036802" cy="2036802"/>
                </a:xfrm>
                <a:prstGeom prst="ellipse">
                  <a:avLst/>
                </a:prstGeom>
                <a:solidFill>
                  <a:srgbClr val="E62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48" name="Freeform 9"/>
                <p:cNvSpPr>
                  <a:spLocks noEditPoints="1"/>
                </p:cNvSpPr>
                <p:nvPr/>
              </p:nvSpPr>
              <p:spPr bwMode="auto">
                <a:xfrm rot="19469485">
                  <a:off x="8577911" y="1818271"/>
                  <a:ext cx="1162161" cy="1238354"/>
                </a:xfrm>
                <a:custGeom>
                  <a:avLst/>
                  <a:gdLst>
                    <a:gd name="T0" fmla="*/ 147 w 243"/>
                    <a:gd name="T1" fmla="*/ 240 h 269"/>
                    <a:gd name="T2" fmla="*/ 90 w 243"/>
                    <a:gd name="T3" fmla="*/ 234 h 269"/>
                    <a:gd name="T4" fmla="*/ 147 w 243"/>
                    <a:gd name="T5" fmla="*/ 227 h 269"/>
                    <a:gd name="T6" fmla="*/ 147 w 243"/>
                    <a:gd name="T7" fmla="*/ 243 h 269"/>
                    <a:gd name="T8" fmla="*/ 90 w 243"/>
                    <a:gd name="T9" fmla="*/ 252 h 269"/>
                    <a:gd name="T10" fmla="*/ 96 w 243"/>
                    <a:gd name="T11" fmla="*/ 256 h 269"/>
                    <a:gd name="T12" fmla="*/ 105 w 243"/>
                    <a:gd name="T13" fmla="*/ 262 h 269"/>
                    <a:gd name="T14" fmla="*/ 126 w 243"/>
                    <a:gd name="T15" fmla="*/ 269 h 269"/>
                    <a:gd name="T16" fmla="*/ 138 w 243"/>
                    <a:gd name="T17" fmla="*/ 261 h 269"/>
                    <a:gd name="T18" fmla="*/ 147 w 243"/>
                    <a:gd name="T19" fmla="*/ 256 h 269"/>
                    <a:gd name="T20" fmla="*/ 147 w 243"/>
                    <a:gd name="T21" fmla="*/ 243 h 269"/>
                    <a:gd name="T22" fmla="*/ 128 w 243"/>
                    <a:gd name="T23" fmla="*/ 32 h 269"/>
                    <a:gd name="T24" fmla="*/ 122 w 243"/>
                    <a:gd name="T25" fmla="*/ 0 h 269"/>
                    <a:gd name="T26" fmla="*/ 115 w 243"/>
                    <a:gd name="T27" fmla="*/ 32 h 269"/>
                    <a:gd name="T28" fmla="*/ 54 w 243"/>
                    <a:gd name="T29" fmla="*/ 63 h 269"/>
                    <a:gd name="T30" fmla="*/ 63 w 243"/>
                    <a:gd name="T31" fmla="*/ 63 h 269"/>
                    <a:gd name="T32" fmla="*/ 45 w 243"/>
                    <a:gd name="T33" fmla="*/ 36 h 269"/>
                    <a:gd name="T34" fmla="*/ 36 w 243"/>
                    <a:gd name="T35" fmla="*/ 45 h 269"/>
                    <a:gd name="T36" fmla="*/ 38 w 243"/>
                    <a:gd name="T37" fmla="*/ 122 h 269"/>
                    <a:gd name="T38" fmla="*/ 6 w 243"/>
                    <a:gd name="T39" fmla="*/ 115 h 269"/>
                    <a:gd name="T40" fmla="*/ 6 w 243"/>
                    <a:gd name="T41" fmla="*/ 128 h 269"/>
                    <a:gd name="T42" fmla="*/ 38 w 243"/>
                    <a:gd name="T43" fmla="*/ 122 h 269"/>
                    <a:gd name="T44" fmla="*/ 36 w 243"/>
                    <a:gd name="T45" fmla="*/ 199 h 269"/>
                    <a:gd name="T46" fmla="*/ 40 w 243"/>
                    <a:gd name="T47" fmla="*/ 209 h 269"/>
                    <a:gd name="T48" fmla="*/ 63 w 243"/>
                    <a:gd name="T49" fmla="*/ 189 h 269"/>
                    <a:gd name="T50" fmla="*/ 54 w 243"/>
                    <a:gd name="T51" fmla="*/ 180 h 269"/>
                    <a:gd name="T52" fmla="*/ 180 w 243"/>
                    <a:gd name="T53" fmla="*/ 180 h 269"/>
                    <a:gd name="T54" fmla="*/ 199 w 243"/>
                    <a:gd name="T55" fmla="*/ 208 h 269"/>
                    <a:gd name="T56" fmla="*/ 208 w 243"/>
                    <a:gd name="T57" fmla="*/ 208 h 269"/>
                    <a:gd name="T58" fmla="*/ 189 w 243"/>
                    <a:gd name="T59" fmla="*/ 180 h 269"/>
                    <a:gd name="T60" fmla="*/ 211 w 243"/>
                    <a:gd name="T61" fmla="*/ 115 h 269"/>
                    <a:gd name="T62" fmla="*/ 211 w 243"/>
                    <a:gd name="T63" fmla="*/ 128 h 269"/>
                    <a:gd name="T64" fmla="*/ 243 w 243"/>
                    <a:gd name="T65" fmla="*/ 122 h 269"/>
                    <a:gd name="T66" fmla="*/ 185 w 243"/>
                    <a:gd name="T67" fmla="*/ 65 h 269"/>
                    <a:gd name="T68" fmla="*/ 208 w 243"/>
                    <a:gd name="T69" fmla="*/ 45 h 269"/>
                    <a:gd name="T70" fmla="*/ 199 w 243"/>
                    <a:gd name="T71" fmla="*/ 36 h 269"/>
                    <a:gd name="T72" fmla="*/ 180 w 243"/>
                    <a:gd name="T73" fmla="*/ 63 h 269"/>
                    <a:gd name="T74" fmla="*/ 154 w 243"/>
                    <a:gd name="T75" fmla="*/ 218 h 269"/>
                    <a:gd name="T76" fmla="*/ 96 w 243"/>
                    <a:gd name="T77" fmla="*/ 224 h 269"/>
                    <a:gd name="T78" fmla="*/ 96 w 243"/>
                    <a:gd name="T79" fmla="*/ 211 h 269"/>
                    <a:gd name="T80" fmla="*/ 122 w 243"/>
                    <a:gd name="T81" fmla="*/ 58 h 269"/>
                    <a:gd name="T82" fmla="*/ 148 w 243"/>
                    <a:gd name="T83" fmla="*/ 211 h 269"/>
                    <a:gd name="T84" fmla="*/ 107 w 243"/>
                    <a:gd name="T85" fmla="*/ 76 h 269"/>
                    <a:gd name="T86" fmla="*/ 67 w 243"/>
                    <a:gd name="T87" fmla="*/ 111 h 269"/>
                    <a:gd name="T88" fmla="*/ 72 w 243"/>
                    <a:gd name="T89" fmla="*/ 117 h 269"/>
                    <a:gd name="T90" fmla="*/ 104 w 243"/>
                    <a:gd name="T91" fmla="*/ 8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69">
                      <a:moveTo>
                        <a:pt x="154" y="234"/>
                      </a:moveTo>
                      <a:cubicBezTo>
                        <a:pt x="154" y="237"/>
                        <a:pt x="151" y="240"/>
                        <a:pt x="147" y="240"/>
                      </a:cubicBezTo>
                      <a:cubicBezTo>
                        <a:pt x="96" y="240"/>
                        <a:pt x="96" y="240"/>
                        <a:pt x="96" y="240"/>
                      </a:cubicBezTo>
                      <a:cubicBezTo>
                        <a:pt x="92" y="240"/>
                        <a:pt x="90" y="237"/>
                        <a:pt x="90" y="234"/>
                      </a:cubicBezTo>
                      <a:cubicBezTo>
                        <a:pt x="90" y="230"/>
                        <a:pt x="92" y="227"/>
                        <a:pt x="96" y="227"/>
                      </a:cubicBezTo>
                      <a:cubicBezTo>
                        <a:pt x="147" y="227"/>
                        <a:pt x="147" y="227"/>
                        <a:pt x="147" y="227"/>
                      </a:cubicBezTo>
                      <a:cubicBezTo>
                        <a:pt x="151" y="227"/>
                        <a:pt x="154" y="230"/>
                        <a:pt x="154" y="234"/>
                      </a:cubicBezTo>
                      <a:close/>
                      <a:moveTo>
                        <a:pt x="147" y="243"/>
                      </a:moveTo>
                      <a:cubicBezTo>
                        <a:pt x="96" y="243"/>
                        <a:pt x="96" y="243"/>
                        <a:pt x="96" y="243"/>
                      </a:cubicBezTo>
                      <a:cubicBezTo>
                        <a:pt x="92" y="243"/>
                        <a:pt x="89" y="247"/>
                        <a:pt x="90" y="252"/>
                      </a:cubicBezTo>
                      <a:cubicBezTo>
                        <a:pt x="91" y="254"/>
                        <a:pt x="93" y="256"/>
                        <a:pt x="96" y="256"/>
                      </a:cubicBezTo>
                      <a:cubicBezTo>
                        <a:pt x="96" y="256"/>
                        <a:pt x="96" y="256"/>
                        <a:pt x="96" y="256"/>
                      </a:cubicBezTo>
                      <a:cubicBezTo>
                        <a:pt x="100" y="256"/>
                        <a:pt x="103" y="258"/>
                        <a:pt x="105" y="261"/>
                      </a:cubicBezTo>
                      <a:cubicBezTo>
                        <a:pt x="105" y="262"/>
                        <a:pt x="105" y="262"/>
                        <a:pt x="105" y="262"/>
                      </a:cubicBezTo>
                      <a:cubicBezTo>
                        <a:pt x="107" y="266"/>
                        <a:pt x="112" y="269"/>
                        <a:pt x="117" y="269"/>
                      </a:cubicBezTo>
                      <a:cubicBezTo>
                        <a:pt x="126" y="269"/>
                        <a:pt x="126" y="269"/>
                        <a:pt x="126" y="269"/>
                      </a:cubicBezTo>
                      <a:cubicBezTo>
                        <a:pt x="131" y="269"/>
                        <a:pt x="136" y="266"/>
                        <a:pt x="138" y="262"/>
                      </a:cubicBezTo>
                      <a:cubicBezTo>
                        <a:pt x="138" y="261"/>
                        <a:pt x="138" y="261"/>
                        <a:pt x="138" y="261"/>
                      </a:cubicBezTo>
                      <a:cubicBezTo>
                        <a:pt x="140" y="258"/>
                        <a:pt x="143" y="256"/>
                        <a:pt x="147" y="256"/>
                      </a:cubicBezTo>
                      <a:cubicBezTo>
                        <a:pt x="147" y="256"/>
                        <a:pt x="147" y="256"/>
                        <a:pt x="147" y="256"/>
                      </a:cubicBezTo>
                      <a:cubicBezTo>
                        <a:pt x="150" y="256"/>
                        <a:pt x="152" y="254"/>
                        <a:pt x="153" y="252"/>
                      </a:cubicBezTo>
                      <a:cubicBezTo>
                        <a:pt x="155" y="247"/>
                        <a:pt x="151" y="243"/>
                        <a:pt x="147" y="243"/>
                      </a:cubicBezTo>
                      <a:close/>
                      <a:moveTo>
                        <a:pt x="122" y="38"/>
                      </a:moveTo>
                      <a:cubicBezTo>
                        <a:pt x="125" y="38"/>
                        <a:pt x="128" y="36"/>
                        <a:pt x="128" y="32"/>
                      </a:cubicBezTo>
                      <a:cubicBezTo>
                        <a:pt x="128" y="6"/>
                        <a:pt x="128" y="6"/>
                        <a:pt x="128" y="6"/>
                      </a:cubicBezTo>
                      <a:cubicBezTo>
                        <a:pt x="128" y="3"/>
                        <a:pt x="125" y="0"/>
                        <a:pt x="122" y="0"/>
                      </a:cubicBezTo>
                      <a:cubicBezTo>
                        <a:pt x="118" y="0"/>
                        <a:pt x="115" y="3"/>
                        <a:pt x="115" y="6"/>
                      </a:cubicBezTo>
                      <a:cubicBezTo>
                        <a:pt x="115" y="32"/>
                        <a:pt x="115" y="32"/>
                        <a:pt x="115" y="32"/>
                      </a:cubicBezTo>
                      <a:cubicBezTo>
                        <a:pt x="115" y="36"/>
                        <a:pt x="118" y="38"/>
                        <a:pt x="122" y="38"/>
                      </a:cubicBezTo>
                      <a:close/>
                      <a:moveTo>
                        <a:pt x="54" y="63"/>
                      </a:moveTo>
                      <a:cubicBezTo>
                        <a:pt x="55" y="64"/>
                        <a:pt x="57" y="65"/>
                        <a:pt x="58" y="65"/>
                      </a:cubicBezTo>
                      <a:cubicBezTo>
                        <a:pt x="60" y="65"/>
                        <a:pt x="62" y="64"/>
                        <a:pt x="63" y="63"/>
                      </a:cubicBezTo>
                      <a:cubicBezTo>
                        <a:pt x="65" y="60"/>
                        <a:pt x="65" y="56"/>
                        <a:pt x="63" y="54"/>
                      </a:cubicBezTo>
                      <a:cubicBezTo>
                        <a:pt x="45" y="36"/>
                        <a:pt x="45" y="36"/>
                        <a:pt x="45" y="36"/>
                      </a:cubicBezTo>
                      <a:cubicBezTo>
                        <a:pt x="42" y="33"/>
                        <a:pt x="38" y="33"/>
                        <a:pt x="36" y="36"/>
                      </a:cubicBezTo>
                      <a:cubicBezTo>
                        <a:pt x="33" y="38"/>
                        <a:pt x="33" y="42"/>
                        <a:pt x="36" y="45"/>
                      </a:cubicBezTo>
                      <a:lnTo>
                        <a:pt x="54" y="63"/>
                      </a:lnTo>
                      <a:close/>
                      <a:moveTo>
                        <a:pt x="38" y="122"/>
                      </a:moveTo>
                      <a:cubicBezTo>
                        <a:pt x="38" y="118"/>
                        <a:pt x="36" y="115"/>
                        <a:pt x="32" y="115"/>
                      </a:cubicBezTo>
                      <a:cubicBezTo>
                        <a:pt x="6" y="115"/>
                        <a:pt x="6" y="115"/>
                        <a:pt x="6" y="115"/>
                      </a:cubicBezTo>
                      <a:cubicBezTo>
                        <a:pt x="3" y="115"/>
                        <a:pt x="0" y="118"/>
                        <a:pt x="0" y="122"/>
                      </a:cubicBezTo>
                      <a:cubicBezTo>
                        <a:pt x="0" y="125"/>
                        <a:pt x="3" y="128"/>
                        <a:pt x="6" y="128"/>
                      </a:cubicBezTo>
                      <a:cubicBezTo>
                        <a:pt x="32" y="128"/>
                        <a:pt x="32" y="128"/>
                        <a:pt x="32" y="128"/>
                      </a:cubicBezTo>
                      <a:cubicBezTo>
                        <a:pt x="36" y="128"/>
                        <a:pt x="38" y="125"/>
                        <a:pt x="38" y="122"/>
                      </a:cubicBezTo>
                      <a:close/>
                      <a:moveTo>
                        <a:pt x="54" y="180"/>
                      </a:moveTo>
                      <a:cubicBezTo>
                        <a:pt x="36" y="199"/>
                        <a:pt x="36" y="199"/>
                        <a:pt x="36" y="199"/>
                      </a:cubicBezTo>
                      <a:cubicBezTo>
                        <a:pt x="33" y="201"/>
                        <a:pt x="33" y="205"/>
                        <a:pt x="36" y="208"/>
                      </a:cubicBezTo>
                      <a:cubicBezTo>
                        <a:pt x="37" y="209"/>
                        <a:pt x="39" y="209"/>
                        <a:pt x="40" y="209"/>
                      </a:cubicBezTo>
                      <a:cubicBezTo>
                        <a:pt x="42" y="209"/>
                        <a:pt x="43" y="209"/>
                        <a:pt x="45" y="208"/>
                      </a:cubicBezTo>
                      <a:cubicBezTo>
                        <a:pt x="63" y="189"/>
                        <a:pt x="63" y="189"/>
                        <a:pt x="63" y="189"/>
                      </a:cubicBezTo>
                      <a:cubicBezTo>
                        <a:pt x="65" y="187"/>
                        <a:pt x="65" y="183"/>
                        <a:pt x="63" y="180"/>
                      </a:cubicBezTo>
                      <a:cubicBezTo>
                        <a:pt x="60" y="178"/>
                        <a:pt x="56" y="178"/>
                        <a:pt x="54" y="180"/>
                      </a:cubicBezTo>
                      <a:close/>
                      <a:moveTo>
                        <a:pt x="189" y="180"/>
                      </a:moveTo>
                      <a:cubicBezTo>
                        <a:pt x="187" y="178"/>
                        <a:pt x="183" y="178"/>
                        <a:pt x="180" y="180"/>
                      </a:cubicBezTo>
                      <a:cubicBezTo>
                        <a:pt x="178" y="183"/>
                        <a:pt x="178" y="187"/>
                        <a:pt x="180" y="189"/>
                      </a:cubicBezTo>
                      <a:cubicBezTo>
                        <a:pt x="199" y="208"/>
                        <a:pt x="199" y="208"/>
                        <a:pt x="199" y="208"/>
                      </a:cubicBezTo>
                      <a:cubicBezTo>
                        <a:pt x="200" y="209"/>
                        <a:pt x="201" y="209"/>
                        <a:pt x="203" y="209"/>
                      </a:cubicBezTo>
                      <a:cubicBezTo>
                        <a:pt x="205" y="209"/>
                        <a:pt x="206" y="209"/>
                        <a:pt x="208" y="208"/>
                      </a:cubicBezTo>
                      <a:cubicBezTo>
                        <a:pt x="210" y="205"/>
                        <a:pt x="210" y="201"/>
                        <a:pt x="208" y="199"/>
                      </a:cubicBezTo>
                      <a:lnTo>
                        <a:pt x="189" y="180"/>
                      </a:lnTo>
                      <a:close/>
                      <a:moveTo>
                        <a:pt x="237" y="115"/>
                      </a:moveTo>
                      <a:cubicBezTo>
                        <a:pt x="211" y="115"/>
                        <a:pt x="211" y="115"/>
                        <a:pt x="211" y="115"/>
                      </a:cubicBezTo>
                      <a:cubicBezTo>
                        <a:pt x="208" y="115"/>
                        <a:pt x="205" y="118"/>
                        <a:pt x="205" y="122"/>
                      </a:cubicBezTo>
                      <a:cubicBezTo>
                        <a:pt x="205" y="125"/>
                        <a:pt x="208" y="128"/>
                        <a:pt x="211" y="128"/>
                      </a:cubicBezTo>
                      <a:cubicBezTo>
                        <a:pt x="237" y="128"/>
                        <a:pt x="237" y="128"/>
                        <a:pt x="237" y="128"/>
                      </a:cubicBezTo>
                      <a:cubicBezTo>
                        <a:pt x="240" y="128"/>
                        <a:pt x="243" y="125"/>
                        <a:pt x="243" y="122"/>
                      </a:cubicBezTo>
                      <a:cubicBezTo>
                        <a:pt x="243" y="118"/>
                        <a:pt x="240" y="115"/>
                        <a:pt x="237" y="115"/>
                      </a:cubicBezTo>
                      <a:close/>
                      <a:moveTo>
                        <a:pt x="185" y="65"/>
                      </a:moveTo>
                      <a:cubicBezTo>
                        <a:pt x="187" y="65"/>
                        <a:pt x="188" y="64"/>
                        <a:pt x="189" y="63"/>
                      </a:cubicBezTo>
                      <a:cubicBezTo>
                        <a:pt x="208" y="45"/>
                        <a:pt x="208" y="45"/>
                        <a:pt x="208" y="45"/>
                      </a:cubicBezTo>
                      <a:cubicBezTo>
                        <a:pt x="210" y="42"/>
                        <a:pt x="210" y="38"/>
                        <a:pt x="208" y="36"/>
                      </a:cubicBezTo>
                      <a:cubicBezTo>
                        <a:pt x="205" y="33"/>
                        <a:pt x="201" y="33"/>
                        <a:pt x="199" y="36"/>
                      </a:cubicBezTo>
                      <a:cubicBezTo>
                        <a:pt x="180" y="54"/>
                        <a:pt x="180" y="54"/>
                        <a:pt x="180" y="54"/>
                      </a:cubicBezTo>
                      <a:cubicBezTo>
                        <a:pt x="178" y="56"/>
                        <a:pt x="178" y="60"/>
                        <a:pt x="180" y="63"/>
                      </a:cubicBezTo>
                      <a:cubicBezTo>
                        <a:pt x="182" y="64"/>
                        <a:pt x="183" y="65"/>
                        <a:pt x="185" y="65"/>
                      </a:cubicBezTo>
                      <a:close/>
                      <a:moveTo>
                        <a:pt x="154" y="218"/>
                      </a:moveTo>
                      <a:cubicBezTo>
                        <a:pt x="154" y="221"/>
                        <a:pt x="151" y="224"/>
                        <a:pt x="147" y="224"/>
                      </a:cubicBezTo>
                      <a:cubicBezTo>
                        <a:pt x="96" y="224"/>
                        <a:pt x="96" y="224"/>
                        <a:pt x="96" y="224"/>
                      </a:cubicBezTo>
                      <a:cubicBezTo>
                        <a:pt x="92" y="224"/>
                        <a:pt x="90" y="221"/>
                        <a:pt x="90" y="218"/>
                      </a:cubicBezTo>
                      <a:cubicBezTo>
                        <a:pt x="90" y="214"/>
                        <a:pt x="92" y="211"/>
                        <a:pt x="96" y="211"/>
                      </a:cubicBezTo>
                      <a:cubicBezTo>
                        <a:pt x="92" y="175"/>
                        <a:pt x="54" y="167"/>
                        <a:pt x="54" y="125"/>
                      </a:cubicBezTo>
                      <a:cubicBezTo>
                        <a:pt x="54" y="88"/>
                        <a:pt x="84" y="58"/>
                        <a:pt x="122" y="58"/>
                      </a:cubicBezTo>
                      <a:cubicBezTo>
                        <a:pt x="159" y="58"/>
                        <a:pt x="189" y="88"/>
                        <a:pt x="189" y="125"/>
                      </a:cubicBezTo>
                      <a:cubicBezTo>
                        <a:pt x="189" y="167"/>
                        <a:pt x="152" y="175"/>
                        <a:pt x="148" y="211"/>
                      </a:cubicBezTo>
                      <a:cubicBezTo>
                        <a:pt x="151" y="211"/>
                        <a:pt x="154" y="214"/>
                        <a:pt x="154" y="218"/>
                      </a:cubicBezTo>
                      <a:close/>
                      <a:moveTo>
                        <a:pt x="107" y="76"/>
                      </a:moveTo>
                      <a:cubicBezTo>
                        <a:pt x="106" y="73"/>
                        <a:pt x="103" y="72"/>
                        <a:pt x="101" y="73"/>
                      </a:cubicBezTo>
                      <a:cubicBezTo>
                        <a:pt x="84" y="80"/>
                        <a:pt x="72" y="94"/>
                        <a:pt x="67" y="111"/>
                      </a:cubicBezTo>
                      <a:cubicBezTo>
                        <a:pt x="67" y="113"/>
                        <a:pt x="68" y="116"/>
                        <a:pt x="71" y="117"/>
                      </a:cubicBezTo>
                      <a:cubicBezTo>
                        <a:pt x="71" y="117"/>
                        <a:pt x="72" y="117"/>
                        <a:pt x="72" y="117"/>
                      </a:cubicBezTo>
                      <a:cubicBezTo>
                        <a:pt x="74" y="117"/>
                        <a:pt x="76" y="115"/>
                        <a:pt x="77" y="113"/>
                      </a:cubicBezTo>
                      <a:cubicBezTo>
                        <a:pt x="80" y="99"/>
                        <a:pt x="91" y="87"/>
                        <a:pt x="104" y="82"/>
                      </a:cubicBezTo>
                      <a:cubicBezTo>
                        <a:pt x="107" y="81"/>
                        <a:pt x="108" y="78"/>
                        <a:pt x="107" y="76"/>
                      </a:cubicBezTo>
                      <a:close/>
                    </a:path>
                  </a:pathLst>
                </a:custGeom>
                <a:solidFill>
                  <a:schemeClr val="bg1">
                    <a:lumMod val="95000"/>
                  </a:schemeClr>
                </a:solidFill>
                <a:ln>
                  <a:noFill/>
                </a:ln>
              </p:spPr>
              <p:txBody>
                <a:bodyPr vert="horz" wrap="square" lIns="91440" tIns="45720" rIns="91440" bIns="45720" numCol="1" anchor="t" anchorCtr="0" compatLnSpc="1"/>
                <a:lstStyle/>
                <a:p>
                  <a:endParaRPr lang="zh-CN" altLang="en-US"/>
                </a:p>
              </p:txBody>
            </p:sp>
          </p:grpSp>
        </p:grpSp>
      </p:grpSp>
    </p:spTree>
    <p:custDataLst>
      <p:tags r:id="rId1"/>
    </p:custDataLst>
  </p:cSld>
  <p:clrMapOvr>
    <a:masterClrMapping/>
  </p:clrMapOvr>
  <mc:AlternateContent xmlns:mc="http://schemas.openxmlformats.org/markup-compatibility/2006">
    <mc:Choice xmlns:p14="http://schemas.microsoft.com/office/powerpoint/2010/main" Requires="p14">
      <p:transition spd="slow" p14:dur="1300" advTm="3711">
        <p14:pan/>
      </p:transition>
    </mc:Choice>
    <mc:Fallback>
      <p:transition spd="slow" advTm="371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left)">
                                      <p:cBhvr>
                                        <p:cTn id="7" dur="500"/>
                                        <p:tgtEl>
                                          <p:spTgt spid="55"/>
                                        </p:tgtEl>
                                      </p:cBhvr>
                                    </p:animEffect>
                                  </p:childTnLst>
                                </p:cTn>
                              </p:par>
                            </p:childTnLst>
                          </p:cTn>
                        </p:par>
                        <p:par>
                          <p:cTn id="8" fill="hold">
                            <p:stCondLst>
                              <p:cond delay="500"/>
                            </p:stCondLst>
                            <p:childTnLst>
                              <p:par>
                                <p:cTn id="9" presetID="2" presetClass="entr" presetSubtype="4" fill="hold" nodeType="afterEffect">
                                  <p:stCondLst>
                                    <p:cond delay="0"/>
                                  </p:stCondLst>
                                  <p:childTnLst>
                                    <p:set>
                                      <p:cBhvr>
                                        <p:cTn id="10" dur="1" fill="hold">
                                          <p:stCondLst>
                                            <p:cond delay="0"/>
                                          </p:stCondLst>
                                        </p:cTn>
                                        <p:tgtEl>
                                          <p:spTgt spid="109"/>
                                        </p:tgtEl>
                                        <p:attrNameLst>
                                          <p:attrName>style.visibility</p:attrName>
                                        </p:attrNameLst>
                                      </p:cBhvr>
                                      <p:to>
                                        <p:strVal val="visible"/>
                                      </p:to>
                                    </p:set>
                                    <p:anim calcmode="lin" valueType="num">
                                      <p:cBhvr additive="base">
                                        <p:cTn id="11" dur="500" fill="hold"/>
                                        <p:tgtEl>
                                          <p:spTgt spid="109"/>
                                        </p:tgtEl>
                                        <p:attrNameLst>
                                          <p:attrName>ppt_x</p:attrName>
                                        </p:attrNameLst>
                                      </p:cBhvr>
                                      <p:tavLst>
                                        <p:tav tm="0">
                                          <p:val>
                                            <p:strVal val="#ppt_x"/>
                                          </p:val>
                                        </p:tav>
                                        <p:tav tm="100000">
                                          <p:val>
                                            <p:strVal val="#ppt_x"/>
                                          </p:val>
                                        </p:tav>
                                      </p:tavLst>
                                    </p:anim>
                                    <p:anim calcmode="lin" valueType="num">
                                      <p:cBhvr additive="base">
                                        <p:cTn id="12" dur="500" fill="hold"/>
                                        <p:tgtEl>
                                          <p:spTgt spid="109"/>
                                        </p:tgtEl>
                                        <p:attrNameLst>
                                          <p:attrName>ppt_y</p:attrName>
                                        </p:attrNameLst>
                                      </p:cBhvr>
                                      <p:tavLst>
                                        <p:tav tm="0">
                                          <p:val>
                                            <p:strVal val="1+#ppt_h/2"/>
                                          </p:val>
                                        </p:tav>
                                        <p:tav tm="100000">
                                          <p:val>
                                            <p:strVal val="#ppt_y"/>
                                          </p:val>
                                        </p:tav>
                                      </p:tavLst>
                                    </p:anim>
                                  </p:childTnLst>
                                </p:cTn>
                              </p:par>
                            </p:childTnLst>
                          </p:cTn>
                        </p:par>
                        <p:par>
                          <p:cTn id="13" fill="hold">
                            <p:stCondLst>
                              <p:cond delay="1000"/>
                            </p:stCondLst>
                            <p:childTnLst>
                              <p:par>
                                <p:cTn id="14" presetID="2" presetClass="entr" presetSubtype="4" fill="hold" nodeType="afterEffect">
                                  <p:stCondLst>
                                    <p:cond delay="0"/>
                                  </p:stCondLst>
                                  <p:childTnLst>
                                    <p:set>
                                      <p:cBhvr>
                                        <p:cTn id="15" dur="1" fill="hold">
                                          <p:stCondLst>
                                            <p:cond delay="0"/>
                                          </p:stCondLst>
                                        </p:cTn>
                                        <p:tgtEl>
                                          <p:spTgt spid="120"/>
                                        </p:tgtEl>
                                        <p:attrNameLst>
                                          <p:attrName>style.visibility</p:attrName>
                                        </p:attrNameLst>
                                      </p:cBhvr>
                                      <p:to>
                                        <p:strVal val="visible"/>
                                      </p:to>
                                    </p:set>
                                    <p:anim calcmode="lin" valueType="num">
                                      <p:cBhvr additive="base">
                                        <p:cTn id="16" dur="500" fill="hold"/>
                                        <p:tgtEl>
                                          <p:spTgt spid="120"/>
                                        </p:tgtEl>
                                        <p:attrNameLst>
                                          <p:attrName>ppt_x</p:attrName>
                                        </p:attrNameLst>
                                      </p:cBhvr>
                                      <p:tavLst>
                                        <p:tav tm="0">
                                          <p:val>
                                            <p:strVal val="#ppt_x"/>
                                          </p:val>
                                        </p:tav>
                                        <p:tav tm="100000">
                                          <p:val>
                                            <p:strVal val="#ppt_x"/>
                                          </p:val>
                                        </p:tav>
                                      </p:tavLst>
                                    </p:anim>
                                    <p:anim calcmode="lin" valueType="num">
                                      <p:cBhvr additive="base">
                                        <p:cTn id="17" dur="500" fill="hold"/>
                                        <p:tgtEl>
                                          <p:spTgt spid="120"/>
                                        </p:tgtEl>
                                        <p:attrNameLst>
                                          <p:attrName>ppt_y</p:attrName>
                                        </p:attrNameLst>
                                      </p:cBhvr>
                                      <p:tavLst>
                                        <p:tav tm="0">
                                          <p:val>
                                            <p:strVal val="1+#ppt_h/2"/>
                                          </p:val>
                                        </p:tav>
                                        <p:tav tm="100000">
                                          <p:val>
                                            <p:strVal val="#ppt_y"/>
                                          </p:val>
                                        </p:tav>
                                      </p:tavLst>
                                    </p:anim>
                                  </p:childTnLst>
                                </p:cTn>
                              </p:par>
                            </p:childTnLst>
                          </p:cTn>
                        </p:par>
                        <p:par>
                          <p:cTn id="18" fill="hold">
                            <p:stCondLst>
                              <p:cond delay="1500"/>
                            </p:stCondLst>
                            <p:childTnLst>
                              <p:par>
                                <p:cTn id="19" presetID="2" presetClass="entr" presetSubtype="4" fill="hold" nodeType="afterEffect">
                                  <p:stCondLst>
                                    <p:cond delay="0"/>
                                  </p:stCondLst>
                                  <p:childTnLst>
                                    <p:set>
                                      <p:cBhvr>
                                        <p:cTn id="20" dur="1" fill="hold">
                                          <p:stCondLst>
                                            <p:cond delay="0"/>
                                          </p:stCondLst>
                                        </p:cTn>
                                        <p:tgtEl>
                                          <p:spTgt spid="121"/>
                                        </p:tgtEl>
                                        <p:attrNameLst>
                                          <p:attrName>style.visibility</p:attrName>
                                        </p:attrNameLst>
                                      </p:cBhvr>
                                      <p:to>
                                        <p:strVal val="visible"/>
                                      </p:to>
                                    </p:set>
                                    <p:anim calcmode="lin" valueType="num">
                                      <p:cBhvr additive="base">
                                        <p:cTn id="21" dur="500" fill="hold"/>
                                        <p:tgtEl>
                                          <p:spTgt spid="121"/>
                                        </p:tgtEl>
                                        <p:attrNameLst>
                                          <p:attrName>ppt_x</p:attrName>
                                        </p:attrNameLst>
                                      </p:cBhvr>
                                      <p:tavLst>
                                        <p:tav tm="0">
                                          <p:val>
                                            <p:strVal val="#ppt_x"/>
                                          </p:val>
                                        </p:tav>
                                        <p:tav tm="100000">
                                          <p:val>
                                            <p:strVal val="#ppt_x"/>
                                          </p:val>
                                        </p:tav>
                                      </p:tavLst>
                                    </p:anim>
                                    <p:anim calcmode="lin" valueType="num">
                                      <p:cBhvr additive="base">
                                        <p:cTn id="22" dur="500" fill="hold"/>
                                        <p:tgtEl>
                                          <p:spTgt spid="121"/>
                                        </p:tgtEl>
                                        <p:attrNameLst>
                                          <p:attrName>ppt_y</p:attrName>
                                        </p:attrNameLst>
                                      </p:cBhvr>
                                      <p:tavLst>
                                        <p:tav tm="0">
                                          <p:val>
                                            <p:strVal val="1+#ppt_h/2"/>
                                          </p:val>
                                        </p:tav>
                                        <p:tav tm="100000">
                                          <p:val>
                                            <p:strVal val="#ppt_y"/>
                                          </p:val>
                                        </p:tav>
                                      </p:tavLst>
                                    </p:anim>
                                  </p:childTnLst>
                                </p:cTn>
                              </p:par>
                            </p:childTnLst>
                          </p:cTn>
                        </p:par>
                        <p:par>
                          <p:cTn id="23" fill="hold">
                            <p:stCondLst>
                              <p:cond delay="2000"/>
                            </p:stCondLst>
                            <p:childTnLst>
                              <p:par>
                                <p:cTn id="24" presetID="2" presetClass="entr" presetSubtype="4" fill="hold" nodeType="afterEffect">
                                  <p:stCondLst>
                                    <p:cond delay="0"/>
                                  </p:stCondLst>
                                  <p:childTnLst>
                                    <p:set>
                                      <p:cBhvr>
                                        <p:cTn id="25" dur="1" fill="hold">
                                          <p:stCondLst>
                                            <p:cond delay="0"/>
                                          </p:stCondLst>
                                        </p:cTn>
                                        <p:tgtEl>
                                          <p:spTgt spid="122"/>
                                        </p:tgtEl>
                                        <p:attrNameLst>
                                          <p:attrName>style.visibility</p:attrName>
                                        </p:attrNameLst>
                                      </p:cBhvr>
                                      <p:to>
                                        <p:strVal val="visible"/>
                                      </p:to>
                                    </p:set>
                                    <p:anim calcmode="lin" valueType="num">
                                      <p:cBhvr additive="base">
                                        <p:cTn id="26" dur="500" fill="hold"/>
                                        <p:tgtEl>
                                          <p:spTgt spid="122"/>
                                        </p:tgtEl>
                                        <p:attrNameLst>
                                          <p:attrName>ppt_x</p:attrName>
                                        </p:attrNameLst>
                                      </p:cBhvr>
                                      <p:tavLst>
                                        <p:tav tm="0">
                                          <p:val>
                                            <p:strVal val="#ppt_x"/>
                                          </p:val>
                                        </p:tav>
                                        <p:tav tm="100000">
                                          <p:val>
                                            <p:strVal val="#ppt_x"/>
                                          </p:val>
                                        </p:tav>
                                      </p:tavLst>
                                    </p:anim>
                                    <p:anim calcmode="lin" valueType="num">
                                      <p:cBhvr additive="base">
                                        <p:cTn id="27" dur="500" fill="hold"/>
                                        <p:tgtEl>
                                          <p:spTgt spid="122"/>
                                        </p:tgtEl>
                                        <p:attrNameLst>
                                          <p:attrName>ppt_y</p:attrName>
                                        </p:attrNameLst>
                                      </p:cBhvr>
                                      <p:tavLst>
                                        <p:tav tm="0">
                                          <p:val>
                                            <p:strVal val="1+#ppt_h/2"/>
                                          </p:val>
                                        </p:tav>
                                        <p:tav tm="100000">
                                          <p:val>
                                            <p:strVal val="#ppt_y"/>
                                          </p:val>
                                        </p:tav>
                                      </p:tavLst>
                                    </p:anim>
                                  </p:childTnLst>
                                </p:cTn>
                              </p:par>
                            </p:childTnLst>
                          </p:cTn>
                        </p:par>
                        <p:par>
                          <p:cTn id="28" fill="hold">
                            <p:stCondLst>
                              <p:cond delay="2500"/>
                            </p:stCondLst>
                            <p:childTnLst>
                              <p:par>
                                <p:cTn id="29" presetID="2" presetClass="entr" presetSubtype="4" fill="hold" nodeType="afterEffect">
                                  <p:stCondLst>
                                    <p:cond delay="0"/>
                                  </p:stCondLst>
                                  <p:childTnLst>
                                    <p:set>
                                      <p:cBhvr>
                                        <p:cTn id="30" dur="1" fill="hold">
                                          <p:stCondLst>
                                            <p:cond delay="0"/>
                                          </p:stCondLst>
                                        </p:cTn>
                                        <p:tgtEl>
                                          <p:spTgt spid="124"/>
                                        </p:tgtEl>
                                        <p:attrNameLst>
                                          <p:attrName>style.visibility</p:attrName>
                                        </p:attrNameLst>
                                      </p:cBhvr>
                                      <p:to>
                                        <p:strVal val="visible"/>
                                      </p:to>
                                    </p:set>
                                    <p:anim calcmode="lin" valueType="num">
                                      <p:cBhvr additive="base">
                                        <p:cTn id="31" dur="500" fill="hold"/>
                                        <p:tgtEl>
                                          <p:spTgt spid="124"/>
                                        </p:tgtEl>
                                        <p:attrNameLst>
                                          <p:attrName>ppt_x</p:attrName>
                                        </p:attrNameLst>
                                      </p:cBhvr>
                                      <p:tavLst>
                                        <p:tav tm="0">
                                          <p:val>
                                            <p:strVal val="#ppt_x"/>
                                          </p:val>
                                        </p:tav>
                                        <p:tav tm="100000">
                                          <p:val>
                                            <p:strVal val="#ppt_x"/>
                                          </p:val>
                                        </p:tav>
                                      </p:tavLst>
                                    </p:anim>
                                    <p:anim calcmode="lin" valueType="num">
                                      <p:cBhvr additive="base">
                                        <p:cTn id="32" dur="500" fill="hold"/>
                                        <p:tgtEl>
                                          <p:spTgt spid="124"/>
                                        </p:tgtEl>
                                        <p:attrNameLst>
                                          <p:attrName>ppt_y</p:attrName>
                                        </p:attrNameLst>
                                      </p:cBhvr>
                                      <p:tavLst>
                                        <p:tav tm="0">
                                          <p:val>
                                            <p:strVal val="1+#ppt_h/2"/>
                                          </p:val>
                                        </p:tav>
                                        <p:tav tm="100000">
                                          <p:val>
                                            <p:strVal val="#ppt_y"/>
                                          </p:val>
                                        </p:tav>
                                      </p:tavLst>
                                    </p:anim>
                                  </p:childTnLst>
                                </p:cTn>
                              </p:par>
                            </p:childTnLst>
                          </p:cTn>
                        </p:par>
                        <p:par>
                          <p:cTn id="33" fill="hold">
                            <p:stCondLst>
                              <p:cond delay="3000"/>
                            </p:stCondLst>
                            <p:childTnLst>
                              <p:par>
                                <p:cTn id="34" presetID="2" presetClass="entr" presetSubtype="4" fill="hold" nodeType="afterEffect">
                                  <p:stCondLst>
                                    <p:cond delay="0"/>
                                  </p:stCondLst>
                                  <p:childTnLst>
                                    <p:set>
                                      <p:cBhvr>
                                        <p:cTn id="35" dur="1" fill="hold">
                                          <p:stCondLst>
                                            <p:cond delay="0"/>
                                          </p:stCondLst>
                                        </p:cTn>
                                        <p:tgtEl>
                                          <p:spTgt spid="125"/>
                                        </p:tgtEl>
                                        <p:attrNameLst>
                                          <p:attrName>style.visibility</p:attrName>
                                        </p:attrNameLst>
                                      </p:cBhvr>
                                      <p:to>
                                        <p:strVal val="visible"/>
                                      </p:to>
                                    </p:set>
                                    <p:anim calcmode="lin" valueType="num">
                                      <p:cBhvr additive="base">
                                        <p:cTn id="36" dur="500" fill="hold"/>
                                        <p:tgtEl>
                                          <p:spTgt spid="125"/>
                                        </p:tgtEl>
                                        <p:attrNameLst>
                                          <p:attrName>ppt_x</p:attrName>
                                        </p:attrNameLst>
                                      </p:cBhvr>
                                      <p:tavLst>
                                        <p:tav tm="0">
                                          <p:val>
                                            <p:strVal val="#ppt_x"/>
                                          </p:val>
                                        </p:tav>
                                        <p:tav tm="100000">
                                          <p:val>
                                            <p:strVal val="#ppt_x"/>
                                          </p:val>
                                        </p:tav>
                                      </p:tavLst>
                                    </p:anim>
                                    <p:anim calcmode="lin" valueType="num">
                                      <p:cBhvr additive="base">
                                        <p:cTn id="37" dur="500" fill="hold"/>
                                        <p:tgtEl>
                                          <p:spTgt spid="125"/>
                                        </p:tgtEl>
                                        <p:attrNameLst>
                                          <p:attrName>ppt_y</p:attrName>
                                        </p:attrNameLst>
                                      </p:cBhvr>
                                      <p:tavLst>
                                        <p:tav tm="0">
                                          <p:val>
                                            <p:strVal val="1+#ppt_h/2"/>
                                          </p:val>
                                        </p:tav>
                                        <p:tav tm="100000">
                                          <p:val>
                                            <p:strVal val="#ppt_y"/>
                                          </p:val>
                                        </p:tav>
                                      </p:tavLst>
                                    </p:anim>
                                  </p:childTnLst>
                                </p:cTn>
                              </p:par>
                            </p:childTnLst>
                          </p:cTn>
                        </p:par>
                        <p:par>
                          <p:cTn id="38" fill="hold">
                            <p:stCondLst>
                              <p:cond delay="3500"/>
                            </p:stCondLst>
                            <p:childTnLst>
                              <p:par>
                                <p:cTn id="39" presetID="2" presetClass="entr" presetSubtype="4" fill="hold" nodeType="afterEffect">
                                  <p:stCondLst>
                                    <p:cond delay="0"/>
                                  </p:stCondLst>
                                  <p:childTnLst>
                                    <p:set>
                                      <p:cBhvr>
                                        <p:cTn id="40" dur="1" fill="hold">
                                          <p:stCondLst>
                                            <p:cond delay="0"/>
                                          </p:stCondLst>
                                        </p:cTn>
                                        <p:tgtEl>
                                          <p:spTgt spid="126"/>
                                        </p:tgtEl>
                                        <p:attrNameLst>
                                          <p:attrName>style.visibility</p:attrName>
                                        </p:attrNameLst>
                                      </p:cBhvr>
                                      <p:to>
                                        <p:strVal val="visible"/>
                                      </p:to>
                                    </p:set>
                                    <p:anim calcmode="lin" valueType="num">
                                      <p:cBhvr additive="base">
                                        <p:cTn id="41" dur="500" fill="hold"/>
                                        <p:tgtEl>
                                          <p:spTgt spid="126"/>
                                        </p:tgtEl>
                                        <p:attrNameLst>
                                          <p:attrName>ppt_x</p:attrName>
                                        </p:attrNameLst>
                                      </p:cBhvr>
                                      <p:tavLst>
                                        <p:tav tm="0">
                                          <p:val>
                                            <p:strVal val="#ppt_x"/>
                                          </p:val>
                                        </p:tav>
                                        <p:tav tm="100000">
                                          <p:val>
                                            <p:strVal val="#ppt_x"/>
                                          </p:val>
                                        </p:tav>
                                      </p:tavLst>
                                    </p:anim>
                                    <p:anim calcmode="lin" valueType="num">
                                      <p:cBhvr additive="base">
                                        <p:cTn id="42" dur="500" fill="hold"/>
                                        <p:tgtEl>
                                          <p:spTgt spid="126"/>
                                        </p:tgtEl>
                                        <p:attrNameLst>
                                          <p:attrName>ppt_y</p:attrName>
                                        </p:attrNameLst>
                                      </p:cBhvr>
                                      <p:tavLst>
                                        <p:tav tm="0">
                                          <p:val>
                                            <p:strVal val="1+#ppt_h/2"/>
                                          </p:val>
                                        </p:tav>
                                        <p:tav tm="100000">
                                          <p:val>
                                            <p:strVal val="#ppt_y"/>
                                          </p:val>
                                        </p:tav>
                                      </p:tavLst>
                                    </p:anim>
                                  </p:childTnLst>
                                </p:cTn>
                              </p:par>
                            </p:childTnLst>
                          </p:cTn>
                        </p:par>
                        <p:par>
                          <p:cTn id="43" fill="hold">
                            <p:stCondLst>
                              <p:cond delay="4000"/>
                            </p:stCondLst>
                            <p:childTnLst>
                              <p:par>
                                <p:cTn id="44" presetID="2" presetClass="entr" presetSubtype="4" fill="hold" nodeType="afterEffect">
                                  <p:stCondLst>
                                    <p:cond delay="0"/>
                                  </p:stCondLst>
                                  <p:childTnLst>
                                    <p:set>
                                      <p:cBhvr>
                                        <p:cTn id="45" dur="1" fill="hold">
                                          <p:stCondLst>
                                            <p:cond delay="0"/>
                                          </p:stCondLst>
                                        </p:cTn>
                                        <p:tgtEl>
                                          <p:spTgt spid="127"/>
                                        </p:tgtEl>
                                        <p:attrNameLst>
                                          <p:attrName>style.visibility</p:attrName>
                                        </p:attrNameLst>
                                      </p:cBhvr>
                                      <p:to>
                                        <p:strVal val="visible"/>
                                      </p:to>
                                    </p:set>
                                    <p:anim calcmode="lin" valueType="num">
                                      <p:cBhvr additive="base">
                                        <p:cTn id="46" dur="500" fill="hold"/>
                                        <p:tgtEl>
                                          <p:spTgt spid="127"/>
                                        </p:tgtEl>
                                        <p:attrNameLst>
                                          <p:attrName>ppt_x</p:attrName>
                                        </p:attrNameLst>
                                      </p:cBhvr>
                                      <p:tavLst>
                                        <p:tav tm="0">
                                          <p:val>
                                            <p:strVal val="#ppt_x"/>
                                          </p:val>
                                        </p:tav>
                                        <p:tav tm="100000">
                                          <p:val>
                                            <p:strVal val="#ppt_x"/>
                                          </p:val>
                                        </p:tav>
                                      </p:tavLst>
                                    </p:anim>
                                    <p:anim calcmode="lin" valueType="num">
                                      <p:cBhvr additive="base">
                                        <p:cTn id="47" dur="500" fill="hold"/>
                                        <p:tgtEl>
                                          <p:spTgt spid="127"/>
                                        </p:tgtEl>
                                        <p:attrNameLst>
                                          <p:attrName>ppt_y</p:attrName>
                                        </p:attrNameLst>
                                      </p:cBhvr>
                                      <p:tavLst>
                                        <p:tav tm="0">
                                          <p:val>
                                            <p:strVal val="1+#ppt_h/2"/>
                                          </p:val>
                                        </p:tav>
                                        <p:tav tm="100000">
                                          <p:val>
                                            <p:strVal val="#ppt_y"/>
                                          </p:val>
                                        </p:tav>
                                      </p:tavLst>
                                    </p:anim>
                                  </p:childTnLst>
                                </p:cTn>
                              </p:par>
                            </p:childTnLst>
                          </p:cTn>
                        </p:par>
                        <p:par>
                          <p:cTn id="48" fill="hold">
                            <p:stCondLst>
                              <p:cond delay="4500"/>
                            </p:stCondLst>
                            <p:childTnLst>
                              <p:par>
                                <p:cTn id="49" presetID="2" presetClass="entr" presetSubtype="4" fill="hold" nodeType="afterEffect">
                                  <p:stCondLst>
                                    <p:cond delay="0"/>
                                  </p:stCondLst>
                                  <p:childTnLst>
                                    <p:set>
                                      <p:cBhvr>
                                        <p:cTn id="50" dur="1" fill="hold">
                                          <p:stCondLst>
                                            <p:cond delay="0"/>
                                          </p:stCondLst>
                                        </p:cTn>
                                        <p:tgtEl>
                                          <p:spTgt spid="114"/>
                                        </p:tgtEl>
                                        <p:attrNameLst>
                                          <p:attrName>style.visibility</p:attrName>
                                        </p:attrNameLst>
                                      </p:cBhvr>
                                      <p:to>
                                        <p:strVal val="visible"/>
                                      </p:to>
                                    </p:set>
                                    <p:anim calcmode="lin" valueType="num">
                                      <p:cBhvr additive="base">
                                        <p:cTn id="51" dur="500" fill="hold"/>
                                        <p:tgtEl>
                                          <p:spTgt spid="114"/>
                                        </p:tgtEl>
                                        <p:attrNameLst>
                                          <p:attrName>ppt_x</p:attrName>
                                        </p:attrNameLst>
                                      </p:cBhvr>
                                      <p:tavLst>
                                        <p:tav tm="0">
                                          <p:val>
                                            <p:strVal val="#ppt_x"/>
                                          </p:val>
                                        </p:tav>
                                        <p:tav tm="100000">
                                          <p:val>
                                            <p:strVal val="#ppt_x"/>
                                          </p:val>
                                        </p:tav>
                                      </p:tavLst>
                                    </p:anim>
                                    <p:anim calcmode="lin" valueType="num">
                                      <p:cBhvr additive="base">
                                        <p:cTn id="52" dur="500" fill="hold"/>
                                        <p:tgtEl>
                                          <p:spTgt spid="1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4631"/>
          <p:cNvGrpSpPr/>
          <p:nvPr/>
        </p:nvGrpSpPr>
        <p:grpSpPr>
          <a:xfrm>
            <a:off x="2428875" y="1168400"/>
            <a:ext cx="7337425" cy="4691063"/>
            <a:chOff x="2428875" y="1082675"/>
            <a:chExt cx="7337425" cy="4691063"/>
          </a:xfrm>
          <a:solidFill>
            <a:srgbClr val="0066CC"/>
          </a:solidFill>
        </p:grpSpPr>
        <p:sp>
          <p:nvSpPr>
            <p:cNvPr id="4586" name="Freeform 503"/>
            <p:cNvSpPr>
              <a:spLocks noEditPoints="1"/>
            </p:cNvSpPr>
            <p:nvPr/>
          </p:nvSpPr>
          <p:spPr bwMode="auto">
            <a:xfrm>
              <a:off x="4738688" y="1892300"/>
              <a:ext cx="1371600" cy="1450975"/>
            </a:xfrm>
            <a:custGeom>
              <a:avLst/>
              <a:gdLst>
                <a:gd name="T0" fmla="*/ 12 w 864"/>
                <a:gd name="T1" fmla="*/ 26 h 914"/>
                <a:gd name="T2" fmla="*/ 14 w 864"/>
                <a:gd name="T3" fmla="*/ 0 h 914"/>
                <a:gd name="T4" fmla="*/ 26 w 864"/>
                <a:gd name="T5" fmla="*/ 14 h 914"/>
                <a:gd name="T6" fmla="*/ 853 w 864"/>
                <a:gd name="T7" fmla="*/ 891 h 914"/>
                <a:gd name="T8" fmla="*/ 850 w 864"/>
                <a:gd name="T9" fmla="*/ 914 h 914"/>
                <a:gd name="T10" fmla="*/ 864 w 864"/>
                <a:gd name="T11" fmla="*/ 903 h 914"/>
                <a:gd name="T12" fmla="*/ 803 w 864"/>
                <a:gd name="T13" fmla="*/ 865 h 914"/>
                <a:gd name="T14" fmla="*/ 803 w 864"/>
                <a:gd name="T15" fmla="*/ 839 h 914"/>
                <a:gd name="T16" fmla="*/ 815 w 864"/>
                <a:gd name="T17" fmla="*/ 851 h 914"/>
                <a:gd name="T18" fmla="*/ 753 w 864"/>
                <a:gd name="T19" fmla="*/ 813 h 914"/>
                <a:gd name="T20" fmla="*/ 753 w 864"/>
                <a:gd name="T21" fmla="*/ 787 h 914"/>
                <a:gd name="T22" fmla="*/ 768 w 864"/>
                <a:gd name="T23" fmla="*/ 799 h 914"/>
                <a:gd name="T24" fmla="*/ 704 w 864"/>
                <a:gd name="T25" fmla="*/ 759 h 914"/>
                <a:gd name="T26" fmla="*/ 704 w 864"/>
                <a:gd name="T27" fmla="*/ 735 h 914"/>
                <a:gd name="T28" fmla="*/ 718 w 864"/>
                <a:gd name="T29" fmla="*/ 747 h 914"/>
                <a:gd name="T30" fmla="*/ 654 w 864"/>
                <a:gd name="T31" fmla="*/ 707 h 914"/>
                <a:gd name="T32" fmla="*/ 657 w 864"/>
                <a:gd name="T33" fmla="*/ 681 h 914"/>
                <a:gd name="T34" fmla="*/ 668 w 864"/>
                <a:gd name="T35" fmla="*/ 695 h 914"/>
                <a:gd name="T36" fmla="*/ 605 w 864"/>
                <a:gd name="T37" fmla="*/ 655 h 914"/>
                <a:gd name="T38" fmla="*/ 607 w 864"/>
                <a:gd name="T39" fmla="*/ 629 h 914"/>
                <a:gd name="T40" fmla="*/ 619 w 864"/>
                <a:gd name="T41" fmla="*/ 643 h 914"/>
                <a:gd name="T42" fmla="*/ 555 w 864"/>
                <a:gd name="T43" fmla="*/ 603 h 914"/>
                <a:gd name="T44" fmla="*/ 557 w 864"/>
                <a:gd name="T45" fmla="*/ 577 h 914"/>
                <a:gd name="T46" fmla="*/ 569 w 864"/>
                <a:gd name="T47" fmla="*/ 591 h 914"/>
                <a:gd name="T48" fmla="*/ 508 w 864"/>
                <a:gd name="T49" fmla="*/ 551 h 914"/>
                <a:gd name="T50" fmla="*/ 508 w 864"/>
                <a:gd name="T51" fmla="*/ 525 h 914"/>
                <a:gd name="T52" fmla="*/ 520 w 864"/>
                <a:gd name="T53" fmla="*/ 537 h 914"/>
                <a:gd name="T54" fmla="*/ 458 w 864"/>
                <a:gd name="T55" fmla="*/ 496 h 914"/>
                <a:gd name="T56" fmla="*/ 458 w 864"/>
                <a:gd name="T57" fmla="*/ 473 h 914"/>
                <a:gd name="T58" fmla="*/ 470 w 864"/>
                <a:gd name="T59" fmla="*/ 485 h 914"/>
                <a:gd name="T60" fmla="*/ 409 w 864"/>
                <a:gd name="T61" fmla="*/ 444 h 914"/>
                <a:gd name="T62" fmla="*/ 409 w 864"/>
                <a:gd name="T63" fmla="*/ 421 h 914"/>
                <a:gd name="T64" fmla="*/ 420 w 864"/>
                <a:gd name="T65" fmla="*/ 433 h 914"/>
                <a:gd name="T66" fmla="*/ 359 w 864"/>
                <a:gd name="T67" fmla="*/ 392 h 914"/>
                <a:gd name="T68" fmla="*/ 359 w 864"/>
                <a:gd name="T69" fmla="*/ 366 h 914"/>
                <a:gd name="T70" fmla="*/ 371 w 864"/>
                <a:gd name="T71" fmla="*/ 381 h 914"/>
                <a:gd name="T72" fmla="*/ 309 w 864"/>
                <a:gd name="T73" fmla="*/ 340 h 914"/>
                <a:gd name="T74" fmla="*/ 309 w 864"/>
                <a:gd name="T75" fmla="*/ 314 h 914"/>
                <a:gd name="T76" fmla="*/ 321 w 864"/>
                <a:gd name="T77" fmla="*/ 329 h 914"/>
                <a:gd name="T78" fmla="*/ 260 w 864"/>
                <a:gd name="T79" fmla="*/ 289 h 914"/>
                <a:gd name="T80" fmla="*/ 260 w 864"/>
                <a:gd name="T81" fmla="*/ 263 h 914"/>
                <a:gd name="T82" fmla="*/ 274 w 864"/>
                <a:gd name="T83" fmla="*/ 277 h 914"/>
                <a:gd name="T84" fmla="*/ 210 w 864"/>
                <a:gd name="T85" fmla="*/ 237 h 914"/>
                <a:gd name="T86" fmla="*/ 210 w 864"/>
                <a:gd name="T87" fmla="*/ 211 h 914"/>
                <a:gd name="T88" fmla="*/ 224 w 864"/>
                <a:gd name="T89" fmla="*/ 222 h 914"/>
                <a:gd name="T90" fmla="*/ 161 w 864"/>
                <a:gd name="T91" fmla="*/ 182 h 914"/>
                <a:gd name="T92" fmla="*/ 163 w 864"/>
                <a:gd name="T93" fmla="*/ 159 h 914"/>
                <a:gd name="T94" fmla="*/ 175 w 864"/>
                <a:gd name="T95" fmla="*/ 170 h 914"/>
                <a:gd name="T96" fmla="*/ 111 w 864"/>
                <a:gd name="T97" fmla="*/ 130 h 914"/>
                <a:gd name="T98" fmla="*/ 113 w 864"/>
                <a:gd name="T99" fmla="*/ 104 h 914"/>
                <a:gd name="T100" fmla="*/ 125 w 864"/>
                <a:gd name="T101" fmla="*/ 118 h 914"/>
                <a:gd name="T102" fmla="*/ 61 w 864"/>
                <a:gd name="T103" fmla="*/ 78 h 914"/>
                <a:gd name="T104" fmla="*/ 64 w 864"/>
                <a:gd name="T105" fmla="*/ 52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4" h="914">
                  <a:moveTo>
                    <a:pt x="26" y="14"/>
                  </a:moveTo>
                  <a:lnTo>
                    <a:pt x="12" y="26"/>
                  </a:lnTo>
                  <a:lnTo>
                    <a:pt x="0" y="12"/>
                  </a:lnTo>
                  <a:lnTo>
                    <a:pt x="14" y="0"/>
                  </a:lnTo>
                  <a:lnTo>
                    <a:pt x="26" y="14"/>
                  </a:lnTo>
                  <a:lnTo>
                    <a:pt x="26" y="14"/>
                  </a:lnTo>
                  <a:close/>
                  <a:moveTo>
                    <a:pt x="864" y="903"/>
                  </a:moveTo>
                  <a:lnTo>
                    <a:pt x="853" y="891"/>
                  </a:lnTo>
                  <a:lnTo>
                    <a:pt x="841" y="903"/>
                  </a:lnTo>
                  <a:lnTo>
                    <a:pt x="850" y="914"/>
                  </a:lnTo>
                  <a:lnTo>
                    <a:pt x="864" y="903"/>
                  </a:lnTo>
                  <a:lnTo>
                    <a:pt x="864" y="903"/>
                  </a:lnTo>
                  <a:close/>
                  <a:moveTo>
                    <a:pt x="815" y="851"/>
                  </a:moveTo>
                  <a:lnTo>
                    <a:pt x="803" y="865"/>
                  </a:lnTo>
                  <a:lnTo>
                    <a:pt x="791" y="851"/>
                  </a:lnTo>
                  <a:lnTo>
                    <a:pt x="803" y="839"/>
                  </a:lnTo>
                  <a:lnTo>
                    <a:pt x="815" y="851"/>
                  </a:lnTo>
                  <a:lnTo>
                    <a:pt x="815" y="851"/>
                  </a:lnTo>
                  <a:close/>
                  <a:moveTo>
                    <a:pt x="768" y="799"/>
                  </a:moveTo>
                  <a:lnTo>
                    <a:pt x="753" y="813"/>
                  </a:lnTo>
                  <a:lnTo>
                    <a:pt x="742" y="799"/>
                  </a:lnTo>
                  <a:lnTo>
                    <a:pt x="753" y="787"/>
                  </a:lnTo>
                  <a:lnTo>
                    <a:pt x="768" y="799"/>
                  </a:lnTo>
                  <a:lnTo>
                    <a:pt x="768" y="799"/>
                  </a:lnTo>
                  <a:close/>
                  <a:moveTo>
                    <a:pt x="718" y="747"/>
                  </a:moveTo>
                  <a:lnTo>
                    <a:pt x="704" y="759"/>
                  </a:lnTo>
                  <a:lnTo>
                    <a:pt x="692" y="747"/>
                  </a:lnTo>
                  <a:lnTo>
                    <a:pt x="704" y="735"/>
                  </a:lnTo>
                  <a:lnTo>
                    <a:pt x="718" y="747"/>
                  </a:lnTo>
                  <a:lnTo>
                    <a:pt x="718" y="747"/>
                  </a:lnTo>
                  <a:close/>
                  <a:moveTo>
                    <a:pt x="668" y="695"/>
                  </a:moveTo>
                  <a:lnTo>
                    <a:pt x="654" y="707"/>
                  </a:lnTo>
                  <a:lnTo>
                    <a:pt x="642" y="695"/>
                  </a:lnTo>
                  <a:lnTo>
                    <a:pt x="657" y="681"/>
                  </a:lnTo>
                  <a:lnTo>
                    <a:pt x="668" y="695"/>
                  </a:lnTo>
                  <a:lnTo>
                    <a:pt x="668" y="695"/>
                  </a:lnTo>
                  <a:close/>
                  <a:moveTo>
                    <a:pt x="619" y="643"/>
                  </a:moveTo>
                  <a:lnTo>
                    <a:pt x="605" y="655"/>
                  </a:lnTo>
                  <a:lnTo>
                    <a:pt x="593" y="640"/>
                  </a:lnTo>
                  <a:lnTo>
                    <a:pt x="607" y="629"/>
                  </a:lnTo>
                  <a:lnTo>
                    <a:pt x="619" y="643"/>
                  </a:lnTo>
                  <a:lnTo>
                    <a:pt x="619" y="643"/>
                  </a:lnTo>
                  <a:close/>
                  <a:moveTo>
                    <a:pt x="569" y="591"/>
                  </a:moveTo>
                  <a:lnTo>
                    <a:pt x="555" y="603"/>
                  </a:lnTo>
                  <a:lnTo>
                    <a:pt x="543" y="589"/>
                  </a:lnTo>
                  <a:lnTo>
                    <a:pt x="557" y="577"/>
                  </a:lnTo>
                  <a:lnTo>
                    <a:pt x="569" y="591"/>
                  </a:lnTo>
                  <a:lnTo>
                    <a:pt x="569" y="591"/>
                  </a:lnTo>
                  <a:close/>
                  <a:moveTo>
                    <a:pt x="520" y="537"/>
                  </a:moveTo>
                  <a:lnTo>
                    <a:pt x="508" y="551"/>
                  </a:lnTo>
                  <a:lnTo>
                    <a:pt x="494" y="537"/>
                  </a:lnTo>
                  <a:lnTo>
                    <a:pt x="508" y="525"/>
                  </a:lnTo>
                  <a:lnTo>
                    <a:pt x="520" y="537"/>
                  </a:lnTo>
                  <a:lnTo>
                    <a:pt x="520" y="537"/>
                  </a:lnTo>
                  <a:close/>
                  <a:moveTo>
                    <a:pt x="470" y="485"/>
                  </a:moveTo>
                  <a:lnTo>
                    <a:pt x="458" y="496"/>
                  </a:lnTo>
                  <a:lnTo>
                    <a:pt x="444" y="485"/>
                  </a:lnTo>
                  <a:lnTo>
                    <a:pt x="458" y="473"/>
                  </a:lnTo>
                  <a:lnTo>
                    <a:pt x="470" y="485"/>
                  </a:lnTo>
                  <a:lnTo>
                    <a:pt x="470" y="485"/>
                  </a:lnTo>
                  <a:close/>
                  <a:moveTo>
                    <a:pt x="420" y="433"/>
                  </a:moveTo>
                  <a:lnTo>
                    <a:pt x="409" y="444"/>
                  </a:lnTo>
                  <a:lnTo>
                    <a:pt x="394" y="433"/>
                  </a:lnTo>
                  <a:lnTo>
                    <a:pt x="409" y="421"/>
                  </a:lnTo>
                  <a:lnTo>
                    <a:pt x="420" y="433"/>
                  </a:lnTo>
                  <a:lnTo>
                    <a:pt x="420" y="433"/>
                  </a:lnTo>
                  <a:close/>
                  <a:moveTo>
                    <a:pt x="371" y="381"/>
                  </a:moveTo>
                  <a:lnTo>
                    <a:pt x="359" y="392"/>
                  </a:lnTo>
                  <a:lnTo>
                    <a:pt x="347" y="381"/>
                  </a:lnTo>
                  <a:lnTo>
                    <a:pt x="359" y="366"/>
                  </a:lnTo>
                  <a:lnTo>
                    <a:pt x="371" y="381"/>
                  </a:lnTo>
                  <a:lnTo>
                    <a:pt x="371" y="381"/>
                  </a:lnTo>
                  <a:close/>
                  <a:moveTo>
                    <a:pt x="321" y="329"/>
                  </a:moveTo>
                  <a:lnTo>
                    <a:pt x="309" y="340"/>
                  </a:lnTo>
                  <a:lnTo>
                    <a:pt x="298" y="326"/>
                  </a:lnTo>
                  <a:lnTo>
                    <a:pt x="309" y="314"/>
                  </a:lnTo>
                  <a:lnTo>
                    <a:pt x="321" y="329"/>
                  </a:lnTo>
                  <a:lnTo>
                    <a:pt x="321" y="329"/>
                  </a:lnTo>
                  <a:close/>
                  <a:moveTo>
                    <a:pt x="274" y="277"/>
                  </a:moveTo>
                  <a:lnTo>
                    <a:pt x="260" y="289"/>
                  </a:lnTo>
                  <a:lnTo>
                    <a:pt x="248" y="274"/>
                  </a:lnTo>
                  <a:lnTo>
                    <a:pt x="260" y="263"/>
                  </a:lnTo>
                  <a:lnTo>
                    <a:pt x="274" y="277"/>
                  </a:lnTo>
                  <a:lnTo>
                    <a:pt x="274" y="277"/>
                  </a:lnTo>
                  <a:close/>
                  <a:moveTo>
                    <a:pt x="224" y="222"/>
                  </a:moveTo>
                  <a:lnTo>
                    <a:pt x="210" y="237"/>
                  </a:lnTo>
                  <a:lnTo>
                    <a:pt x="198" y="222"/>
                  </a:lnTo>
                  <a:lnTo>
                    <a:pt x="210" y="211"/>
                  </a:lnTo>
                  <a:lnTo>
                    <a:pt x="224" y="222"/>
                  </a:lnTo>
                  <a:lnTo>
                    <a:pt x="224" y="222"/>
                  </a:lnTo>
                  <a:close/>
                  <a:moveTo>
                    <a:pt x="175" y="170"/>
                  </a:moveTo>
                  <a:lnTo>
                    <a:pt x="161" y="182"/>
                  </a:lnTo>
                  <a:lnTo>
                    <a:pt x="149" y="170"/>
                  </a:lnTo>
                  <a:lnTo>
                    <a:pt x="163" y="159"/>
                  </a:lnTo>
                  <a:lnTo>
                    <a:pt x="175" y="170"/>
                  </a:lnTo>
                  <a:lnTo>
                    <a:pt x="175" y="170"/>
                  </a:lnTo>
                  <a:close/>
                  <a:moveTo>
                    <a:pt x="125" y="118"/>
                  </a:moveTo>
                  <a:lnTo>
                    <a:pt x="111" y="130"/>
                  </a:lnTo>
                  <a:lnTo>
                    <a:pt x="99" y="118"/>
                  </a:lnTo>
                  <a:lnTo>
                    <a:pt x="113" y="104"/>
                  </a:lnTo>
                  <a:lnTo>
                    <a:pt x="125" y="118"/>
                  </a:lnTo>
                  <a:lnTo>
                    <a:pt x="125" y="118"/>
                  </a:lnTo>
                  <a:close/>
                  <a:moveTo>
                    <a:pt x="76" y="66"/>
                  </a:moveTo>
                  <a:lnTo>
                    <a:pt x="61" y="78"/>
                  </a:lnTo>
                  <a:lnTo>
                    <a:pt x="50" y="64"/>
                  </a:lnTo>
                  <a:lnTo>
                    <a:pt x="64" y="52"/>
                  </a:lnTo>
                  <a:lnTo>
                    <a:pt x="76" y="6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87" name="Freeform 504"/>
            <p:cNvSpPr>
              <a:spLocks noEditPoints="1"/>
            </p:cNvSpPr>
            <p:nvPr/>
          </p:nvSpPr>
          <p:spPr bwMode="auto">
            <a:xfrm>
              <a:off x="6170613" y="2343150"/>
              <a:ext cx="2249488" cy="971550"/>
            </a:xfrm>
            <a:custGeom>
              <a:avLst/>
              <a:gdLst>
                <a:gd name="T0" fmla="*/ 1410 w 1417"/>
                <a:gd name="T1" fmla="*/ 0 h 612"/>
                <a:gd name="T2" fmla="*/ 1401 w 1417"/>
                <a:gd name="T3" fmla="*/ 23 h 612"/>
                <a:gd name="T4" fmla="*/ 17 w 1417"/>
                <a:gd name="T5" fmla="*/ 588 h 612"/>
                <a:gd name="T6" fmla="*/ 7 w 1417"/>
                <a:gd name="T7" fmla="*/ 612 h 612"/>
                <a:gd name="T8" fmla="*/ 83 w 1417"/>
                <a:gd name="T9" fmla="*/ 560 h 612"/>
                <a:gd name="T10" fmla="*/ 73 w 1417"/>
                <a:gd name="T11" fmla="*/ 583 h 612"/>
                <a:gd name="T12" fmla="*/ 149 w 1417"/>
                <a:gd name="T13" fmla="*/ 531 h 612"/>
                <a:gd name="T14" fmla="*/ 140 w 1417"/>
                <a:gd name="T15" fmla="*/ 555 h 612"/>
                <a:gd name="T16" fmla="*/ 218 w 1417"/>
                <a:gd name="T17" fmla="*/ 503 h 612"/>
                <a:gd name="T18" fmla="*/ 206 w 1417"/>
                <a:gd name="T19" fmla="*/ 527 h 612"/>
                <a:gd name="T20" fmla="*/ 284 w 1417"/>
                <a:gd name="T21" fmla="*/ 477 h 612"/>
                <a:gd name="T22" fmla="*/ 274 w 1417"/>
                <a:gd name="T23" fmla="*/ 501 h 612"/>
                <a:gd name="T24" fmla="*/ 350 w 1417"/>
                <a:gd name="T25" fmla="*/ 449 h 612"/>
                <a:gd name="T26" fmla="*/ 340 w 1417"/>
                <a:gd name="T27" fmla="*/ 472 h 612"/>
                <a:gd name="T28" fmla="*/ 416 w 1417"/>
                <a:gd name="T29" fmla="*/ 420 h 612"/>
                <a:gd name="T30" fmla="*/ 406 w 1417"/>
                <a:gd name="T31" fmla="*/ 444 h 612"/>
                <a:gd name="T32" fmla="*/ 482 w 1417"/>
                <a:gd name="T33" fmla="*/ 392 h 612"/>
                <a:gd name="T34" fmla="*/ 473 w 1417"/>
                <a:gd name="T35" fmla="*/ 416 h 612"/>
                <a:gd name="T36" fmla="*/ 548 w 1417"/>
                <a:gd name="T37" fmla="*/ 364 h 612"/>
                <a:gd name="T38" fmla="*/ 539 w 1417"/>
                <a:gd name="T39" fmla="*/ 387 h 612"/>
                <a:gd name="T40" fmla="*/ 614 w 1417"/>
                <a:gd name="T41" fmla="*/ 335 h 612"/>
                <a:gd name="T42" fmla="*/ 605 w 1417"/>
                <a:gd name="T43" fmla="*/ 359 h 612"/>
                <a:gd name="T44" fmla="*/ 680 w 1417"/>
                <a:gd name="T45" fmla="*/ 307 h 612"/>
                <a:gd name="T46" fmla="*/ 671 w 1417"/>
                <a:gd name="T47" fmla="*/ 330 h 612"/>
                <a:gd name="T48" fmla="*/ 747 w 1417"/>
                <a:gd name="T49" fmla="*/ 279 h 612"/>
                <a:gd name="T50" fmla="*/ 737 w 1417"/>
                <a:gd name="T51" fmla="*/ 302 h 612"/>
                <a:gd name="T52" fmla="*/ 813 w 1417"/>
                <a:gd name="T53" fmla="*/ 253 h 612"/>
                <a:gd name="T54" fmla="*/ 803 w 1417"/>
                <a:gd name="T55" fmla="*/ 276 h 612"/>
                <a:gd name="T56" fmla="*/ 879 w 1417"/>
                <a:gd name="T57" fmla="*/ 224 h 612"/>
                <a:gd name="T58" fmla="*/ 869 w 1417"/>
                <a:gd name="T59" fmla="*/ 248 h 612"/>
                <a:gd name="T60" fmla="*/ 945 w 1417"/>
                <a:gd name="T61" fmla="*/ 196 h 612"/>
                <a:gd name="T62" fmla="*/ 936 w 1417"/>
                <a:gd name="T63" fmla="*/ 219 h 612"/>
                <a:gd name="T64" fmla="*/ 1011 w 1417"/>
                <a:gd name="T65" fmla="*/ 167 h 612"/>
                <a:gd name="T66" fmla="*/ 1002 w 1417"/>
                <a:gd name="T67" fmla="*/ 191 h 612"/>
                <a:gd name="T68" fmla="*/ 1077 w 1417"/>
                <a:gd name="T69" fmla="*/ 139 h 612"/>
                <a:gd name="T70" fmla="*/ 1068 w 1417"/>
                <a:gd name="T71" fmla="*/ 163 h 612"/>
                <a:gd name="T72" fmla="*/ 1143 w 1417"/>
                <a:gd name="T73" fmla="*/ 111 h 612"/>
                <a:gd name="T74" fmla="*/ 1134 w 1417"/>
                <a:gd name="T75" fmla="*/ 134 h 612"/>
                <a:gd name="T76" fmla="*/ 1212 w 1417"/>
                <a:gd name="T77" fmla="*/ 82 h 612"/>
                <a:gd name="T78" fmla="*/ 1200 w 1417"/>
                <a:gd name="T79" fmla="*/ 106 h 612"/>
                <a:gd name="T80" fmla="*/ 1278 w 1417"/>
                <a:gd name="T81" fmla="*/ 54 h 612"/>
                <a:gd name="T82" fmla="*/ 1269 w 1417"/>
                <a:gd name="T83" fmla="*/ 78 h 612"/>
                <a:gd name="T84" fmla="*/ 1344 w 1417"/>
                <a:gd name="T85" fmla="*/ 2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17" h="612">
                  <a:moveTo>
                    <a:pt x="1401" y="23"/>
                  </a:moveTo>
                  <a:lnTo>
                    <a:pt x="1394" y="7"/>
                  </a:lnTo>
                  <a:lnTo>
                    <a:pt x="1410" y="0"/>
                  </a:lnTo>
                  <a:lnTo>
                    <a:pt x="1417" y="16"/>
                  </a:lnTo>
                  <a:lnTo>
                    <a:pt x="1401" y="23"/>
                  </a:lnTo>
                  <a:lnTo>
                    <a:pt x="1401" y="23"/>
                  </a:lnTo>
                  <a:close/>
                  <a:moveTo>
                    <a:pt x="7" y="612"/>
                  </a:moveTo>
                  <a:lnTo>
                    <a:pt x="0" y="595"/>
                  </a:lnTo>
                  <a:lnTo>
                    <a:pt x="17" y="588"/>
                  </a:lnTo>
                  <a:lnTo>
                    <a:pt x="24" y="604"/>
                  </a:lnTo>
                  <a:lnTo>
                    <a:pt x="7" y="612"/>
                  </a:lnTo>
                  <a:lnTo>
                    <a:pt x="7" y="612"/>
                  </a:lnTo>
                  <a:close/>
                  <a:moveTo>
                    <a:pt x="73" y="583"/>
                  </a:moveTo>
                  <a:lnTo>
                    <a:pt x="66" y="567"/>
                  </a:lnTo>
                  <a:lnTo>
                    <a:pt x="83" y="560"/>
                  </a:lnTo>
                  <a:lnTo>
                    <a:pt x="90" y="576"/>
                  </a:lnTo>
                  <a:lnTo>
                    <a:pt x="73" y="583"/>
                  </a:lnTo>
                  <a:lnTo>
                    <a:pt x="73" y="583"/>
                  </a:lnTo>
                  <a:close/>
                  <a:moveTo>
                    <a:pt x="140" y="555"/>
                  </a:moveTo>
                  <a:lnTo>
                    <a:pt x="132" y="538"/>
                  </a:lnTo>
                  <a:lnTo>
                    <a:pt x="149" y="531"/>
                  </a:lnTo>
                  <a:lnTo>
                    <a:pt x="156" y="548"/>
                  </a:lnTo>
                  <a:lnTo>
                    <a:pt x="140" y="555"/>
                  </a:lnTo>
                  <a:lnTo>
                    <a:pt x="140" y="555"/>
                  </a:lnTo>
                  <a:close/>
                  <a:moveTo>
                    <a:pt x="206" y="527"/>
                  </a:moveTo>
                  <a:lnTo>
                    <a:pt x="199" y="510"/>
                  </a:lnTo>
                  <a:lnTo>
                    <a:pt x="218" y="503"/>
                  </a:lnTo>
                  <a:lnTo>
                    <a:pt x="222" y="519"/>
                  </a:lnTo>
                  <a:lnTo>
                    <a:pt x="206" y="527"/>
                  </a:lnTo>
                  <a:lnTo>
                    <a:pt x="206" y="527"/>
                  </a:lnTo>
                  <a:close/>
                  <a:moveTo>
                    <a:pt x="274" y="501"/>
                  </a:moveTo>
                  <a:lnTo>
                    <a:pt x="267" y="484"/>
                  </a:lnTo>
                  <a:lnTo>
                    <a:pt x="284" y="477"/>
                  </a:lnTo>
                  <a:lnTo>
                    <a:pt x="291" y="493"/>
                  </a:lnTo>
                  <a:lnTo>
                    <a:pt x="274" y="501"/>
                  </a:lnTo>
                  <a:lnTo>
                    <a:pt x="274" y="501"/>
                  </a:lnTo>
                  <a:close/>
                  <a:moveTo>
                    <a:pt x="340" y="472"/>
                  </a:moveTo>
                  <a:lnTo>
                    <a:pt x="333" y="456"/>
                  </a:lnTo>
                  <a:lnTo>
                    <a:pt x="350" y="449"/>
                  </a:lnTo>
                  <a:lnTo>
                    <a:pt x="357" y="465"/>
                  </a:lnTo>
                  <a:lnTo>
                    <a:pt x="340" y="472"/>
                  </a:lnTo>
                  <a:lnTo>
                    <a:pt x="340" y="472"/>
                  </a:lnTo>
                  <a:close/>
                  <a:moveTo>
                    <a:pt x="406" y="444"/>
                  </a:moveTo>
                  <a:lnTo>
                    <a:pt x="399" y="427"/>
                  </a:lnTo>
                  <a:lnTo>
                    <a:pt x="416" y="420"/>
                  </a:lnTo>
                  <a:lnTo>
                    <a:pt x="423" y="437"/>
                  </a:lnTo>
                  <a:lnTo>
                    <a:pt x="406" y="444"/>
                  </a:lnTo>
                  <a:lnTo>
                    <a:pt x="406" y="444"/>
                  </a:lnTo>
                  <a:close/>
                  <a:moveTo>
                    <a:pt x="473" y="416"/>
                  </a:moveTo>
                  <a:lnTo>
                    <a:pt x="466" y="399"/>
                  </a:lnTo>
                  <a:lnTo>
                    <a:pt x="482" y="392"/>
                  </a:lnTo>
                  <a:lnTo>
                    <a:pt x="489" y="408"/>
                  </a:lnTo>
                  <a:lnTo>
                    <a:pt x="473" y="416"/>
                  </a:lnTo>
                  <a:lnTo>
                    <a:pt x="473" y="416"/>
                  </a:lnTo>
                  <a:close/>
                  <a:moveTo>
                    <a:pt x="539" y="387"/>
                  </a:moveTo>
                  <a:lnTo>
                    <a:pt x="532" y="371"/>
                  </a:lnTo>
                  <a:lnTo>
                    <a:pt x="548" y="364"/>
                  </a:lnTo>
                  <a:lnTo>
                    <a:pt x="555" y="380"/>
                  </a:lnTo>
                  <a:lnTo>
                    <a:pt x="539" y="387"/>
                  </a:lnTo>
                  <a:lnTo>
                    <a:pt x="539" y="387"/>
                  </a:lnTo>
                  <a:close/>
                  <a:moveTo>
                    <a:pt x="605" y="359"/>
                  </a:moveTo>
                  <a:lnTo>
                    <a:pt x="598" y="342"/>
                  </a:lnTo>
                  <a:lnTo>
                    <a:pt x="614" y="335"/>
                  </a:lnTo>
                  <a:lnTo>
                    <a:pt x="621" y="352"/>
                  </a:lnTo>
                  <a:lnTo>
                    <a:pt x="605" y="359"/>
                  </a:lnTo>
                  <a:lnTo>
                    <a:pt x="605" y="359"/>
                  </a:lnTo>
                  <a:close/>
                  <a:moveTo>
                    <a:pt x="671" y="330"/>
                  </a:moveTo>
                  <a:lnTo>
                    <a:pt x="664" y="314"/>
                  </a:lnTo>
                  <a:lnTo>
                    <a:pt x="680" y="307"/>
                  </a:lnTo>
                  <a:lnTo>
                    <a:pt x="688" y="323"/>
                  </a:lnTo>
                  <a:lnTo>
                    <a:pt x="671" y="330"/>
                  </a:lnTo>
                  <a:lnTo>
                    <a:pt x="671" y="330"/>
                  </a:lnTo>
                  <a:close/>
                  <a:moveTo>
                    <a:pt x="737" y="302"/>
                  </a:moveTo>
                  <a:lnTo>
                    <a:pt x="730" y="286"/>
                  </a:lnTo>
                  <a:lnTo>
                    <a:pt x="747" y="279"/>
                  </a:lnTo>
                  <a:lnTo>
                    <a:pt x="754" y="295"/>
                  </a:lnTo>
                  <a:lnTo>
                    <a:pt x="737" y="302"/>
                  </a:lnTo>
                  <a:lnTo>
                    <a:pt x="737" y="302"/>
                  </a:lnTo>
                  <a:close/>
                  <a:moveTo>
                    <a:pt x="803" y="276"/>
                  </a:moveTo>
                  <a:lnTo>
                    <a:pt x="796" y="260"/>
                  </a:lnTo>
                  <a:lnTo>
                    <a:pt x="813" y="253"/>
                  </a:lnTo>
                  <a:lnTo>
                    <a:pt x="820" y="269"/>
                  </a:lnTo>
                  <a:lnTo>
                    <a:pt x="803" y="276"/>
                  </a:lnTo>
                  <a:lnTo>
                    <a:pt x="803" y="276"/>
                  </a:lnTo>
                  <a:close/>
                  <a:moveTo>
                    <a:pt x="869" y="248"/>
                  </a:moveTo>
                  <a:lnTo>
                    <a:pt x="862" y="231"/>
                  </a:lnTo>
                  <a:lnTo>
                    <a:pt x="879" y="224"/>
                  </a:lnTo>
                  <a:lnTo>
                    <a:pt x="886" y="241"/>
                  </a:lnTo>
                  <a:lnTo>
                    <a:pt x="869" y="248"/>
                  </a:lnTo>
                  <a:lnTo>
                    <a:pt x="869" y="248"/>
                  </a:lnTo>
                  <a:close/>
                  <a:moveTo>
                    <a:pt x="936" y="219"/>
                  </a:moveTo>
                  <a:lnTo>
                    <a:pt x="928" y="203"/>
                  </a:lnTo>
                  <a:lnTo>
                    <a:pt x="945" y="196"/>
                  </a:lnTo>
                  <a:lnTo>
                    <a:pt x="952" y="212"/>
                  </a:lnTo>
                  <a:lnTo>
                    <a:pt x="936" y="219"/>
                  </a:lnTo>
                  <a:lnTo>
                    <a:pt x="936" y="219"/>
                  </a:lnTo>
                  <a:close/>
                  <a:moveTo>
                    <a:pt x="1002" y="191"/>
                  </a:moveTo>
                  <a:lnTo>
                    <a:pt x="995" y="175"/>
                  </a:lnTo>
                  <a:lnTo>
                    <a:pt x="1011" y="167"/>
                  </a:lnTo>
                  <a:lnTo>
                    <a:pt x="1018" y="184"/>
                  </a:lnTo>
                  <a:lnTo>
                    <a:pt x="1002" y="191"/>
                  </a:lnTo>
                  <a:lnTo>
                    <a:pt x="1002" y="191"/>
                  </a:lnTo>
                  <a:close/>
                  <a:moveTo>
                    <a:pt x="1068" y="163"/>
                  </a:moveTo>
                  <a:lnTo>
                    <a:pt x="1061" y="146"/>
                  </a:lnTo>
                  <a:lnTo>
                    <a:pt x="1077" y="139"/>
                  </a:lnTo>
                  <a:lnTo>
                    <a:pt x="1084" y="156"/>
                  </a:lnTo>
                  <a:lnTo>
                    <a:pt x="1068" y="163"/>
                  </a:lnTo>
                  <a:lnTo>
                    <a:pt x="1068" y="163"/>
                  </a:lnTo>
                  <a:close/>
                  <a:moveTo>
                    <a:pt x="1134" y="134"/>
                  </a:moveTo>
                  <a:lnTo>
                    <a:pt x="1127" y="118"/>
                  </a:lnTo>
                  <a:lnTo>
                    <a:pt x="1143" y="111"/>
                  </a:lnTo>
                  <a:lnTo>
                    <a:pt x="1150" y="127"/>
                  </a:lnTo>
                  <a:lnTo>
                    <a:pt x="1134" y="134"/>
                  </a:lnTo>
                  <a:lnTo>
                    <a:pt x="1134" y="134"/>
                  </a:lnTo>
                  <a:close/>
                  <a:moveTo>
                    <a:pt x="1200" y="106"/>
                  </a:moveTo>
                  <a:lnTo>
                    <a:pt x="1193" y="90"/>
                  </a:lnTo>
                  <a:lnTo>
                    <a:pt x="1212" y="82"/>
                  </a:lnTo>
                  <a:lnTo>
                    <a:pt x="1217" y="99"/>
                  </a:lnTo>
                  <a:lnTo>
                    <a:pt x="1200" y="106"/>
                  </a:lnTo>
                  <a:lnTo>
                    <a:pt x="1200" y="106"/>
                  </a:lnTo>
                  <a:close/>
                  <a:moveTo>
                    <a:pt x="1269" y="78"/>
                  </a:moveTo>
                  <a:lnTo>
                    <a:pt x="1261" y="61"/>
                  </a:lnTo>
                  <a:lnTo>
                    <a:pt x="1278" y="54"/>
                  </a:lnTo>
                  <a:lnTo>
                    <a:pt x="1285" y="71"/>
                  </a:lnTo>
                  <a:lnTo>
                    <a:pt x="1269" y="78"/>
                  </a:lnTo>
                  <a:lnTo>
                    <a:pt x="1269" y="78"/>
                  </a:lnTo>
                  <a:close/>
                  <a:moveTo>
                    <a:pt x="1335" y="52"/>
                  </a:moveTo>
                  <a:lnTo>
                    <a:pt x="1328" y="35"/>
                  </a:lnTo>
                  <a:lnTo>
                    <a:pt x="1344" y="28"/>
                  </a:lnTo>
                  <a:lnTo>
                    <a:pt x="1351" y="45"/>
                  </a:lnTo>
                  <a:lnTo>
                    <a:pt x="1335" y="5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88" name="Freeform 505"/>
            <p:cNvSpPr>
              <a:spLocks noEditPoints="1"/>
            </p:cNvSpPr>
            <p:nvPr/>
          </p:nvSpPr>
          <p:spPr bwMode="auto">
            <a:xfrm>
              <a:off x="3717925" y="3328988"/>
              <a:ext cx="2347913" cy="679450"/>
            </a:xfrm>
            <a:custGeom>
              <a:avLst/>
              <a:gdLst>
                <a:gd name="T0" fmla="*/ 5 w 1479"/>
                <a:gd name="T1" fmla="*/ 428 h 428"/>
                <a:gd name="T2" fmla="*/ 19 w 1479"/>
                <a:gd name="T3" fmla="*/ 406 h 428"/>
                <a:gd name="T4" fmla="*/ 1463 w 1479"/>
                <a:gd name="T5" fmla="*/ 24 h 428"/>
                <a:gd name="T6" fmla="*/ 1474 w 1479"/>
                <a:gd name="T7" fmla="*/ 0 h 428"/>
                <a:gd name="T8" fmla="*/ 1394 w 1479"/>
                <a:gd name="T9" fmla="*/ 43 h 428"/>
                <a:gd name="T10" fmla="*/ 1406 w 1479"/>
                <a:gd name="T11" fmla="*/ 21 h 428"/>
                <a:gd name="T12" fmla="*/ 1323 w 1479"/>
                <a:gd name="T13" fmla="*/ 61 h 428"/>
                <a:gd name="T14" fmla="*/ 1337 w 1479"/>
                <a:gd name="T15" fmla="*/ 40 h 428"/>
                <a:gd name="T16" fmla="*/ 1255 w 1479"/>
                <a:gd name="T17" fmla="*/ 80 h 428"/>
                <a:gd name="T18" fmla="*/ 1266 w 1479"/>
                <a:gd name="T19" fmla="*/ 59 h 428"/>
                <a:gd name="T20" fmla="*/ 1184 w 1479"/>
                <a:gd name="T21" fmla="*/ 99 h 428"/>
                <a:gd name="T22" fmla="*/ 1198 w 1479"/>
                <a:gd name="T23" fmla="*/ 78 h 428"/>
                <a:gd name="T24" fmla="*/ 1115 w 1479"/>
                <a:gd name="T25" fmla="*/ 120 h 428"/>
                <a:gd name="T26" fmla="*/ 1127 w 1479"/>
                <a:gd name="T27" fmla="*/ 97 h 428"/>
                <a:gd name="T28" fmla="*/ 1047 w 1479"/>
                <a:gd name="T29" fmla="*/ 139 h 428"/>
                <a:gd name="T30" fmla="*/ 1059 w 1479"/>
                <a:gd name="T31" fmla="*/ 116 h 428"/>
                <a:gd name="T32" fmla="*/ 976 w 1479"/>
                <a:gd name="T33" fmla="*/ 158 h 428"/>
                <a:gd name="T34" fmla="*/ 990 w 1479"/>
                <a:gd name="T35" fmla="*/ 135 h 428"/>
                <a:gd name="T36" fmla="*/ 907 w 1479"/>
                <a:gd name="T37" fmla="*/ 177 h 428"/>
                <a:gd name="T38" fmla="*/ 919 w 1479"/>
                <a:gd name="T39" fmla="*/ 156 h 428"/>
                <a:gd name="T40" fmla="*/ 839 w 1479"/>
                <a:gd name="T41" fmla="*/ 196 h 428"/>
                <a:gd name="T42" fmla="*/ 851 w 1479"/>
                <a:gd name="T43" fmla="*/ 175 h 428"/>
                <a:gd name="T44" fmla="*/ 768 w 1479"/>
                <a:gd name="T45" fmla="*/ 215 h 428"/>
                <a:gd name="T46" fmla="*/ 782 w 1479"/>
                <a:gd name="T47" fmla="*/ 194 h 428"/>
                <a:gd name="T48" fmla="*/ 700 w 1479"/>
                <a:gd name="T49" fmla="*/ 234 h 428"/>
                <a:gd name="T50" fmla="*/ 711 w 1479"/>
                <a:gd name="T51" fmla="*/ 213 h 428"/>
                <a:gd name="T52" fmla="*/ 631 w 1479"/>
                <a:gd name="T53" fmla="*/ 255 h 428"/>
                <a:gd name="T54" fmla="*/ 643 w 1479"/>
                <a:gd name="T55" fmla="*/ 232 h 428"/>
                <a:gd name="T56" fmla="*/ 560 w 1479"/>
                <a:gd name="T57" fmla="*/ 274 h 428"/>
                <a:gd name="T58" fmla="*/ 572 w 1479"/>
                <a:gd name="T59" fmla="*/ 250 h 428"/>
                <a:gd name="T60" fmla="*/ 492 w 1479"/>
                <a:gd name="T61" fmla="*/ 293 h 428"/>
                <a:gd name="T62" fmla="*/ 504 w 1479"/>
                <a:gd name="T63" fmla="*/ 269 h 428"/>
                <a:gd name="T64" fmla="*/ 421 w 1479"/>
                <a:gd name="T65" fmla="*/ 312 h 428"/>
                <a:gd name="T66" fmla="*/ 435 w 1479"/>
                <a:gd name="T67" fmla="*/ 291 h 428"/>
                <a:gd name="T68" fmla="*/ 352 w 1479"/>
                <a:gd name="T69" fmla="*/ 331 h 428"/>
                <a:gd name="T70" fmla="*/ 364 w 1479"/>
                <a:gd name="T71" fmla="*/ 309 h 428"/>
                <a:gd name="T72" fmla="*/ 284 w 1479"/>
                <a:gd name="T73" fmla="*/ 350 h 428"/>
                <a:gd name="T74" fmla="*/ 296 w 1479"/>
                <a:gd name="T75" fmla="*/ 328 h 428"/>
                <a:gd name="T76" fmla="*/ 213 w 1479"/>
                <a:gd name="T77" fmla="*/ 369 h 428"/>
                <a:gd name="T78" fmla="*/ 227 w 1479"/>
                <a:gd name="T79" fmla="*/ 347 h 428"/>
                <a:gd name="T80" fmla="*/ 145 w 1479"/>
                <a:gd name="T81" fmla="*/ 390 h 428"/>
                <a:gd name="T82" fmla="*/ 156 w 1479"/>
                <a:gd name="T83" fmla="*/ 366 h 428"/>
                <a:gd name="T84" fmla="*/ 76 w 1479"/>
                <a:gd name="T85" fmla="*/ 40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9" h="428">
                  <a:moveTo>
                    <a:pt x="19" y="406"/>
                  </a:moveTo>
                  <a:lnTo>
                    <a:pt x="24" y="423"/>
                  </a:lnTo>
                  <a:lnTo>
                    <a:pt x="5" y="428"/>
                  </a:lnTo>
                  <a:lnTo>
                    <a:pt x="0" y="411"/>
                  </a:lnTo>
                  <a:lnTo>
                    <a:pt x="19" y="406"/>
                  </a:lnTo>
                  <a:lnTo>
                    <a:pt x="19" y="406"/>
                  </a:lnTo>
                  <a:close/>
                  <a:moveTo>
                    <a:pt x="1474" y="0"/>
                  </a:moveTo>
                  <a:lnTo>
                    <a:pt x="1479" y="19"/>
                  </a:lnTo>
                  <a:lnTo>
                    <a:pt x="1463" y="24"/>
                  </a:lnTo>
                  <a:lnTo>
                    <a:pt x="1458" y="5"/>
                  </a:lnTo>
                  <a:lnTo>
                    <a:pt x="1474" y="0"/>
                  </a:lnTo>
                  <a:lnTo>
                    <a:pt x="1474" y="0"/>
                  </a:lnTo>
                  <a:close/>
                  <a:moveTo>
                    <a:pt x="1406" y="21"/>
                  </a:moveTo>
                  <a:lnTo>
                    <a:pt x="1411" y="38"/>
                  </a:lnTo>
                  <a:lnTo>
                    <a:pt x="1394" y="43"/>
                  </a:lnTo>
                  <a:lnTo>
                    <a:pt x="1389" y="26"/>
                  </a:lnTo>
                  <a:lnTo>
                    <a:pt x="1406" y="21"/>
                  </a:lnTo>
                  <a:lnTo>
                    <a:pt x="1406" y="21"/>
                  </a:lnTo>
                  <a:close/>
                  <a:moveTo>
                    <a:pt x="1337" y="40"/>
                  </a:moveTo>
                  <a:lnTo>
                    <a:pt x="1342" y="57"/>
                  </a:lnTo>
                  <a:lnTo>
                    <a:pt x="1323" y="61"/>
                  </a:lnTo>
                  <a:lnTo>
                    <a:pt x="1318" y="45"/>
                  </a:lnTo>
                  <a:lnTo>
                    <a:pt x="1337" y="40"/>
                  </a:lnTo>
                  <a:lnTo>
                    <a:pt x="1337" y="40"/>
                  </a:lnTo>
                  <a:close/>
                  <a:moveTo>
                    <a:pt x="1266" y="59"/>
                  </a:moveTo>
                  <a:lnTo>
                    <a:pt x="1271" y="76"/>
                  </a:lnTo>
                  <a:lnTo>
                    <a:pt x="1255" y="80"/>
                  </a:lnTo>
                  <a:lnTo>
                    <a:pt x="1250" y="64"/>
                  </a:lnTo>
                  <a:lnTo>
                    <a:pt x="1266" y="59"/>
                  </a:lnTo>
                  <a:lnTo>
                    <a:pt x="1266" y="59"/>
                  </a:lnTo>
                  <a:close/>
                  <a:moveTo>
                    <a:pt x="1198" y="78"/>
                  </a:moveTo>
                  <a:lnTo>
                    <a:pt x="1203" y="95"/>
                  </a:lnTo>
                  <a:lnTo>
                    <a:pt x="1184" y="99"/>
                  </a:lnTo>
                  <a:lnTo>
                    <a:pt x="1179" y="83"/>
                  </a:lnTo>
                  <a:lnTo>
                    <a:pt x="1198" y="78"/>
                  </a:lnTo>
                  <a:lnTo>
                    <a:pt x="1198" y="78"/>
                  </a:lnTo>
                  <a:close/>
                  <a:moveTo>
                    <a:pt x="1127" y="97"/>
                  </a:moveTo>
                  <a:lnTo>
                    <a:pt x="1132" y="116"/>
                  </a:lnTo>
                  <a:lnTo>
                    <a:pt x="1115" y="120"/>
                  </a:lnTo>
                  <a:lnTo>
                    <a:pt x="1111" y="102"/>
                  </a:lnTo>
                  <a:lnTo>
                    <a:pt x="1127" y="97"/>
                  </a:lnTo>
                  <a:lnTo>
                    <a:pt x="1127" y="97"/>
                  </a:lnTo>
                  <a:close/>
                  <a:moveTo>
                    <a:pt x="1059" y="116"/>
                  </a:moveTo>
                  <a:lnTo>
                    <a:pt x="1063" y="135"/>
                  </a:lnTo>
                  <a:lnTo>
                    <a:pt x="1047" y="139"/>
                  </a:lnTo>
                  <a:lnTo>
                    <a:pt x="1042" y="120"/>
                  </a:lnTo>
                  <a:lnTo>
                    <a:pt x="1059" y="116"/>
                  </a:lnTo>
                  <a:lnTo>
                    <a:pt x="1059" y="116"/>
                  </a:lnTo>
                  <a:close/>
                  <a:moveTo>
                    <a:pt x="990" y="135"/>
                  </a:moveTo>
                  <a:lnTo>
                    <a:pt x="995" y="154"/>
                  </a:lnTo>
                  <a:lnTo>
                    <a:pt x="976" y="158"/>
                  </a:lnTo>
                  <a:lnTo>
                    <a:pt x="971" y="139"/>
                  </a:lnTo>
                  <a:lnTo>
                    <a:pt x="990" y="135"/>
                  </a:lnTo>
                  <a:lnTo>
                    <a:pt x="990" y="135"/>
                  </a:lnTo>
                  <a:close/>
                  <a:moveTo>
                    <a:pt x="919" y="156"/>
                  </a:moveTo>
                  <a:lnTo>
                    <a:pt x="924" y="172"/>
                  </a:lnTo>
                  <a:lnTo>
                    <a:pt x="907" y="177"/>
                  </a:lnTo>
                  <a:lnTo>
                    <a:pt x="903" y="161"/>
                  </a:lnTo>
                  <a:lnTo>
                    <a:pt x="919" y="156"/>
                  </a:lnTo>
                  <a:lnTo>
                    <a:pt x="919" y="156"/>
                  </a:lnTo>
                  <a:close/>
                  <a:moveTo>
                    <a:pt x="851" y="175"/>
                  </a:moveTo>
                  <a:lnTo>
                    <a:pt x="856" y="191"/>
                  </a:lnTo>
                  <a:lnTo>
                    <a:pt x="839" y="196"/>
                  </a:lnTo>
                  <a:lnTo>
                    <a:pt x="834" y="180"/>
                  </a:lnTo>
                  <a:lnTo>
                    <a:pt x="851" y="175"/>
                  </a:lnTo>
                  <a:lnTo>
                    <a:pt x="851" y="175"/>
                  </a:lnTo>
                  <a:close/>
                  <a:moveTo>
                    <a:pt x="782" y="194"/>
                  </a:moveTo>
                  <a:lnTo>
                    <a:pt x="787" y="210"/>
                  </a:lnTo>
                  <a:lnTo>
                    <a:pt x="768" y="215"/>
                  </a:lnTo>
                  <a:lnTo>
                    <a:pt x="763" y="198"/>
                  </a:lnTo>
                  <a:lnTo>
                    <a:pt x="782" y="194"/>
                  </a:lnTo>
                  <a:lnTo>
                    <a:pt x="782" y="194"/>
                  </a:lnTo>
                  <a:close/>
                  <a:moveTo>
                    <a:pt x="711" y="213"/>
                  </a:moveTo>
                  <a:lnTo>
                    <a:pt x="716" y="229"/>
                  </a:lnTo>
                  <a:lnTo>
                    <a:pt x="700" y="234"/>
                  </a:lnTo>
                  <a:lnTo>
                    <a:pt x="695" y="217"/>
                  </a:lnTo>
                  <a:lnTo>
                    <a:pt x="711" y="213"/>
                  </a:lnTo>
                  <a:lnTo>
                    <a:pt x="711" y="213"/>
                  </a:lnTo>
                  <a:close/>
                  <a:moveTo>
                    <a:pt x="643" y="232"/>
                  </a:moveTo>
                  <a:lnTo>
                    <a:pt x="648" y="250"/>
                  </a:lnTo>
                  <a:lnTo>
                    <a:pt x="631" y="255"/>
                  </a:lnTo>
                  <a:lnTo>
                    <a:pt x="626" y="236"/>
                  </a:lnTo>
                  <a:lnTo>
                    <a:pt x="643" y="232"/>
                  </a:lnTo>
                  <a:lnTo>
                    <a:pt x="643" y="232"/>
                  </a:lnTo>
                  <a:close/>
                  <a:moveTo>
                    <a:pt x="572" y="250"/>
                  </a:moveTo>
                  <a:lnTo>
                    <a:pt x="579" y="269"/>
                  </a:lnTo>
                  <a:lnTo>
                    <a:pt x="560" y="274"/>
                  </a:lnTo>
                  <a:lnTo>
                    <a:pt x="556" y="255"/>
                  </a:lnTo>
                  <a:lnTo>
                    <a:pt x="572" y="250"/>
                  </a:lnTo>
                  <a:lnTo>
                    <a:pt x="572" y="250"/>
                  </a:lnTo>
                  <a:close/>
                  <a:moveTo>
                    <a:pt x="504" y="269"/>
                  </a:moveTo>
                  <a:lnTo>
                    <a:pt x="508" y="288"/>
                  </a:lnTo>
                  <a:lnTo>
                    <a:pt x="492" y="293"/>
                  </a:lnTo>
                  <a:lnTo>
                    <a:pt x="487" y="276"/>
                  </a:lnTo>
                  <a:lnTo>
                    <a:pt x="504" y="269"/>
                  </a:lnTo>
                  <a:lnTo>
                    <a:pt x="504" y="269"/>
                  </a:lnTo>
                  <a:close/>
                  <a:moveTo>
                    <a:pt x="435" y="291"/>
                  </a:moveTo>
                  <a:lnTo>
                    <a:pt x="440" y="307"/>
                  </a:lnTo>
                  <a:lnTo>
                    <a:pt x="421" y="312"/>
                  </a:lnTo>
                  <a:lnTo>
                    <a:pt x="416" y="295"/>
                  </a:lnTo>
                  <a:lnTo>
                    <a:pt x="435" y="291"/>
                  </a:lnTo>
                  <a:lnTo>
                    <a:pt x="435" y="291"/>
                  </a:lnTo>
                  <a:close/>
                  <a:moveTo>
                    <a:pt x="364" y="309"/>
                  </a:moveTo>
                  <a:lnTo>
                    <a:pt x="369" y="326"/>
                  </a:lnTo>
                  <a:lnTo>
                    <a:pt x="352" y="331"/>
                  </a:lnTo>
                  <a:lnTo>
                    <a:pt x="348" y="314"/>
                  </a:lnTo>
                  <a:lnTo>
                    <a:pt x="364" y="309"/>
                  </a:lnTo>
                  <a:lnTo>
                    <a:pt x="364" y="309"/>
                  </a:lnTo>
                  <a:close/>
                  <a:moveTo>
                    <a:pt x="296" y="328"/>
                  </a:moveTo>
                  <a:lnTo>
                    <a:pt x="300" y="345"/>
                  </a:lnTo>
                  <a:lnTo>
                    <a:pt x="284" y="350"/>
                  </a:lnTo>
                  <a:lnTo>
                    <a:pt x="279" y="333"/>
                  </a:lnTo>
                  <a:lnTo>
                    <a:pt x="296" y="328"/>
                  </a:lnTo>
                  <a:lnTo>
                    <a:pt x="296" y="328"/>
                  </a:lnTo>
                  <a:close/>
                  <a:moveTo>
                    <a:pt x="227" y="347"/>
                  </a:moveTo>
                  <a:lnTo>
                    <a:pt x="232" y="364"/>
                  </a:lnTo>
                  <a:lnTo>
                    <a:pt x="213" y="369"/>
                  </a:lnTo>
                  <a:lnTo>
                    <a:pt x="208" y="352"/>
                  </a:lnTo>
                  <a:lnTo>
                    <a:pt x="227" y="347"/>
                  </a:lnTo>
                  <a:lnTo>
                    <a:pt x="227" y="347"/>
                  </a:lnTo>
                  <a:close/>
                  <a:moveTo>
                    <a:pt x="156" y="366"/>
                  </a:moveTo>
                  <a:lnTo>
                    <a:pt x="161" y="385"/>
                  </a:lnTo>
                  <a:lnTo>
                    <a:pt x="145" y="390"/>
                  </a:lnTo>
                  <a:lnTo>
                    <a:pt x="140" y="371"/>
                  </a:lnTo>
                  <a:lnTo>
                    <a:pt x="156" y="366"/>
                  </a:lnTo>
                  <a:lnTo>
                    <a:pt x="156" y="366"/>
                  </a:lnTo>
                  <a:close/>
                  <a:moveTo>
                    <a:pt x="88" y="385"/>
                  </a:moveTo>
                  <a:lnTo>
                    <a:pt x="93" y="404"/>
                  </a:lnTo>
                  <a:lnTo>
                    <a:pt x="76" y="409"/>
                  </a:lnTo>
                  <a:lnTo>
                    <a:pt x="71" y="390"/>
                  </a:lnTo>
                  <a:lnTo>
                    <a:pt x="88" y="3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89" name="Freeform 506"/>
            <p:cNvSpPr>
              <a:spLocks noEditPoints="1"/>
            </p:cNvSpPr>
            <p:nvPr/>
          </p:nvSpPr>
          <p:spPr bwMode="auto">
            <a:xfrm>
              <a:off x="6088063" y="3325813"/>
              <a:ext cx="1450975" cy="1341438"/>
            </a:xfrm>
            <a:custGeom>
              <a:avLst/>
              <a:gdLst>
                <a:gd name="T0" fmla="*/ 900 w 914"/>
                <a:gd name="T1" fmla="*/ 819 h 845"/>
                <a:gd name="T2" fmla="*/ 903 w 914"/>
                <a:gd name="T3" fmla="*/ 845 h 845"/>
                <a:gd name="T4" fmla="*/ 888 w 914"/>
                <a:gd name="T5" fmla="*/ 831 h 845"/>
                <a:gd name="T6" fmla="*/ 3 w 914"/>
                <a:gd name="T7" fmla="*/ 14 h 845"/>
                <a:gd name="T8" fmla="*/ 12 w 914"/>
                <a:gd name="T9" fmla="*/ 0 h 845"/>
                <a:gd name="T10" fmla="*/ 0 w 914"/>
                <a:gd name="T11" fmla="*/ 11 h 845"/>
                <a:gd name="T12" fmla="*/ 55 w 914"/>
                <a:gd name="T13" fmla="*/ 37 h 845"/>
                <a:gd name="T14" fmla="*/ 55 w 914"/>
                <a:gd name="T15" fmla="*/ 63 h 845"/>
                <a:gd name="T16" fmla="*/ 43 w 914"/>
                <a:gd name="T17" fmla="*/ 49 h 845"/>
                <a:gd name="T18" fmla="*/ 107 w 914"/>
                <a:gd name="T19" fmla="*/ 87 h 845"/>
                <a:gd name="T20" fmla="*/ 109 w 914"/>
                <a:gd name="T21" fmla="*/ 111 h 845"/>
                <a:gd name="T22" fmla="*/ 95 w 914"/>
                <a:gd name="T23" fmla="*/ 99 h 845"/>
                <a:gd name="T24" fmla="*/ 161 w 914"/>
                <a:gd name="T25" fmla="*/ 134 h 845"/>
                <a:gd name="T26" fmla="*/ 161 w 914"/>
                <a:gd name="T27" fmla="*/ 160 h 845"/>
                <a:gd name="T28" fmla="*/ 149 w 914"/>
                <a:gd name="T29" fmla="*/ 148 h 845"/>
                <a:gd name="T30" fmla="*/ 213 w 914"/>
                <a:gd name="T31" fmla="*/ 184 h 845"/>
                <a:gd name="T32" fmla="*/ 215 w 914"/>
                <a:gd name="T33" fmla="*/ 210 h 845"/>
                <a:gd name="T34" fmla="*/ 201 w 914"/>
                <a:gd name="T35" fmla="*/ 198 h 845"/>
                <a:gd name="T36" fmla="*/ 267 w 914"/>
                <a:gd name="T37" fmla="*/ 234 h 845"/>
                <a:gd name="T38" fmla="*/ 267 w 914"/>
                <a:gd name="T39" fmla="*/ 257 h 845"/>
                <a:gd name="T40" fmla="*/ 253 w 914"/>
                <a:gd name="T41" fmla="*/ 245 h 845"/>
                <a:gd name="T42" fmla="*/ 319 w 914"/>
                <a:gd name="T43" fmla="*/ 281 h 845"/>
                <a:gd name="T44" fmla="*/ 319 w 914"/>
                <a:gd name="T45" fmla="*/ 307 h 845"/>
                <a:gd name="T46" fmla="*/ 307 w 914"/>
                <a:gd name="T47" fmla="*/ 295 h 845"/>
                <a:gd name="T48" fmla="*/ 371 w 914"/>
                <a:gd name="T49" fmla="*/ 330 h 845"/>
                <a:gd name="T50" fmla="*/ 373 w 914"/>
                <a:gd name="T51" fmla="*/ 356 h 845"/>
                <a:gd name="T52" fmla="*/ 359 w 914"/>
                <a:gd name="T53" fmla="*/ 345 h 845"/>
                <a:gd name="T54" fmla="*/ 425 w 914"/>
                <a:gd name="T55" fmla="*/ 380 h 845"/>
                <a:gd name="T56" fmla="*/ 425 w 914"/>
                <a:gd name="T57" fmla="*/ 404 h 845"/>
                <a:gd name="T58" fmla="*/ 411 w 914"/>
                <a:gd name="T59" fmla="*/ 392 h 845"/>
                <a:gd name="T60" fmla="*/ 477 w 914"/>
                <a:gd name="T61" fmla="*/ 427 h 845"/>
                <a:gd name="T62" fmla="*/ 477 w 914"/>
                <a:gd name="T63" fmla="*/ 453 h 845"/>
                <a:gd name="T64" fmla="*/ 466 w 914"/>
                <a:gd name="T65" fmla="*/ 441 h 845"/>
                <a:gd name="T66" fmla="*/ 529 w 914"/>
                <a:gd name="T67" fmla="*/ 477 h 845"/>
                <a:gd name="T68" fmla="*/ 532 w 914"/>
                <a:gd name="T69" fmla="*/ 503 h 845"/>
                <a:gd name="T70" fmla="*/ 518 w 914"/>
                <a:gd name="T71" fmla="*/ 491 h 845"/>
                <a:gd name="T72" fmla="*/ 584 w 914"/>
                <a:gd name="T73" fmla="*/ 526 h 845"/>
                <a:gd name="T74" fmla="*/ 584 w 914"/>
                <a:gd name="T75" fmla="*/ 550 h 845"/>
                <a:gd name="T76" fmla="*/ 572 w 914"/>
                <a:gd name="T77" fmla="*/ 538 h 845"/>
                <a:gd name="T78" fmla="*/ 636 w 914"/>
                <a:gd name="T79" fmla="*/ 574 h 845"/>
                <a:gd name="T80" fmla="*/ 638 w 914"/>
                <a:gd name="T81" fmla="*/ 600 h 845"/>
                <a:gd name="T82" fmla="*/ 624 w 914"/>
                <a:gd name="T83" fmla="*/ 588 h 845"/>
                <a:gd name="T84" fmla="*/ 690 w 914"/>
                <a:gd name="T85" fmla="*/ 623 h 845"/>
                <a:gd name="T86" fmla="*/ 690 w 914"/>
                <a:gd name="T87" fmla="*/ 649 h 845"/>
                <a:gd name="T88" fmla="*/ 676 w 914"/>
                <a:gd name="T89" fmla="*/ 637 h 845"/>
                <a:gd name="T90" fmla="*/ 742 w 914"/>
                <a:gd name="T91" fmla="*/ 673 h 845"/>
                <a:gd name="T92" fmla="*/ 742 w 914"/>
                <a:gd name="T93" fmla="*/ 699 h 845"/>
                <a:gd name="T94" fmla="*/ 730 w 914"/>
                <a:gd name="T95" fmla="*/ 685 h 845"/>
                <a:gd name="T96" fmla="*/ 794 w 914"/>
                <a:gd name="T97" fmla="*/ 720 h 845"/>
                <a:gd name="T98" fmla="*/ 796 w 914"/>
                <a:gd name="T99" fmla="*/ 746 h 845"/>
                <a:gd name="T100" fmla="*/ 782 w 914"/>
                <a:gd name="T101" fmla="*/ 734 h 845"/>
                <a:gd name="T102" fmla="*/ 848 w 914"/>
                <a:gd name="T103" fmla="*/ 770 h 845"/>
                <a:gd name="T104" fmla="*/ 848 w 914"/>
                <a:gd name="T105" fmla="*/ 796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14" h="845">
                  <a:moveTo>
                    <a:pt x="888" y="831"/>
                  </a:moveTo>
                  <a:lnTo>
                    <a:pt x="900" y="819"/>
                  </a:lnTo>
                  <a:lnTo>
                    <a:pt x="914" y="831"/>
                  </a:lnTo>
                  <a:lnTo>
                    <a:pt x="903" y="845"/>
                  </a:lnTo>
                  <a:lnTo>
                    <a:pt x="888" y="831"/>
                  </a:lnTo>
                  <a:lnTo>
                    <a:pt x="888" y="831"/>
                  </a:lnTo>
                  <a:close/>
                  <a:moveTo>
                    <a:pt x="0" y="11"/>
                  </a:moveTo>
                  <a:lnTo>
                    <a:pt x="3" y="14"/>
                  </a:lnTo>
                  <a:lnTo>
                    <a:pt x="14" y="0"/>
                  </a:lnTo>
                  <a:lnTo>
                    <a:pt x="12" y="0"/>
                  </a:lnTo>
                  <a:lnTo>
                    <a:pt x="0" y="11"/>
                  </a:lnTo>
                  <a:lnTo>
                    <a:pt x="0" y="11"/>
                  </a:lnTo>
                  <a:close/>
                  <a:moveTo>
                    <a:pt x="43" y="49"/>
                  </a:moveTo>
                  <a:lnTo>
                    <a:pt x="55" y="37"/>
                  </a:lnTo>
                  <a:lnTo>
                    <a:pt x="69" y="49"/>
                  </a:lnTo>
                  <a:lnTo>
                    <a:pt x="55" y="63"/>
                  </a:lnTo>
                  <a:lnTo>
                    <a:pt x="43" y="49"/>
                  </a:lnTo>
                  <a:lnTo>
                    <a:pt x="43" y="49"/>
                  </a:lnTo>
                  <a:close/>
                  <a:moveTo>
                    <a:pt x="95" y="99"/>
                  </a:moveTo>
                  <a:lnTo>
                    <a:pt x="107" y="87"/>
                  </a:lnTo>
                  <a:lnTo>
                    <a:pt x="121" y="99"/>
                  </a:lnTo>
                  <a:lnTo>
                    <a:pt x="109" y="111"/>
                  </a:lnTo>
                  <a:lnTo>
                    <a:pt x="95" y="99"/>
                  </a:lnTo>
                  <a:lnTo>
                    <a:pt x="95" y="99"/>
                  </a:lnTo>
                  <a:close/>
                  <a:moveTo>
                    <a:pt x="149" y="148"/>
                  </a:moveTo>
                  <a:lnTo>
                    <a:pt x="161" y="134"/>
                  </a:lnTo>
                  <a:lnTo>
                    <a:pt x="173" y="146"/>
                  </a:lnTo>
                  <a:lnTo>
                    <a:pt x="161" y="160"/>
                  </a:lnTo>
                  <a:lnTo>
                    <a:pt x="149" y="148"/>
                  </a:lnTo>
                  <a:lnTo>
                    <a:pt x="149" y="148"/>
                  </a:lnTo>
                  <a:close/>
                  <a:moveTo>
                    <a:pt x="201" y="198"/>
                  </a:moveTo>
                  <a:lnTo>
                    <a:pt x="213" y="184"/>
                  </a:lnTo>
                  <a:lnTo>
                    <a:pt x="227" y="196"/>
                  </a:lnTo>
                  <a:lnTo>
                    <a:pt x="215" y="210"/>
                  </a:lnTo>
                  <a:lnTo>
                    <a:pt x="201" y="198"/>
                  </a:lnTo>
                  <a:lnTo>
                    <a:pt x="201" y="198"/>
                  </a:lnTo>
                  <a:close/>
                  <a:moveTo>
                    <a:pt x="253" y="245"/>
                  </a:moveTo>
                  <a:lnTo>
                    <a:pt x="267" y="234"/>
                  </a:lnTo>
                  <a:lnTo>
                    <a:pt x="279" y="245"/>
                  </a:lnTo>
                  <a:lnTo>
                    <a:pt x="267" y="257"/>
                  </a:lnTo>
                  <a:lnTo>
                    <a:pt x="253" y="245"/>
                  </a:lnTo>
                  <a:lnTo>
                    <a:pt x="253" y="245"/>
                  </a:lnTo>
                  <a:close/>
                  <a:moveTo>
                    <a:pt x="307" y="295"/>
                  </a:moveTo>
                  <a:lnTo>
                    <a:pt x="319" y="281"/>
                  </a:lnTo>
                  <a:lnTo>
                    <a:pt x="331" y="293"/>
                  </a:lnTo>
                  <a:lnTo>
                    <a:pt x="319" y="307"/>
                  </a:lnTo>
                  <a:lnTo>
                    <a:pt x="307" y="295"/>
                  </a:lnTo>
                  <a:lnTo>
                    <a:pt x="307" y="295"/>
                  </a:lnTo>
                  <a:close/>
                  <a:moveTo>
                    <a:pt x="359" y="345"/>
                  </a:moveTo>
                  <a:lnTo>
                    <a:pt x="371" y="330"/>
                  </a:lnTo>
                  <a:lnTo>
                    <a:pt x="385" y="342"/>
                  </a:lnTo>
                  <a:lnTo>
                    <a:pt x="373" y="356"/>
                  </a:lnTo>
                  <a:lnTo>
                    <a:pt x="359" y="345"/>
                  </a:lnTo>
                  <a:lnTo>
                    <a:pt x="359" y="345"/>
                  </a:lnTo>
                  <a:close/>
                  <a:moveTo>
                    <a:pt x="411" y="392"/>
                  </a:moveTo>
                  <a:lnTo>
                    <a:pt x="425" y="380"/>
                  </a:lnTo>
                  <a:lnTo>
                    <a:pt x="437" y="392"/>
                  </a:lnTo>
                  <a:lnTo>
                    <a:pt x="425" y="404"/>
                  </a:lnTo>
                  <a:lnTo>
                    <a:pt x="411" y="392"/>
                  </a:lnTo>
                  <a:lnTo>
                    <a:pt x="411" y="392"/>
                  </a:lnTo>
                  <a:close/>
                  <a:moveTo>
                    <a:pt x="466" y="441"/>
                  </a:moveTo>
                  <a:lnTo>
                    <a:pt x="477" y="427"/>
                  </a:lnTo>
                  <a:lnTo>
                    <a:pt x="492" y="441"/>
                  </a:lnTo>
                  <a:lnTo>
                    <a:pt x="477" y="453"/>
                  </a:lnTo>
                  <a:lnTo>
                    <a:pt x="466" y="441"/>
                  </a:lnTo>
                  <a:lnTo>
                    <a:pt x="466" y="441"/>
                  </a:lnTo>
                  <a:close/>
                  <a:moveTo>
                    <a:pt x="518" y="491"/>
                  </a:moveTo>
                  <a:lnTo>
                    <a:pt x="529" y="477"/>
                  </a:lnTo>
                  <a:lnTo>
                    <a:pt x="543" y="489"/>
                  </a:lnTo>
                  <a:lnTo>
                    <a:pt x="532" y="503"/>
                  </a:lnTo>
                  <a:lnTo>
                    <a:pt x="518" y="491"/>
                  </a:lnTo>
                  <a:lnTo>
                    <a:pt x="518" y="491"/>
                  </a:lnTo>
                  <a:close/>
                  <a:moveTo>
                    <a:pt x="572" y="538"/>
                  </a:moveTo>
                  <a:lnTo>
                    <a:pt x="584" y="526"/>
                  </a:lnTo>
                  <a:lnTo>
                    <a:pt x="595" y="538"/>
                  </a:lnTo>
                  <a:lnTo>
                    <a:pt x="584" y="550"/>
                  </a:lnTo>
                  <a:lnTo>
                    <a:pt x="572" y="538"/>
                  </a:lnTo>
                  <a:lnTo>
                    <a:pt x="572" y="538"/>
                  </a:lnTo>
                  <a:close/>
                  <a:moveTo>
                    <a:pt x="624" y="588"/>
                  </a:moveTo>
                  <a:lnTo>
                    <a:pt x="636" y="574"/>
                  </a:lnTo>
                  <a:lnTo>
                    <a:pt x="650" y="588"/>
                  </a:lnTo>
                  <a:lnTo>
                    <a:pt x="638" y="600"/>
                  </a:lnTo>
                  <a:lnTo>
                    <a:pt x="624" y="588"/>
                  </a:lnTo>
                  <a:lnTo>
                    <a:pt x="624" y="588"/>
                  </a:lnTo>
                  <a:close/>
                  <a:moveTo>
                    <a:pt x="676" y="637"/>
                  </a:moveTo>
                  <a:lnTo>
                    <a:pt x="690" y="623"/>
                  </a:lnTo>
                  <a:lnTo>
                    <a:pt x="702" y="635"/>
                  </a:lnTo>
                  <a:lnTo>
                    <a:pt x="690" y="649"/>
                  </a:lnTo>
                  <a:lnTo>
                    <a:pt x="676" y="637"/>
                  </a:lnTo>
                  <a:lnTo>
                    <a:pt x="676" y="637"/>
                  </a:lnTo>
                  <a:close/>
                  <a:moveTo>
                    <a:pt x="730" y="685"/>
                  </a:moveTo>
                  <a:lnTo>
                    <a:pt x="742" y="673"/>
                  </a:lnTo>
                  <a:lnTo>
                    <a:pt x="756" y="685"/>
                  </a:lnTo>
                  <a:lnTo>
                    <a:pt x="742" y="699"/>
                  </a:lnTo>
                  <a:lnTo>
                    <a:pt x="730" y="685"/>
                  </a:lnTo>
                  <a:lnTo>
                    <a:pt x="730" y="685"/>
                  </a:lnTo>
                  <a:close/>
                  <a:moveTo>
                    <a:pt x="782" y="734"/>
                  </a:moveTo>
                  <a:lnTo>
                    <a:pt x="794" y="720"/>
                  </a:lnTo>
                  <a:lnTo>
                    <a:pt x="808" y="734"/>
                  </a:lnTo>
                  <a:lnTo>
                    <a:pt x="796" y="746"/>
                  </a:lnTo>
                  <a:lnTo>
                    <a:pt x="782" y="734"/>
                  </a:lnTo>
                  <a:lnTo>
                    <a:pt x="782" y="734"/>
                  </a:lnTo>
                  <a:close/>
                  <a:moveTo>
                    <a:pt x="836" y="784"/>
                  </a:moveTo>
                  <a:lnTo>
                    <a:pt x="848" y="770"/>
                  </a:lnTo>
                  <a:lnTo>
                    <a:pt x="860" y="782"/>
                  </a:lnTo>
                  <a:lnTo>
                    <a:pt x="848" y="796"/>
                  </a:lnTo>
                  <a:lnTo>
                    <a:pt x="836" y="78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0" name="Freeform 507"/>
            <p:cNvSpPr>
              <a:spLocks noEditPoints="1"/>
            </p:cNvSpPr>
            <p:nvPr/>
          </p:nvSpPr>
          <p:spPr bwMode="auto">
            <a:xfrm>
              <a:off x="6253163" y="4641850"/>
              <a:ext cx="1282700" cy="619125"/>
            </a:xfrm>
            <a:custGeom>
              <a:avLst/>
              <a:gdLst>
                <a:gd name="T0" fmla="*/ 784 w 808"/>
                <a:gd name="T1" fmla="*/ 9 h 390"/>
                <a:gd name="T2" fmla="*/ 808 w 808"/>
                <a:gd name="T3" fmla="*/ 16 h 390"/>
                <a:gd name="T4" fmla="*/ 791 w 808"/>
                <a:gd name="T5" fmla="*/ 23 h 390"/>
                <a:gd name="T6" fmla="*/ 0 w 808"/>
                <a:gd name="T7" fmla="*/ 373 h 390"/>
                <a:gd name="T8" fmla="*/ 24 w 808"/>
                <a:gd name="T9" fmla="*/ 382 h 390"/>
                <a:gd name="T10" fmla="*/ 7 w 808"/>
                <a:gd name="T11" fmla="*/ 390 h 390"/>
                <a:gd name="T12" fmla="*/ 66 w 808"/>
                <a:gd name="T13" fmla="*/ 342 h 390"/>
                <a:gd name="T14" fmla="*/ 90 w 808"/>
                <a:gd name="T15" fmla="*/ 352 h 390"/>
                <a:gd name="T16" fmla="*/ 73 w 808"/>
                <a:gd name="T17" fmla="*/ 359 h 390"/>
                <a:gd name="T18" fmla="*/ 130 w 808"/>
                <a:gd name="T19" fmla="*/ 312 h 390"/>
                <a:gd name="T20" fmla="*/ 156 w 808"/>
                <a:gd name="T21" fmla="*/ 321 h 390"/>
                <a:gd name="T22" fmla="*/ 140 w 808"/>
                <a:gd name="T23" fmla="*/ 328 h 390"/>
                <a:gd name="T24" fmla="*/ 196 w 808"/>
                <a:gd name="T25" fmla="*/ 283 h 390"/>
                <a:gd name="T26" fmla="*/ 220 w 808"/>
                <a:gd name="T27" fmla="*/ 290 h 390"/>
                <a:gd name="T28" fmla="*/ 203 w 808"/>
                <a:gd name="T29" fmla="*/ 297 h 390"/>
                <a:gd name="T30" fmla="*/ 262 w 808"/>
                <a:gd name="T31" fmla="*/ 253 h 390"/>
                <a:gd name="T32" fmla="*/ 286 w 808"/>
                <a:gd name="T33" fmla="*/ 260 h 390"/>
                <a:gd name="T34" fmla="*/ 269 w 808"/>
                <a:gd name="T35" fmla="*/ 269 h 390"/>
                <a:gd name="T36" fmla="*/ 326 w 808"/>
                <a:gd name="T37" fmla="*/ 222 h 390"/>
                <a:gd name="T38" fmla="*/ 350 w 808"/>
                <a:gd name="T39" fmla="*/ 229 h 390"/>
                <a:gd name="T40" fmla="*/ 333 w 808"/>
                <a:gd name="T41" fmla="*/ 238 h 390"/>
                <a:gd name="T42" fmla="*/ 392 w 808"/>
                <a:gd name="T43" fmla="*/ 191 h 390"/>
                <a:gd name="T44" fmla="*/ 416 w 808"/>
                <a:gd name="T45" fmla="*/ 201 h 390"/>
                <a:gd name="T46" fmla="*/ 399 w 808"/>
                <a:gd name="T47" fmla="*/ 208 h 390"/>
                <a:gd name="T48" fmla="*/ 458 w 808"/>
                <a:gd name="T49" fmla="*/ 160 h 390"/>
                <a:gd name="T50" fmla="*/ 482 w 808"/>
                <a:gd name="T51" fmla="*/ 170 h 390"/>
                <a:gd name="T52" fmla="*/ 465 w 808"/>
                <a:gd name="T53" fmla="*/ 177 h 390"/>
                <a:gd name="T54" fmla="*/ 522 w 808"/>
                <a:gd name="T55" fmla="*/ 130 h 390"/>
                <a:gd name="T56" fmla="*/ 546 w 808"/>
                <a:gd name="T57" fmla="*/ 139 h 390"/>
                <a:gd name="T58" fmla="*/ 529 w 808"/>
                <a:gd name="T59" fmla="*/ 146 h 390"/>
                <a:gd name="T60" fmla="*/ 588 w 808"/>
                <a:gd name="T61" fmla="*/ 99 h 390"/>
                <a:gd name="T62" fmla="*/ 612 w 808"/>
                <a:gd name="T63" fmla="*/ 108 h 390"/>
                <a:gd name="T64" fmla="*/ 595 w 808"/>
                <a:gd name="T65" fmla="*/ 116 h 390"/>
                <a:gd name="T66" fmla="*/ 652 w 808"/>
                <a:gd name="T67" fmla="*/ 68 h 390"/>
                <a:gd name="T68" fmla="*/ 676 w 808"/>
                <a:gd name="T69" fmla="*/ 78 h 390"/>
                <a:gd name="T70" fmla="*/ 662 w 808"/>
                <a:gd name="T71" fmla="*/ 85 h 390"/>
                <a:gd name="T72" fmla="*/ 718 w 808"/>
                <a:gd name="T73" fmla="*/ 38 h 390"/>
                <a:gd name="T74" fmla="*/ 742 w 808"/>
                <a:gd name="T75" fmla="*/ 4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8" h="390">
                  <a:moveTo>
                    <a:pt x="791" y="23"/>
                  </a:moveTo>
                  <a:lnTo>
                    <a:pt x="784" y="9"/>
                  </a:lnTo>
                  <a:lnTo>
                    <a:pt x="799" y="0"/>
                  </a:lnTo>
                  <a:lnTo>
                    <a:pt x="808" y="16"/>
                  </a:lnTo>
                  <a:lnTo>
                    <a:pt x="791" y="23"/>
                  </a:lnTo>
                  <a:lnTo>
                    <a:pt x="791" y="23"/>
                  </a:lnTo>
                  <a:close/>
                  <a:moveTo>
                    <a:pt x="7" y="390"/>
                  </a:moveTo>
                  <a:lnTo>
                    <a:pt x="0" y="373"/>
                  </a:lnTo>
                  <a:lnTo>
                    <a:pt x="17" y="366"/>
                  </a:lnTo>
                  <a:lnTo>
                    <a:pt x="24" y="382"/>
                  </a:lnTo>
                  <a:lnTo>
                    <a:pt x="7" y="390"/>
                  </a:lnTo>
                  <a:lnTo>
                    <a:pt x="7" y="390"/>
                  </a:lnTo>
                  <a:close/>
                  <a:moveTo>
                    <a:pt x="73" y="359"/>
                  </a:moveTo>
                  <a:lnTo>
                    <a:pt x="66" y="342"/>
                  </a:lnTo>
                  <a:lnTo>
                    <a:pt x="83" y="335"/>
                  </a:lnTo>
                  <a:lnTo>
                    <a:pt x="90" y="352"/>
                  </a:lnTo>
                  <a:lnTo>
                    <a:pt x="73" y="359"/>
                  </a:lnTo>
                  <a:lnTo>
                    <a:pt x="73" y="359"/>
                  </a:lnTo>
                  <a:close/>
                  <a:moveTo>
                    <a:pt x="140" y="328"/>
                  </a:moveTo>
                  <a:lnTo>
                    <a:pt x="130" y="312"/>
                  </a:lnTo>
                  <a:lnTo>
                    <a:pt x="147" y="305"/>
                  </a:lnTo>
                  <a:lnTo>
                    <a:pt x="156" y="321"/>
                  </a:lnTo>
                  <a:lnTo>
                    <a:pt x="140" y="328"/>
                  </a:lnTo>
                  <a:lnTo>
                    <a:pt x="140" y="328"/>
                  </a:lnTo>
                  <a:close/>
                  <a:moveTo>
                    <a:pt x="203" y="297"/>
                  </a:moveTo>
                  <a:lnTo>
                    <a:pt x="196" y="283"/>
                  </a:lnTo>
                  <a:lnTo>
                    <a:pt x="213" y="274"/>
                  </a:lnTo>
                  <a:lnTo>
                    <a:pt x="220" y="290"/>
                  </a:lnTo>
                  <a:lnTo>
                    <a:pt x="203" y="297"/>
                  </a:lnTo>
                  <a:lnTo>
                    <a:pt x="203" y="297"/>
                  </a:lnTo>
                  <a:close/>
                  <a:moveTo>
                    <a:pt x="269" y="269"/>
                  </a:moveTo>
                  <a:lnTo>
                    <a:pt x="262" y="253"/>
                  </a:lnTo>
                  <a:lnTo>
                    <a:pt x="279" y="243"/>
                  </a:lnTo>
                  <a:lnTo>
                    <a:pt x="286" y="260"/>
                  </a:lnTo>
                  <a:lnTo>
                    <a:pt x="269" y="269"/>
                  </a:lnTo>
                  <a:lnTo>
                    <a:pt x="269" y="269"/>
                  </a:lnTo>
                  <a:close/>
                  <a:moveTo>
                    <a:pt x="333" y="238"/>
                  </a:moveTo>
                  <a:lnTo>
                    <a:pt x="326" y="222"/>
                  </a:lnTo>
                  <a:lnTo>
                    <a:pt x="343" y="215"/>
                  </a:lnTo>
                  <a:lnTo>
                    <a:pt x="350" y="229"/>
                  </a:lnTo>
                  <a:lnTo>
                    <a:pt x="333" y="238"/>
                  </a:lnTo>
                  <a:lnTo>
                    <a:pt x="333" y="238"/>
                  </a:lnTo>
                  <a:close/>
                  <a:moveTo>
                    <a:pt x="399" y="208"/>
                  </a:moveTo>
                  <a:lnTo>
                    <a:pt x="392" y="191"/>
                  </a:lnTo>
                  <a:lnTo>
                    <a:pt x="409" y="184"/>
                  </a:lnTo>
                  <a:lnTo>
                    <a:pt x="416" y="201"/>
                  </a:lnTo>
                  <a:lnTo>
                    <a:pt x="399" y="208"/>
                  </a:lnTo>
                  <a:lnTo>
                    <a:pt x="399" y="208"/>
                  </a:lnTo>
                  <a:close/>
                  <a:moveTo>
                    <a:pt x="465" y="177"/>
                  </a:moveTo>
                  <a:lnTo>
                    <a:pt x="458" y="160"/>
                  </a:lnTo>
                  <a:lnTo>
                    <a:pt x="473" y="153"/>
                  </a:lnTo>
                  <a:lnTo>
                    <a:pt x="482" y="170"/>
                  </a:lnTo>
                  <a:lnTo>
                    <a:pt x="465" y="177"/>
                  </a:lnTo>
                  <a:lnTo>
                    <a:pt x="465" y="177"/>
                  </a:lnTo>
                  <a:close/>
                  <a:moveTo>
                    <a:pt x="529" y="146"/>
                  </a:moveTo>
                  <a:lnTo>
                    <a:pt x="522" y="130"/>
                  </a:lnTo>
                  <a:lnTo>
                    <a:pt x="539" y="123"/>
                  </a:lnTo>
                  <a:lnTo>
                    <a:pt x="546" y="139"/>
                  </a:lnTo>
                  <a:lnTo>
                    <a:pt x="529" y="146"/>
                  </a:lnTo>
                  <a:lnTo>
                    <a:pt x="529" y="146"/>
                  </a:lnTo>
                  <a:close/>
                  <a:moveTo>
                    <a:pt x="595" y="116"/>
                  </a:moveTo>
                  <a:lnTo>
                    <a:pt x="588" y="99"/>
                  </a:lnTo>
                  <a:lnTo>
                    <a:pt x="605" y="92"/>
                  </a:lnTo>
                  <a:lnTo>
                    <a:pt x="612" y="108"/>
                  </a:lnTo>
                  <a:lnTo>
                    <a:pt x="595" y="116"/>
                  </a:lnTo>
                  <a:lnTo>
                    <a:pt x="595" y="116"/>
                  </a:lnTo>
                  <a:close/>
                  <a:moveTo>
                    <a:pt x="662" y="85"/>
                  </a:moveTo>
                  <a:lnTo>
                    <a:pt x="652" y="68"/>
                  </a:lnTo>
                  <a:lnTo>
                    <a:pt x="669" y="61"/>
                  </a:lnTo>
                  <a:lnTo>
                    <a:pt x="676" y="78"/>
                  </a:lnTo>
                  <a:lnTo>
                    <a:pt x="662" y="85"/>
                  </a:lnTo>
                  <a:lnTo>
                    <a:pt x="662" y="85"/>
                  </a:lnTo>
                  <a:close/>
                  <a:moveTo>
                    <a:pt x="725" y="54"/>
                  </a:moveTo>
                  <a:lnTo>
                    <a:pt x="718" y="38"/>
                  </a:lnTo>
                  <a:lnTo>
                    <a:pt x="735" y="30"/>
                  </a:lnTo>
                  <a:lnTo>
                    <a:pt x="742" y="47"/>
                  </a:lnTo>
                  <a:lnTo>
                    <a:pt x="725"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1" name="Freeform 508"/>
            <p:cNvSpPr>
              <a:spLocks noEditPoints="1"/>
            </p:cNvSpPr>
            <p:nvPr/>
          </p:nvSpPr>
          <p:spPr bwMode="auto">
            <a:xfrm>
              <a:off x="7521575" y="3749675"/>
              <a:ext cx="1203325" cy="917575"/>
            </a:xfrm>
            <a:custGeom>
              <a:avLst/>
              <a:gdLst>
                <a:gd name="T0" fmla="*/ 23 w 758"/>
                <a:gd name="T1" fmla="*/ 567 h 578"/>
                <a:gd name="T2" fmla="*/ 0 w 758"/>
                <a:gd name="T3" fmla="*/ 564 h 578"/>
                <a:gd name="T4" fmla="*/ 14 w 758"/>
                <a:gd name="T5" fmla="*/ 552 h 578"/>
                <a:gd name="T6" fmla="*/ 746 w 758"/>
                <a:gd name="T7" fmla="*/ 0 h 578"/>
                <a:gd name="T8" fmla="*/ 758 w 758"/>
                <a:gd name="T9" fmla="*/ 14 h 578"/>
                <a:gd name="T10" fmla="*/ 746 w 758"/>
                <a:gd name="T11" fmla="*/ 0 h 578"/>
                <a:gd name="T12" fmla="*/ 713 w 758"/>
                <a:gd name="T13" fmla="*/ 47 h 578"/>
                <a:gd name="T14" fmla="*/ 689 w 758"/>
                <a:gd name="T15" fmla="*/ 42 h 578"/>
                <a:gd name="T16" fmla="*/ 703 w 758"/>
                <a:gd name="T17" fmla="*/ 33 h 578"/>
                <a:gd name="T18" fmla="*/ 656 w 758"/>
                <a:gd name="T19" fmla="*/ 89 h 578"/>
                <a:gd name="T20" fmla="*/ 630 w 758"/>
                <a:gd name="T21" fmla="*/ 87 h 578"/>
                <a:gd name="T22" fmla="*/ 644 w 758"/>
                <a:gd name="T23" fmla="*/ 75 h 578"/>
                <a:gd name="T24" fmla="*/ 599 w 758"/>
                <a:gd name="T25" fmla="*/ 134 h 578"/>
                <a:gd name="T26" fmla="*/ 573 w 758"/>
                <a:gd name="T27" fmla="*/ 130 h 578"/>
                <a:gd name="T28" fmla="*/ 588 w 758"/>
                <a:gd name="T29" fmla="*/ 118 h 578"/>
                <a:gd name="T30" fmla="*/ 540 w 758"/>
                <a:gd name="T31" fmla="*/ 177 h 578"/>
                <a:gd name="T32" fmla="*/ 517 w 758"/>
                <a:gd name="T33" fmla="*/ 172 h 578"/>
                <a:gd name="T34" fmla="*/ 531 w 758"/>
                <a:gd name="T35" fmla="*/ 163 h 578"/>
                <a:gd name="T36" fmla="*/ 484 w 758"/>
                <a:gd name="T37" fmla="*/ 219 h 578"/>
                <a:gd name="T38" fmla="*/ 458 w 758"/>
                <a:gd name="T39" fmla="*/ 217 h 578"/>
                <a:gd name="T40" fmla="*/ 472 w 758"/>
                <a:gd name="T41" fmla="*/ 205 h 578"/>
                <a:gd name="T42" fmla="*/ 427 w 758"/>
                <a:gd name="T43" fmla="*/ 264 h 578"/>
                <a:gd name="T44" fmla="*/ 401 w 758"/>
                <a:gd name="T45" fmla="*/ 259 h 578"/>
                <a:gd name="T46" fmla="*/ 415 w 758"/>
                <a:gd name="T47" fmla="*/ 250 h 578"/>
                <a:gd name="T48" fmla="*/ 368 w 758"/>
                <a:gd name="T49" fmla="*/ 307 h 578"/>
                <a:gd name="T50" fmla="*/ 344 w 758"/>
                <a:gd name="T51" fmla="*/ 304 h 578"/>
                <a:gd name="T52" fmla="*/ 359 w 758"/>
                <a:gd name="T53" fmla="*/ 292 h 578"/>
                <a:gd name="T54" fmla="*/ 311 w 758"/>
                <a:gd name="T55" fmla="*/ 349 h 578"/>
                <a:gd name="T56" fmla="*/ 285 w 758"/>
                <a:gd name="T57" fmla="*/ 347 h 578"/>
                <a:gd name="T58" fmla="*/ 299 w 758"/>
                <a:gd name="T59" fmla="*/ 335 h 578"/>
                <a:gd name="T60" fmla="*/ 255 w 758"/>
                <a:gd name="T61" fmla="*/ 394 h 578"/>
                <a:gd name="T62" fmla="*/ 229 w 758"/>
                <a:gd name="T63" fmla="*/ 389 h 578"/>
                <a:gd name="T64" fmla="*/ 243 w 758"/>
                <a:gd name="T65" fmla="*/ 380 h 578"/>
                <a:gd name="T66" fmla="*/ 196 w 758"/>
                <a:gd name="T67" fmla="*/ 437 h 578"/>
                <a:gd name="T68" fmla="*/ 172 w 758"/>
                <a:gd name="T69" fmla="*/ 434 h 578"/>
                <a:gd name="T70" fmla="*/ 186 w 758"/>
                <a:gd name="T71" fmla="*/ 422 h 578"/>
                <a:gd name="T72" fmla="*/ 139 w 758"/>
                <a:gd name="T73" fmla="*/ 481 h 578"/>
                <a:gd name="T74" fmla="*/ 113 w 758"/>
                <a:gd name="T75" fmla="*/ 477 h 578"/>
                <a:gd name="T76" fmla="*/ 129 w 758"/>
                <a:gd name="T77" fmla="*/ 465 h 578"/>
                <a:gd name="T78" fmla="*/ 82 w 758"/>
                <a:gd name="T79" fmla="*/ 524 h 578"/>
                <a:gd name="T80" fmla="*/ 56 w 758"/>
                <a:gd name="T81" fmla="*/ 519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8" h="578">
                  <a:moveTo>
                    <a:pt x="14" y="552"/>
                  </a:moveTo>
                  <a:lnTo>
                    <a:pt x="23" y="567"/>
                  </a:lnTo>
                  <a:lnTo>
                    <a:pt x="9" y="578"/>
                  </a:lnTo>
                  <a:lnTo>
                    <a:pt x="0" y="564"/>
                  </a:lnTo>
                  <a:lnTo>
                    <a:pt x="14" y="552"/>
                  </a:lnTo>
                  <a:lnTo>
                    <a:pt x="14" y="552"/>
                  </a:lnTo>
                  <a:close/>
                  <a:moveTo>
                    <a:pt x="746" y="0"/>
                  </a:moveTo>
                  <a:lnTo>
                    <a:pt x="746" y="0"/>
                  </a:lnTo>
                  <a:lnTo>
                    <a:pt x="758" y="14"/>
                  </a:lnTo>
                  <a:lnTo>
                    <a:pt x="758" y="14"/>
                  </a:lnTo>
                  <a:lnTo>
                    <a:pt x="746" y="0"/>
                  </a:lnTo>
                  <a:lnTo>
                    <a:pt x="746" y="0"/>
                  </a:lnTo>
                  <a:close/>
                  <a:moveTo>
                    <a:pt x="703" y="33"/>
                  </a:moveTo>
                  <a:lnTo>
                    <a:pt x="713" y="47"/>
                  </a:lnTo>
                  <a:lnTo>
                    <a:pt x="699" y="56"/>
                  </a:lnTo>
                  <a:lnTo>
                    <a:pt x="689" y="42"/>
                  </a:lnTo>
                  <a:lnTo>
                    <a:pt x="703" y="33"/>
                  </a:lnTo>
                  <a:lnTo>
                    <a:pt x="703" y="33"/>
                  </a:lnTo>
                  <a:close/>
                  <a:moveTo>
                    <a:pt x="644" y="75"/>
                  </a:moveTo>
                  <a:lnTo>
                    <a:pt x="656" y="89"/>
                  </a:lnTo>
                  <a:lnTo>
                    <a:pt x="642" y="101"/>
                  </a:lnTo>
                  <a:lnTo>
                    <a:pt x="630" y="87"/>
                  </a:lnTo>
                  <a:lnTo>
                    <a:pt x="644" y="75"/>
                  </a:lnTo>
                  <a:lnTo>
                    <a:pt x="644" y="75"/>
                  </a:lnTo>
                  <a:close/>
                  <a:moveTo>
                    <a:pt x="588" y="118"/>
                  </a:moveTo>
                  <a:lnTo>
                    <a:pt x="599" y="134"/>
                  </a:lnTo>
                  <a:lnTo>
                    <a:pt x="585" y="144"/>
                  </a:lnTo>
                  <a:lnTo>
                    <a:pt x="573" y="130"/>
                  </a:lnTo>
                  <a:lnTo>
                    <a:pt x="588" y="118"/>
                  </a:lnTo>
                  <a:lnTo>
                    <a:pt x="588" y="118"/>
                  </a:lnTo>
                  <a:close/>
                  <a:moveTo>
                    <a:pt x="531" y="163"/>
                  </a:moveTo>
                  <a:lnTo>
                    <a:pt x="540" y="177"/>
                  </a:lnTo>
                  <a:lnTo>
                    <a:pt x="526" y="186"/>
                  </a:lnTo>
                  <a:lnTo>
                    <a:pt x="517" y="172"/>
                  </a:lnTo>
                  <a:lnTo>
                    <a:pt x="531" y="163"/>
                  </a:lnTo>
                  <a:lnTo>
                    <a:pt x="531" y="163"/>
                  </a:lnTo>
                  <a:close/>
                  <a:moveTo>
                    <a:pt x="472" y="205"/>
                  </a:moveTo>
                  <a:lnTo>
                    <a:pt x="484" y="219"/>
                  </a:lnTo>
                  <a:lnTo>
                    <a:pt x="470" y="231"/>
                  </a:lnTo>
                  <a:lnTo>
                    <a:pt x="458" y="217"/>
                  </a:lnTo>
                  <a:lnTo>
                    <a:pt x="472" y="205"/>
                  </a:lnTo>
                  <a:lnTo>
                    <a:pt x="472" y="205"/>
                  </a:lnTo>
                  <a:close/>
                  <a:moveTo>
                    <a:pt x="415" y="250"/>
                  </a:moveTo>
                  <a:lnTo>
                    <a:pt x="427" y="264"/>
                  </a:lnTo>
                  <a:lnTo>
                    <a:pt x="413" y="274"/>
                  </a:lnTo>
                  <a:lnTo>
                    <a:pt x="401" y="259"/>
                  </a:lnTo>
                  <a:lnTo>
                    <a:pt x="415" y="250"/>
                  </a:lnTo>
                  <a:lnTo>
                    <a:pt x="415" y="250"/>
                  </a:lnTo>
                  <a:close/>
                  <a:moveTo>
                    <a:pt x="359" y="292"/>
                  </a:moveTo>
                  <a:lnTo>
                    <a:pt x="368" y="307"/>
                  </a:lnTo>
                  <a:lnTo>
                    <a:pt x="354" y="318"/>
                  </a:lnTo>
                  <a:lnTo>
                    <a:pt x="344" y="304"/>
                  </a:lnTo>
                  <a:lnTo>
                    <a:pt x="359" y="292"/>
                  </a:lnTo>
                  <a:lnTo>
                    <a:pt x="359" y="292"/>
                  </a:lnTo>
                  <a:close/>
                  <a:moveTo>
                    <a:pt x="299" y="335"/>
                  </a:moveTo>
                  <a:lnTo>
                    <a:pt x="311" y="349"/>
                  </a:lnTo>
                  <a:lnTo>
                    <a:pt x="297" y="361"/>
                  </a:lnTo>
                  <a:lnTo>
                    <a:pt x="285" y="347"/>
                  </a:lnTo>
                  <a:lnTo>
                    <a:pt x="299" y="335"/>
                  </a:lnTo>
                  <a:lnTo>
                    <a:pt x="299" y="335"/>
                  </a:lnTo>
                  <a:close/>
                  <a:moveTo>
                    <a:pt x="243" y="380"/>
                  </a:moveTo>
                  <a:lnTo>
                    <a:pt x="255" y="394"/>
                  </a:lnTo>
                  <a:lnTo>
                    <a:pt x="240" y="404"/>
                  </a:lnTo>
                  <a:lnTo>
                    <a:pt x="229" y="389"/>
                  </a:lnTo>
                  <a:lnTo>
                    <a:pt x="243" y="380"/>
                  </a:lnTo>
                  <a:lnTo>
                    <a:pt x="243" y="380"/>
                  </a:lnTo>
                  <a:close/>
                  <a:moveTo>
                    <a:pt x="186" y="422"/>
                  </a:moveTo>
                  <a:lnTo>
                    <a:pt x="196" y="437"/>
                  </a:lnTo>
                  <a:lnTo>
                    <a:pt x="181" y="448"/>
                  </a:lnTo>
                  <a:lnTo>
                    <a:pt x="172" y="434"/>
                  </a:lnTo>
                  <a:lnTo>
                    <a:pt x="186" y="422"/>
                  </a:lnTo>
                  <a:lnTo>
                    <a:pt x="186" y="422"/>
                  </a:lnTo>
                  <a:close/>
                  <a:moveTo>
                    <a:pt x="129" y="465"/>
                  </a:moveTo>
                  <a:lnTo>
                    <a:pt x="139" y="481"/>
                  </a:lnTo>
                  <a:lnTo>
                    <a:pt x="125" y="491"/>
                  </a:lnTo>
                  <a:lnTo>
                    <a:pt x="113" y="477"/>
                  </a:lnTo>
                  <a:lnTo>
                    <a:pt x="129" y="465"/>
                  </a:lnTo>
                  <a:lnTo>
                    <a:pt x="129" y="465"/>
                  </a:lnTo>
                  <a:close/>
                  <a:moveTo>
                    <a:pt x="70" y="510"/>
                  </a:moveTo>
                  <a:lnTo>
                    <a:pt x="82" y="524"/>
                  </a:lnTo>
                  <a:lnTo>
                    <a:pt x="68" y="533"/>
                  </a:lnTo>
                  <a:lnTo>
                    <a:pt x="56" y="519"/>
                  </a:lnTo>
                  <a:lnTo>
                    <a:pt x="70" y="5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2" name="Freeform 509"/>
            <p:cNvSpPr>
              <a:spLocks noEditPoints="1"/>
            </p:cNvSpPr>
            <p:nvPr/>
          </p:nvSpPr>
          <p:spPr bwMode="auto">
            <a:xfrm>
              <a:off x="7527925" y="4641850"/>
              <a:ext cx="1485900" cy="130175"/>
            </a:xfrm>
            <a:custGeom>
              <a:avLst/>
              <a:gdLst>
                <a:gd name="T0" fmla="*/ 17 w 936"/>
                <a:gd name="T1" fmla="*/ 19 h 82"/>
                <a:gd name="T2" fmla="*/ 0 w 936"/>
                <a:gd name="T3" fmla="*/ 0 h 82"/>
                <a:gd name="T4" fmla="*/ 19 w 936"/>
                <a:gd name="T5" fmla="*/ 2 h 82"/>
                <a:gd name="T6" fmla="*/ 936 w 936"/>
                <a:gd name="T7" fmla="*/ 66 h 82"/>
                <a:gd name="T8" fmla="*/ 933 w 936"/>
                <a:gd name="T9" fmla="*/ 82 h 82"/>
                <a:gd name="T10" fmla="*/ 936 w 936"/>
                <a:gd name="T11" fmla="*/ 66 h 82"/>
                <a:gd name="T12" fmla="*/ 879 w 936"/>
                <a:gd name="T13" fmla="*/ 80 h 82"/>
                <a:gd name="T14" fmla="*/ 862 w 936"/>
                <a:gd name="T15" fmla="*/ 61 h 82"/>
                <a:gd name="T16" fmla="*/ 881 w 936"/>
                <a:gd name="T17" fmla="*/ 61 h 82"/>
                <a:gd name="T18" fmla="*/ 808 w 936"/>
                <a:gd name="T19" fmla="*/ 75 h 82"/>
                <a:gd name="T20" fmla="*/ 791 w 936"/>
                <a:gd name="T21" fmla="*/ 56 h 82"/>
                <a:gd name="T22" fmla="*/ 808 w 936"/>
                <a:gd name="T23" fmla="*/ 56 h 82"/>
                <a:gd name="T24" fmla="*/ 735 w 936"/>
                <a:gd name="T25" fmla="*/ 71 h 82"/>
                <a:gd name="T26" fmla="*/ 718 w 936"/>
                <a:gd name="T27" fmla="*/ 49 h 82"/>
                <a:gd name="T28" fmla="*/ 737 w 936"/>
                <a:gd name="T29" fmla="*/ 52 h 82"/>
                <a:gd name="T30" fmla="*/ 664 w 936"/>
                <a:gd name="T31" fmla="*/ 64 h 82"/>
                <a:gd name="T32" fmla="*/ 647 w 936"/>
                <a:gd name="T33" fmla="*/ 45 h 82"/>
                <a:gd name="T34" fmla="*/ 666 w 936"/>
                <a:gd name="T35" fmla="*/ 47 h 82"/>
                <a:gd name="T36" fmla="*/ 593 w 936"/>
                <a:gd name="T37" fmla="*/ 59 h 82"/>
                <a:gd name="T38" fmla="*/ 577 w 936"/>
                <a:gd name="T39" fmla="*/ 40 h 82"/>
                <a:gd name="T40" fmla="*/ 593 w 936"/>
                <a:gd name="T41" fmla="*/ 42 h 82"/>
                <a:gd name="T42" fmla="*/ 520 w 936"/>
                <a:gd name="T43" fmla="*/ 54 h 82"/>
                <a:gd name="T44" fmla="*/ 503 w 936"/>
                <a:gd name="T45" fmla="*/ 35 h 82"/>
                <a:gd name="T46" fmla="*/ 522 w 936"/>
                <a:gd name="T47" fmla="*/ 38 h 82"/>
                <a:gd name="T48" fmla="*/ 449 w 936"/>
                <a:gd name="T49" fmla="*/ 49 h 82"/>
                <a:gd name="T50" fmla="*/ 432 w 936"/>
                <a:gd name="T51" fmla="*/ 30 h 82"/>
                <a:gd name="T52" fmla="*/ 449 w 936"/>
                <a:gd name="T53" fmla="*/ 30 h 82"/>
                <a:gd name="T54" fmla="*/ 376 w 936"/>
                <a:gd name="T55" fmla="*/ 45 h 82"/>
                <a:gd name="T56" fmla="*/ 359 w 936"/>
                <a:gd name="T57" fmla="*/ 26 h 82"/>
                <a:gd name="T58" fmla="*/ 378 w 936"/>
                <a:gd name="T59" fmla="*/ 26 h 82"/>
                <a:gd name="T60" fmla="*/ 305 w 936"/>
                <a:gd name="T61" fmla="*/ 40 h 82"/>
                <a:gd name="T62" fmla="*/ 288 w 936"/>
                <a:gd name="T63" fmla="*/ 21 h 82"/>
                <a:gd name="T64" fmla="*/ 307 w 936"/>
                <a:gd name="T65" fmla="*/ 21 h 82"/>
                <a:gd name="T66" fmla="*/ 234 w 936"/>
                <a:gd name="T67" fmla="*/ 35 h 82"/>
                <a:gd name="T68" fmla="*/ 218 w 936"/>
                <a:gd name="T69" fmla="*/ 14 h 82"/>
                <a:gd name="T70" fmla="*/ 234 w 936"/>
                <a:gd name="T71" fmla="*/ 16 h 82"/>
                <a:gd name="T72" fmla="*/ 161 w 936"/>
                <a:gd name="T73" fmla="*/ 28 h 82"/>
                <a:gd name="T74" fmla="*/ 144 w 936"/>
                <a:gd name="T75" fmla="*/ 9 h 82"/>
                <a:gd name="T76" fmla="*/ 163 w 936"/>
                <a:gd name="T77" fmla="*/ 12 h 82"/>
                <a:gd name="T78" fmla="*/ 90 w 936"/>
                <a:gd name="T79" fmla="*/ 23 h 82"/>
                <a:gd name="T80" fmla="*/ 73 w 936"/>
                <a:gd name="T81" fmla="*/ 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36" h="82">
                  <a:moveTo>
                    <a:pt x="19" y="2"/>
                  </a:moveTo>
                  <a:lnTo>
                    <a:pt x="17" y="19"/>
                  </a:lnTo>
                  <a:lnTo>
                    <a:pt x="0" y="19"/>
                  </a:lnTo>
                  <a:lnTo>
                    <a:pt x="0" y="0"/>
                  </a:lnTo>
                  <a:lnTo>
                    <a:pt x="19" y="2"/>
                  </a:lnTo>
                  <a:lnTo>
                    <a:pt x="19" y="2"/>
                  </a:lnTo>
                  <a:close/>
                  <a:moveTo>
                    <a:pt x="936" y="66"/>
                  </a:moveTo>
                  <a:lnTo>
                    <a:pt x="936" y="66"/>
                  </a:lnTo>
                  <a:lnTo>
                    <a:pt x="933" y="82"/>
                  </a:lnTo>
                  <a:lnTo>
                    <a:pt x="933" y="82"/>
                  </a:lnTo>
                  <a:lnTo>
                    <a:pt x="936" y="66"/>
                  </a:lnTo>
                  <a:lnTo>
                    <a:pt x="936" y="66"/>
                  </a:lnTo>
                  <a:close/>
                  <a:moveTo>
                    <a:pt x="881" y="61"/>
                  </a:moveTo>
                  <a:lnTo>
                    <a:pt x="879" y="80"/>
                  </a:lnTo>
                  <a:lnTo>
                    <a:pt x="862" y="78"/>
                  </a:lnTo>
                  <a:lnTo>
                    <a:pt x="862" y="61"/>
                  </a:lnTo>
                  <a:lnTo>
                    <a:pt x="881" y="61"/>
                  </a:lnTo>
                  <a:lnTo>
                    <a:pt x="881" y="61"/>
                  </a:lnTo>
                  <a:close/>
                  <a:moveTo>
                    <a:pt x="808" y="56"/>
                  </a:moveTo>
                  <a:lnTo>
                    <a:pt x="808" y="75"/>
                  </a:lnTo>
                  <a:lnTo>
                    <a:pt x="789" y="73"/>
                  </a:lnTo>
                  <a:lnTo>
                    <a:pt x="791" y="56"/>
                  </a:lnTo>
                  <a:lnTo>
                    <a:pt x="808" y="56"/>
                  </a:lnTo>
                  <a:lnTo>
                    <a:pt x="808" y="56"/>
                  </a:lnTo>
                  <a:close/>
                  <a:moveTo>
                    <a:pt x="737" y="52"/>
                  </a:moveTo>
                  <a:lnTo>
                    <a:pt x="735" y="71"/>
                  </a:lnTo>
                  <a:lnTo>
                    <a:pt x="718" y="68"/>
                  </a:lnTo>
                  <a:lnTo>
                    <a:pt x="718" y="49"/>
                  </a:lnTo>
                  <a:lnTo>
                    <a:pt x="737" y="52"/>
                  </a:lnTo>
                  <a:lnTo>
                    <a:pt x="737" y="52"/>
                  </a:lnTo>
                  <a:close/>
                  <a:moveTo>
                    <a:pt x="666" y="47"/>
                  </a:moveTo>
                  <a:lnTo>
                    <a:pt x="664" y="64"/>
                  </a:lnTo>
                  <a:lnTo>
                    <a:pt x="645" y="64"/>
                  </a:lnTo>
                  <a:lnTo>
                    <a:pt x="647" y="45"/>
                  </a:lnTo>
                  <a:lnTo>
                    <a:pt x="666" y="47"/>
                  </a:lnTo>
                  <a:lnTo>
                    <a:pt x="666" y="47"/>
                  </a:lnTo>
                  <a:close/>
                  <a:moveTo>
                    <a:pt x="593" y="42"/>
                  </a:moveTo>
                  <a:lnTo>
                    <a:pt x="593" y="59"/>
                  </a:lnTo>
                  <a:lnTo>
                    <a:pt x="574" y="59"/>
                  </a:lnTo>
                  <a:lnTo>
                    <a:pt x="577" y="40"/>
                  </a:lnTo>
                  <a:lnTo>
                    <a:pt x="593" y="42"/>
                  </a:lnTo>
                  <a:lnTo>
                    <a:pt x="593" y="42"/>
                  </a:lnTo>
                  <a:close/>
                  <a:moveTo>
                    <a:pt x="522" y="38"/>
                  </a:moveTo>
                  <a:lnTo>
                    <a:pt x="520" y="54"/>
                  </a:lnTo>
                  <a:lnTo>
                    <a:pt x="503" y="54"/>
                  </a:lnTo>
                  <a:lnTo>
                    <a:pt x="503" y="35"/>
                  </a:lnTo>
                  <a:lnTo>
                    <a:pt x="522" y="38"/>
                  </a:lnTo>
                  <a:lnTo>
                    <a:pt x="522" y="38"/>
                  </a:lnTo>
                  <a:close/>
                  <a:moveTo>
                    <a:pt x="449" y="30"/>
                  </a:moveTo>
                  <a:lnTo>
                    <a:pt x="449" y="49"/>
                  </a:lnTo>
                  <a:lnTo>
                    <a:pt x="430" y="47"/>
                  </a:lnTo>
                  <a:lnTo>
                    <a:pt x="432" y="30"/>
                  </a:lnTo>
                  <a:lnTo>
                    <a:pt x="449" y="30"/>
                  </a:lnTo>
                  <a:lnTo>
                    <a:pt x="449" y="30"/>
                  </a:lnTo>
                  <a:close/>
                  <a:moveTo>
                    <a:pt x="378" y="26"/>
                  </a:moveTo>
                  <a:lnTo>
                    <a:pt x="376" y="45"/>
                  </a:lnTo>
                  <a:lnTo>
                    <a:pt x="359" y="42"/>
                  </a:lnTo>
                  <a:lnTo>
                    <a:pt x="359" y="26"/>
                  </a:lnTo>
                  <a:lnTo>
                    <a:pt x="378" y="26"/>
                  </a:lnTo>
                  <a:lnTo>
                    <a:pt x="378" y="26"/>
                  </a:lnTo>
                  <a:close/>
                  <a:moveTo>
                    <a:pt x="307" y="21"/>
                  </a:moveTo>
                  <a:lnTo>
                    <a:pt x="305" y="40"/>
                  </a:lnTo>
                  <a:lnTo>
                    <a:pt x="286" y="38"/>
                  </a:lnTo>
                  <a:lnTo>
                    <a:pt x="288" y="21"/>
                  </a:lnTo>
                  <a:lnTo>
                    <a:pt x="307" y="21"/>
                  </a:lnTo>
                  <a:lnTo>
                    <a:pt x="307" y="21"/>
                  </a:lnTo>
                  <a:close/>
                  <a:moveTo>
                    <a:pt x="234" y="16"/>
                  </a:moveTo>
                  <a:lnTo>
                    <a:pt x="234" y="35"/>
                  </a:lnTo>
                  <a:lnTo>
                    <a:pt x="215" y="33"/>
                  </a:lnTo>
                  <a:lnTo>
                    <a:pt x="218" y="14"/>
                  </a:lnTo>
                  <a:lnTo>
                    <a:pt x="234" y="16"/>
                  </a:lnTo>
                  <a:lnTo>
                    <a:pt x="234" y="16"/>
                  </a:lnTo>
                  <a:close/>
                  <a:moveTo>
                    <a:pt x="163" y="12"/>
                  </a:moveTo>
                  <a:lnTo>
                    <a:pt x="161" y="28"/>
                  </a:lnTo>
                  <a:lnTo>
                    <a:pt x="144" y="28"/>
                  </a:lnTo>
                  <a:lnTo>
                    <a:pt x="144" y="9"/>
                  </a:lnTo>
                  <a:lnTo>
                    <a:pt x="163" y="12"/>
                  </a:lnTo>
                  <a:lnTo>
                    <a:pt x="163" y="12"/>
                  </a:lnTo>
                  <a:close/>
                  <a:moveTo>
                    <a:pt x="90" y="7"/>
                  </a:moveTo>
                  <a:lnTo>
                    <a:pt x="90" y="23"/>
                  </a:lnTo>
                  <a:lnTo>
                    <a:pt x="71" y="23"/>
                  </a:lnTo>
                  <a:lnTo>
                    <a:pt x="73" y="5"/>
                  </a:lnTo>
                  <a:lnTo>
                    <a:pt x="90" y="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3" name="Freeform 510"/>
            <p:cNvSpPr>
              <a:spLocks noEditPoints="1"/>
            </p:cNvSpPr>
            <p:nvPr/>
          </p:nvSpPr>
          <p:spPr bwMode="auto">
            <a:xfrm>
              <a:off x="7513638" y="4652963"/>
              <a:ext cx="198438" cy="922338"/>
            </a:xfrm>
            <a:custGeom>
              <a:avLst/>
              <a:gdLst>
                <a:gd name="T0" fmla="*/ 21 w 125"/>
                <a:gd name="T1" fmla="*/ 19 h 581"/>
                <a:gd name="T2" fmla="*/ 5 w 125"/>
                <a:gd name="T3" fmla="*/ 21 h 581"/>
                <a:gd name="T4" fmla="*/ 0 w 125"/>
                <a:gd name="T5" fmla="*/ 2 h 581"/>
                <a:gd name="T6" fmla="*/ 19 w 125"/>
                <a:gd name="T7" fmla="*/ 0 h 581"/>
                <a:gd name="T8" fmla="*/ 21 w 125"/>
                <a:gd name="T9" fmla="*/ 19 h 581"/>
                <a:gd name="T10" fmla="*/ 21 w 125"/>
                <a:gd name="T11" fmla="*/ 19 h 581"/>
                <a:gd name="T12" fmla="*/ 125 w 125"/>
                <a:gd name="T13" fmla="*/ 576 h 581"/>
                <a:gd name="T14" fmla="*/ 123 w 125"/>
                <a:gd name="T15" fmla="*/ 567 h 581"/>
                <a:gd name="T16" fmla="*/ 106 w 125"/>
                <a:gd name="T17" fmla="*/ 569 h 581"/>
                <a:gd name="T18" fmla="*/ 106 w 125"/>
                <a:gd name="T19" fmla="*/ 581 h 581"/>
                <a:gd name="T20" fmla="*/ 125 w 125"/>
                <a:gd name="T21" fmla="*/ 576 h 581"/>
                <a:gd name="T22" fmla="*/ 125 w 125"/>
                <a:gd name="T23" fmla="*/ 576 h 581"/>
                <a:gd name="T24" fmla="*/ 113 w 125"/>
                <a:gd name="T25" fmla="*/ 512 h 581"/>
                <a:gd name="T26" fmla="*/ 94 w 125"/>
                <a:gd name="T27" fmla="*/ 517 h 581"/>
                <a:gd name="T28" fmla="*/ 92 w 125"/>
                <a:gd name="T29" fmla="*/ 498 h 581"/>
                <a:gd name="T30" fmla="*/ 111 w 125"/>
                <a:gd name="T31" fmla="*/ 496 h 581"/>
                <a:gd name="T32" fmla="*/ 113 w 125"/>
                <a:gd name="T33" fmla="*/ 512 h 581"/>
                <a:gd name="T34" fmla="*/ 113 w 125"/>
                <a:gd name="T35" fmla="*/ 512 h 581"/>
                <a:gd name="T36" fmla="*/ 99 w 125"/>
                <a:gd name="T37" fmla="*/ 442 h 581"/>
                <a:gd name="T38" fmla="*/ 82 w 125"/>
                <a:gd name="T39" fmla="*/ 446 h 581"/>
                <a:gd name="T40" fmla="*/ 80 w 125"/>
                <a:gd name="T41" fmla="*/ 427 h 581"/>
                <a:gd name="T42" fmla="*/ 97 w 125"/>
                <a:gd name="T43" fmla="*/ 425 h 581"/>
                <a:gd name="T44" fmla="*/ 99 w 125"/>
                <a:gd name="T45" fmla="*/ 442 h 581"/>
                <a:gd name="T46" fmla="*/ 99 w 125"/>
                <a:gd name="T47" fmla="*/ 442 h 581"/>
                <a:gd name="T48" fmla="*/ 87 w 125"/>
                <a:gd name="T49" fmla="*/ 371 h 581"/>
                <a:gd name="T50" fmla="*/ 68 w 125"/>
                <a:gd name="T51" fmla="*/ 375 h 581"/>
                <a:gd name="T52" fmla="*/ 66 w 125"/>
                <a:gd name="T53" fmla="*/ 357 h 581"/>
                <a:gd name="T54" fmla="*/ 85 w 125"/>
                <a:gd name="T55" fmla="*/ 354 h 581"/>
                <a:gd name="T56" fmla="*/ 87 w 125"/>
                <a:gd name="T57" fmla="*/ 371 h 581"/>
                <a:gd name="T58" fmla="*/ 87 w 125"/>
                <a:gd name="T59" fmla="*/ 371 h 581"/>
                <a:gd name="T60" fmla="*/ 73 w 125"/>
                <a:gd name="T61" fmla="*/ 300 h 581"/>
                <a:gd name="T62" fmla="*/ 56 w 125"/>
                <a:gd name="T63" fmla="*/ 305 h 581"/>
                <a:gd name="T64" fmla="*/ 52 w 125"/>
                <a:gd name="T65" fmla="*/ 286 h 581"/>
                <a:gd name="T66" fmla="*/ 71 w 125"/>
                <a:gd name="T67" fmla="*/ 283 h 581"/>
                <a:gd name="T68" fmla="*/ 73 w 125"/>
                <a:gd name="T69" fmla="*/ 300 h 581"/>
                <a:gd name="T70" fmla="*/ 73 w 125"/>
                <a:gd name="T71" fmla="*/ 300 h 581"/>
                <a:gd name="T72" fmla="*/ 61 w 125"/>
                <a:gd name="T73" fmla="*/ 231 h 581"/>
                <a:gd name="T74" fmla="*/ 42 w 125"/>
                <a:gd name="T75" fmla="*/ 234 h 581"/>
                <a:gd name="T76" fmla="*/ 40 w 125"/>
                <a:gd name="T77" fmla="*/ 215 h 581"/>
                <a:gd name="T78" fmla="*/ 56 w 125"/>
                <a:gd name="T79" fmla="*/ 212 h 581"/>
                <a:gd name="T80" fmla="*/ 61 w 125"/>
                <a:gd name="T81" fmla="*/ 231 h 581"/>
                <a:gd name="T82" fmla="*/ 61 w 125"/>
                <a:gd name="T83" fmla="*/ 231 h 581"/>
                <a:gd name="T84" fmla="*/ 47 w 125"/>
                <a:gd name="T85" fmla="*/ 160 h 581"/>
                <a:gd name="T86" fmla="*/ 30 w 125"/>
                <a:gd name="T87" fmla="*/ 163 h 581"/>
                <a:gd name="T88" fmla="*/ 26 w 125"/>
                <a:gd name="T89" fmla="*/ 144 h 581"/>
                <a:gd name="T90" fmla="*/ 45 w 125"/>
                <a:gd name="T91" fmla="*/ 142 h 581"/>
                <a:gd name="T92" fmla="*/ 47 w 125"/>
                <a:gd name="T93" fmla="*/ 160 h 581"/>
                <a:gd name="T94" fmla="*/ 47 w 125"/>
                <a:gd name="T95" fmla="*/ 160 h 581"/>
                <a:gd name="T96" fmla="*/ 35 w 125"/>
                <a:gd name="T97" fmla="*/ 90 h 581"/>
                <a:gd name="T98" fmla="*/ 16 w 125"/>
                <a:gd name="T99" fmla="*/ 92 h 581"/>
                <a:gd name="T100" fmla="*/ 14 w 125"/>
                <a:gd name="T101" fmla="*/ 73 h 581"/>
                <a:gd name="T102" fmla="*/ 30 w 125"/>
                <a:gd name="T103" fmla="*/ 71 h 581"/>
                <a:gd name="T104" fmla="*/ 35 w 125"/>
                <a:gd name="T105" fmla="*/ 9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5" h="581">
                  <a:moveTo>
                    <a:pt x="21" y="19"/>
                  </a:moveTo>
                  <a:lnTo>
                    <a:pt x="5" y="21"/>
                  </a:lnTo>
                  <a:lnTo>
                    <a:pt x="0" y="2"/>
                  </a:lnTo>
                  <a:lnTo>
                    <a:pt x="19" y="0"/>
                  </a:lnTo>
                  <a:lnTo>
                    <a:pt x="21" y="19"/>
                  </a:lnTo>
                  <a:lnTo>
                    <a:pt x="21" y="19"/>
                  </a:lnTo>
                  <a:close/>
                  <a:moveTo>
                    <a:pt x="125" y="576"/>
                  </a:moveTo>
                  <a:lnTo>
                    <a:pt x="123" y="567"/>
                  </a:lnTo>
                  <a:lnTo>
                    <a:pt x="106" y="569"/>
                  </a:lnTo>
                  <a:lnTo>
                    <a:pt x="106" y="581"/>
                  </a:lnTo>
                  <a:lnTo>
                    <a:pt x="125" y="576"/>
                  </a:lnTo>
                  <a:lnTo>
                    <a:pt x="125" y="576"/>
                  </a:lnTo>
                  <a:close/>
                  <a:moveTo>
                    <a:pt x="113" y="512"/>
                  </a:moveTo>
                  <a:lnTo>
                    <a:pt x="94" y="517"/>
                  </a:lnTo>
                  <a:lnTo>
                    <a:pt x="92" y="498"/>
                  </a:lnTo>
                  <a:lnTo>
                    <a:pt x="111" y="496"/>
                  </a:lnTo>
                  <a:lnTo>
                    <a:pt x="113" y="512"/>
                  </a:lnTo>
                  <a:lnTo>
                    <a:pt x="113" y="512"/>
                  </a:lnTo>
                  <a:close/>
                  <a:moveTo>
                    <a:pt x="99" y="442"/>
                  </a:moveTo>
                  <a:lnTo>
                    <a:pt x="82" y="446"/>
                  </a:lnTo>
                  <a:lnTo>
                    <a:pt x="80" y="427"/>
                  </a:lnTo>
                  <a:lnTo>
                    <a:pt x="97" y="425"/>
                  </a:lnTo>
                  <a:lnTo>
                    <a:pt x="99" y="442"/>
                  </a:lnTo>
                  <a:lnTo>
                    <a:pt x="99" y="442"/>
                  </a:lnTo>
                  <a:close/>
                  <a:moveTo>
                    <a:pt x="87" y="371"/>
                  </a:moveTo>
                  <a:lnTo>
                    <a:pt x="68" y="375"/>
                  </a:lnTo>
                  <a:lnTo>
                    <a:pt x="66" y="357"/>
                  </a:lnTo>
                  <a:lnTo>
                    <a:pt x="85" y="354"/>
                  </a:lnTo>
                  <a:lnTo>
                    <a:pt x="87" y="371"/>
                  </a:lnTo>
                  <a:lnTo>
                    <a:pt x="87" y="371"/>
                  </a:lnTo>
                  <a:close/>
                  <a:moveTo>
                    <a:pt x="73" y="300"/>
                  </a:moveTo>
                  <a:lnTo>
                    <a:pt x="56" y="305"/>
                  </a:lnTo>
                  <a:lnTo>
                    <a:pt x="52" y="286"/>
                  </a:lnTo>
                  <a:lnTo>
                    <a:pt x="71" y="283"/>
                  </a:lnTo>
                  <a:lnTo>
                    <a:pt x="73" y="300"/>
                  </a:lnTo>
                  <a:lnTo>
                    <a:pt x="73" y="300"/>
                  </a:lnTo>
                  <a:close/>
                  <a:moveTo>
                    <a:pt x="61" y="231"/>
                  </a:moveTo>
                  <a:lnTo>
                    <a:pt x="42" y="234"/>
                  </a:lnTo>
                  <a:lnTo>
                    <a:pt x="40" y="215"/>
                  </a:lnTo>
                  <a:lnTo>
                    <a:pt x="56" y="212"/>
                  </a:lnTo>
                  <a:lnTo>
                    <a:pt x="61" y="231"/>
                  </a:lnTo>
                  <a:lnTo>
                    <a:pt x="61" y="231"/>
                  </a:lnTo>
                  <a:close/>
                  <a:moveTo>
                    <a:pt x="47" y="160"/>
                  </a:moveTo>
                  <a:lnTo>
                    <a:pt x="30" y="163"/>
                  </a:lnTo>
                  <a:lnTo>
                    <a:pt x="26" y="144"/>
                  </a:lnTo>
                  <a:lnTo>
                    <a:pt x="45" y="142"/>
                  </a:lnTo>
                  <a:lnTo>
                    <a:pt x="47" y="160"/>
                  </a:lnTo>
                  <a:lnTo>
                    <a:pt x="47" y="160"/>
                  </a:lnTo>
                  <a:close/>
                  <a:moveTo>
                    <a:pt x="35" y="90"/>
                  </a:moveTo>
                  <a:lnTo>
                    <a:pt x="16" y="92"/>
                  </a:lnTo>
                  <a:lnTo>
                    <a:pt x="14" y="73"/>
                  </a:lnTo>
                  <a:lnTo>
                    <a:pt x="30" y="71"/>
                  </a:lnTo>
                  <a:lnTo>
                    <a:pt x="35" y="9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4" name="Freeform 511"/>
            <p:cNvSpPr>
              <a:spLocks noEditPoints="1"/>
            </p:cNvSpPr>
            <p:nvPr/>
          </p:nvSpPr>
          <p:spPr bwMode="auto">
            <a:xfrm>
              <a:off x="6096000" y="5289550"/>
              <a:ext cx="120650" cy="484188"/>
            </a:xfrm>
            <a:custGeom>
              <a:avLst/>
              <a:gdLst>
                <a:gd name="T0" fmla="*/ 2 w 76"/>
                <a:gd name="T1" fmla="*/ 284 h 305"/>
                <a:gd name="T2" fmla="*/ 21 w 76"/>
                <a:gd name="T3" fmla="*/ 286 h 305"/>
                <a:gd name="T4" fmla="*/ 17 w 76"/>
                <a:gd name="T5" fmla="*/ 305 h 305"/>
                <a:gd name="T6" fmla="*/ 0 w 76"/>
                <a:gd name="T7" fmla="*/ 300 h 305"/>
                <a:gd name="T8" fmla="*/ 2 w 76"/>
                <a:gd name="T9" fmla="*/ 284 h 305"/>
                <a:gd name="T10" fmla="*/ 2 w 76"/>
                <a:gd name="T11" fmla="*/ 284 h 305"/>
                <a:gd name="T12" fmla="*/ 59 w 76"/>
                <a:gd name="T13" fmla="*/ 0 h 305"/>
                <a:gd name="T14" fmla="*/ 76 w 76"/>
                <a:gd name="T15" fmla="*/ 5 h 305"/>
                <a:gd name="T16" fmla="*/ 73 w 76"/>
                <a:gd name="T17" fmla="*/ 22 h 305"/>
                <a:gd name="T18" fmla="*/ 54 w 76"/>
                <a:gd name="T19" fmla="*/ 19 h 305"/>
                <a:gd name="T20" fmla="*/ 59 w 76"/>
                <a:gd name="T21" fmla="*/ 0 h 305"/>
                <a:gd name="T22" fmla="*/ 59 w 76"/>
                <a:gd name="T23" fmla="*/ 0 h 305"/>
                <a:gd name="T24" fmla="*/ 45 w 76"/>
                <a:gd name="T25" fmla="*/ 71 h 305"/>
                <a:gd name="T26" fmla="*/ 61 w 76"/>
                <a:gd name="T27" fmla="*/ 76 h 305"/>
                <a:gd name="T28" fmla="*/ 59 w 76"/>
                <a:gd name="T29" fmla="*/ 93 h 305"/>
                <a:gd name="T30" fmla="*/ 40 w 76"/>
                <a:gd name="T31" fmla="*/ 90 h 305"/>
                <a:gd name="T32" fmla="*/ 45 w 76"/>
                <a:gd name="T33" fmla="*/ 71 h 305"/>
                <a:gd name="T34" fmla="*/ 45 w 76"/>
                <a:gd name="T35" fmla="*/ 71 h 305"/>
                <a:gd name="T36" fmla="*/ 31 w 76"/>
                <a:gd name="T37" fmla="*/ 142 h 305"/>
                <a:gd name="T38" fmla="*/ 47 w 76"/>
                <a:gd name="T39" fmla="*/ 145 h 305"/>
                <a:gd name="T40" fmla="*/ 45 w 76"/>
                <a:gd name="T41" fmla="*/ 163 h 305"/>
                <a:gd name="T42" fmla="*/ 26 w 76"/>
                <a:gd name="T43" fmla="*/ 159 h 305"/>
                <a:gd name="T44" fmla="*/ 31 w 76"/>
                <a:gd name="T45" fmla="*/ 142 h 305"/>
                <a:gd name="T46" fmla="*/ 31 w 76"/>
                <a:gd name="T47" fmla="*/ 142 h 305"/>
                <a:gd name="T48" fmla="*/ 17 w 76"/>
                <a:gd name="T49" fmla="*/ 213 h 305"/>
                <a:gd name="T50" fmla="*/ 33 w 76"/>
                <a:gd name="T51" fmla="*/ 215 h 305"/>
                <a:gd name="T52" fmla="*/ 31 w 76"/>
                <a:gd name="T53" fmla="*/ 234 h 305"/>
                <a:gd name="T54" fmla="*/ 14 w 76"/>
                <a:gd name="T55" fmla="*/ 230 h 305"/>
                <a:gd name="T56" fmla="*/ 17 w 76"/>
                <a:gd name="T57" fmla="*/ 21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6" h="305">
                  <a:moveTo>
                    <a:pt x="2" y="284"/>
                  </a:moveTo>
                  <a:lnTo>
                    <a:pt x="21" y="286"/>
                  </a:lnTo>
                  <a:lnTo>
                    <a:pt x="17" y="305"/>
                  </a:lnTo>
                  <a:lnTo>
                    <a:pt x="0" y="300"/>
                  </a:lnTo>
                  <a:lnTo>
                    <a:pt x="2" y="284"/>
                  </a:lnTo>
                  <a:lnTo>
                    <a:pt x="2" y="284"/>
                  </a:lnTo>
                  <a:close/>
                  <a:moveTo>
                    <a:pt x="59" y="0"/>
                  </a:moveTo>
                  <a:lnTo>
                    <a:pt x="76" y="5"/>
                  </a:lnTo>
                  <a:lnTo>
                    <a:pt x="73" y="22"/>
                  </a:lnTo>
                  <a:lnTo>
                    <a:pt x="54" y="19"/>
                  </a:lnTo>
                  <a:lnTo>
                    <a:pt x="59" y="0"/>
                  </a:lnTo>
                  <a:lnTo>
                    <a:pt x="59" y="0"/>
                  </a:lnTo>
                  <a:close/>
                  <a:moveTo>
                    <a:pt x="45" y="71"/>
                  </a:moveTo>
                  <a:lnTo>
                    <a:pt x="61" y="76"/>
                  </a:lnTo>
                  <a:lnTo>
                    <a:pt x="59" y="93"/>
                  </a:lnTo>
                  <a:lnTo>
                    <a:pt x="40" y="90"/>
                  </a:lnTo>
                  <a:lnTo>
                    <a:pt x="45" y="71"/>
                  </a:lnTo>
                  <a:lnTo>
                    <a:pt x="45" y="71"/>
                  </a:lnTo>
                  <a:close/>
                  <a:moveTo>
                    <a:pt x="31" y="142"/>
                  </a:moveTo>
                  <a:lnTo>
                    <a:pt x="47" y="145"/>
                  </a:lnTo>
                  <a:lnTo>
                    <a:pt x="45" y="163"/>
                  </a:lnTo>
                  <a:lnTo>
                    <a:pt x="26" y="159"/>
                  </a:lnTo>
                  <a:lnTo>
                    <a:pt x="31" y="142"/>
                  </a:lnTo>
                  <a:lnTo>
                    <a:pt x="31" y="142"/>
                  </a:lnTo>
                  <a:close/>
                  <a:moveTo>
                    <a:pt x="17" y="213"/>
                  </a:moveTo>
                  <a:lnTo>
                    <a:pt x="33" y="215"/>
                  </a:lnTo>
                  <a:lnTo>
                    <a:pt x="31" y="234"/>
                  </a:lnTo>
                  <a:lnTo>
                    <a:pt x="14" y="230"/>
                  </a:lnTo>
                  <a:lnTo>
                    <a:pt x="17" y="2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6" name="Freeform 512"/>
            <p:cNvSpPr>
              <a:spLocks noEditPoints="1"/>
            </p:cNvSpPr>
            <p:nvPr/>
          </p:nvSpPr>
          <p:spPr bwMode="auto">
            <a:xfrm>
              <a:off x="5416550" y="4562475"/>
              <a:ext cx="800100" cy="720725"/>
            </a:xfrm>
            <a:custGeom>
              <a:avLst/>
              <a:gdLst>
                <a:gd name="T0" fmla="*/ 26 w 504"/>
                <a:gd name="T1" fmla="*/ 12 h 454"/>
                <a:gd name="T2" fmla="*/ 15 w 504"/>
                <a:gd name="T3" fmla="*/ 24 h 454"/>
                <a:gd name="T4" fmla="*/ 0 w 504"/>
                <a:gd name="T5" fmla="*/ 12 h 454"/>
                <a:gd name="T6" fmla="*/ 12 w 504"/>
                <a:gd name="T7" fmla="*/ 0 h 454"/>
                <a:gd name="T8" fmla="*/ 26 w 504"/>
                <a:gd name="T9" fmla="*/ 12 h 454"/>
                <a:gd name="T10" fmla="*/ 26 w 504"/>
                <a:gd name="T11" fmla="*/ 12 h 454"/>
                <a:gd name="T12" fmla="*/ 504 w 504"/>
                <a:gd name="T13" fmla="*/ 442 h 454"/>
                <a:gd name="T14" fmla="*/ 494 w 504"/>
                <a:gd name="T15" fmla="*/ 432 h 454"/>
                <a:gd name="T16" fmla="*/ 482 w 504"/>
                <a:gd name="T17" fmla="*/ 447 h 454"/>
                <a:gd name="T18" fmla="*/ 492 w 504"/>
                <a:gd name="T19" fmla="*/ 454 h 454"/>
                <a:gd name="T20" fmla="*/ 504 w 504"/>
                <a:gd name="T21" fmla="*/ 442 h 454"/>
                <a:gd name="T22" fmla="*/ 504 w 504"/>
                <a:gd name="T23" fmla="*/ 442 h 454"/>
                <a:gd name="T24" fmla="*/ 454 w 504"/>
                <a:gd name="T25" fmla="*/ 397 h 454"/>
                <a:gd name="T26" fmla="*/ 442 w 504"/>
                <a:gd name="T27" fmla="*/ 409 h 454"/>
                <a:gd name="T28" fmla="*/ 428 w 504"/>
                <a:gd name="T29" fmla="*/ 397 h 454"/>
                <a:gd name="T30" fmla="*/ 440 w 504"/>
                <a:gd name="T31" fmla="*/ 385 h 454"/>
                <a:gd name="T32" fmla="*/ 454 w 504"/>
                <a:gd name="T33" fmla="*/ 397 h 454"/>
                <a:gd name="T34" fmla="*/ 454 w 504"/>
                <a:gd name="T35" fmla="*/ 397 h 454"/>
                <a:gd name="T36" fmla="*/ 400 w 504"/>
                <a:gd name="T37" fmla="*/ 347 h 454"/>
                <a:gd name="T38" fmla="*/ 388 w 504"/>
                <a:gd name="T39" fmla="*/ 362 h 454"/>
                <a:gd name="T40" fmla="*/ 376 w 504"/>
                <a:gd name="T41" fmla="*/ 350 h 454"/>
                <a:gd name="T42" fmla="*/ 388 w 504"/>
                <a:gd name="T43" fmla="*/ 336 h 454"/>
                <a:gd name="T44" fmla="*/ 400 w 504"/>
                <a:gd name="T45" fmla="*/ 347 h 454"/>
                <a:gd name="T46" fmla="*/ 400 w 504"/>
                <a:gd name="T47" fmla="*/ 347 h 454"/>
                <a:gd name="T48" fmla="*/ 348 w 504"/>
                <a:gd name="T49" fmla="*/ 300 h 454"/>
                <a:gd name="T50" fmla="*/ 336 w 504"/>
                <a:gd name="T51" fmla="*/ 314 h 454"/>
                <a:gd name="T52" fmla="*/ 322 w 504"/>
                <a:gd name="T53" fmla="*/ 303 h 454"/>
                <a:gd name="T54" fmla="*/ 333 w 504"/>
                <a:gd name="T55" fmla="*/ 288 h 454"/>
                <a:gd name="T56" fmla="*/ 348 w 504"/>
                <a:gd name="T57" fmla="*/ 300 h 454"/>
                <a:gd name="T58" fmla="*/ 348 w 504"/>
                <a:gd name="T59" fmla="*/ 300 h 454"/>
                <a:gd name="T60" fmla="*/ 293 w 504"/>
                <a:gd name="T61" fmla="*/ 253 h 454"/>
                <a:gd name="T62" fmla="*/ 282 w 504"/>
                <a:gd name="T63" fmla="*/ 265 h 454"/>
                <a:gd name="T64" fmla="*/ 267 w 504"/>
                <a:gd name="T65" fmla="*/ 253 h 454"/>
                <a:gd name="T66" fmla="*/ 279 w 504"/>
                <a:gd name="T67" fmla="*/ 239 h 454"/>
                <a:gd name="T68" fmla="*/ 293 w 504"/>
                <a:gd name="T69" fmla="*/ 253 h 454"/>
                <a:gd name="T70" fmla="*/ 293 w 504"/>
                <a:gd name="T71" fmla="*/ 253 h 454"/>
                <a:gd name="T72" fmla="*/ 239 w 504"/>
                <a:gd name="T73" fmla="*/ 203 h 454"/>
                <a:gd name="T74" fmla="*/ 227 w 504"/>
                <a:gd name="T75" fmla="*/ 217 h 454"/>
                <a:gd name="T76" fmla="*/ 215 w 504"/>
                <a:gd name="T77" fmla="*/ 206 h 454"/>
                <a:gd name="T78" fmla="*/ 227 w 504"/>
                <a:gd name="T79" fmla="*/ 192 h 454"/>
                <a:gd name="T80" fmla="*/ 239 w 504"/>
                <a:gd name="T81" fmla="*/ 203 h 454"/>
                <a:gd name="T82" fmla="*/ 239 w 504"/>
                <a:gd name="T83" fmla="*/ 203 h 454"/>
                <a:gd name="T84" fmla="*/ 187 w 504"/>
                <a:gd name="T85" fmla="*/ 156 h 454"/>
                <a:gd name="T86" fmla="*/ 175 w 504"/>
                <a:gd name="T87" fmla="*/ 168 h 454"/>
                <a:gd name="T88" fmla="*/ 161 w 504"/>
                <a:gd name="T89" fmla="*/ 156 h 454"/>
                <a:gd name="T90" fmla="*/ 173 w 504"/>
                <a:gd name="T91" fmla="*/ 144 h 454"/>
                <a:gd name="T92" fmla="*/ 187 w 504"/>
                <a:gd name="T93" fmla="*/ 156 h 454"/>
                <a:gd name="T94" fmla="*/ 187 w 504"/>
                <a:gd name="T95" fmla="*/ 156 h 454"/>
                <a:gd name="T96" fmla="*/ 133 w 504"/>
                <a:gd name="T97" fmla="*/ 106 h 454"/>
                <a:gd name="T98" fmla="*/ 121 w 504"/>
                <a:gd name="T99" fmla="*/ 121 h 454"/>
                <a:gd name="T100" fmla="*/ 107 w 504"/>
                <a:gd name="T101" fmla="*/ 109 h 454"/>
                <a:gd name="T102" fmla="*/ 119 w 504"/>
                <a:gd name="T103" fmla="*/ 95 h 454"/>
                <a:gd name="T104" fmla="*/ 133 w 504"/>
                <a:gd name="T105" fmla="*/ 106 h 454"/>
                <a:gd name="T106" fmla="*/ 133 w 504"/>
                <a:gd name="T107" fmla="*/ 106 h 454"/>
                <a:gd name="T108" fmla="*/ 78 w 504"/>
                <a:gd name="T109" fmla="*/ 59 h 454"/>
                <a:gd name="T110" fmla="*/ 67 w 504"/>
                <a:gd name="T111" fmla="*/ 73 h 454"/>
                <a:gd name="T112" fmla="*/ 55 w 504"/>
                <a:gd name="T113" fmla="*/ 62 h 454"/>
                <a:gd name="T114" fmla="*/ 67 w 504"/>
                <a:gd name="T115" fmla="*/ 47 h 454"/>
                <a:gd name="T116" fmla="*/ 78 w 504"/>
                <a:gd name="T117" fmla="*/ 59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4" h="454">
                  <a:moveTo>
                    <a:pt x="26" y="12"/>
                  </a:moveTo>
                  <a:lnTo>
                    <a:pt x="15" y="24"/>
                  </a:lnTo>
                  <a:lnTo>
                    <a:pt x="0" y="12"/>
                  </a:lnTo>
                  <a:lnTo>
                    <a:pt x="12" y="0"/>
                  </a:lnTo>
                  <a:lnTo>
                    <a:pt x="26" y="12"/>
                  </a:lnTo>
                  <a:lnTo>
                    <a:pt x="26" y="12"/>
                  </a:lnTo>
                  <a:close/>
                  <a:moveTo>
                    <a:pt x="504" y="442"/>
                  </a:moveTo>
                  <a:lnTo>
                    <a:pt x="494" y="432"/>
                  </a:lnTo>
                  <a:lnTo>
                    <a:pt x="482" y="447"/>
                  </a:lnTo>
                  <a:lnTo>
                    <a:pt x="492" y="454"/>
                  </a:lnTo>
                  <a:lnTo>
                    <a:pt x="504" y="442"/>
                  </a:lnTo>
                  <a:lnTo>
                    <a:pt x="504" y="442"/>
                  </a:lnTo>
                  <a:close/>
                  <a:moveTo>
                    <a:pt x="454" y="397"/>
                  </a:moveTo>
                  <a:lnTo>
                    <a:pt x="442" y="409"/>
                  </a:lnTo>
                  <a:lnTo>
                    <a:pt x="428" y="397"/>
                  </a:lnTo>
                  <a:lnTo>
                    <a:pt x="440" y="385"/>
                  </a:lnTo>
                  <a:lnTo>
                    <a:pt x="454" y="397"/>
                  </a:lnTo>
                  <a:lnTo>
                    <a:pt x="454" y="397"/>
                  </a:lnTo>
                  <a:close/>
                  <a:moveTo>
                    <a:pt x="400" y="347"/>
                  </a:moveTo>
                  <a:lnTo>
                    <a:pt x="388" y="362"/>
                  </a:lnTo>
                  <a:lnTo>
                    <a:pt x="376" y="350"/>
                  </a:lnTo>
                  <a:lnTo>
                    <a:pt x="388" y="336"/>
                  </a:lnTo>
                  <a:lnTo>
                    <a:pt x="400" y="347"/>
                  </a:lnTo>
                  <a:lnTo>
                    <a:pt x="400" y="347"/>
                  </a:lnTo>
                  <a:close/>
                  <a:moveTo>
                    <a:pt x="348" y="300"/>
                  </a:moveTo>
                  <a:lnTo>
                    <a:pt x="336" y="314"/>
                  </a:lnTo>
                  <a:lnTo>
                    <a:pt x="322" y="303"/>
                  </a:lnTo>
                  <a:lnTo>
                    <a:pt x="333" y="288"/>
                  </a:lnTo>
                  <a:lnTo>
                    <a:pt x="348" y="300"/>
                  </a:lnTo>
                  <a:lnTo>
                    <a:pt x="348" y="300"/>
                  </a:lnTo>
                  <a:close/>
                  <a:moveTo>
                    <a:pt x="293" y="253"/>
                  </a:moveTo>
                  <a:lnTo>
                    <a:pt x="282" y="265"/>
                  </a:lnTo>
                  <a:lnTo>
                    <a:pt x="267" y="253"/>
                  </a:lnTo>
                  <a:lnTo>
                    <a:pt x="279" y="239"/>
                  </a:lnTo>
                  <a:lnTo>
                    <a:pt x="293" y="253"/>
                  </a:lnTo>
                  <a:lnTo>
                    <a:pt x="293" y="253"/>
                  </a:lnTo>
                  <a:close/>
                  <a:moveTo>
                    <a:pt x="239" y="203"/>
                  </a:moveTo>
                  <a:lnTo>
                    <a:pt x="227" y="217"/>
                  </a:lnTo>
                  <a:lnTo>
                    <a:pt x="215" y="206"/>
                  </a:lnTo>
                  <a:lnTo>
                    <a:pt x="227" y="192"/>
                  </a:lnTo>
                  <a:lnTo>
                    <a:pt x="239" y="203"/>
                  </a:lnTo>
                  <a:lnTo>
                    <a:pt x="239" y="203"/>
                  </a:lnTo>
                  <a:close/>
                  <a:moveTo>
                    <a:pt x="187" y="156"/>
                  </a:moveTo>
                  <a:lnTo>
                    <a:pt x="175" y="168"/>
                  </a:lnTo>
                  <a:lnTo>
                    <a:pt x="161" y="156"/>
                  </a:lnTo>
                  <a:lnTo>
                    <a:pt x="173" y="144"/>
                  </a:lnTo>
                  <a:lnTo>
                    <a:pt x="187" y="156"/>
                  </a:lnTo>
                  <a:lnTo>
                    <a:pt x="187" y="156"/>
                  </a:lnTo>
                  <a:close/>
                  <a:moveTo>
                    <a:pt x="133" y="106"/>
                  </a:moveTo>
                  <a:lnTo>
                    <a:pt x="121" y="121"/>
                  </a:lnTo>
                  <a:lnTo>
                    <a:pt x="107" y="109"/>
                  </a:lnTo>
                  <a:lnTo>
                    <a:pt x="119" y="95"/>
                  </a:lnTo>
                  <a:lnTo>
                    <a:pt x="133" y="106"/>
                  </a:lnTo>
                  <a:lnTo>
                    <a:pt x="133" y="106"/>
                  </a:lnTo>
                  <a:close/>
                  <a:moveTo>
                    <a:pt x="78" y="59"/>
                  </a:moveTo>
                  <a:lnTo>
                    <a:pt x="67" y="73"/>
                  </a:lnTo>
                  <a:lnTo>
                    <a:pt x="55" y="62"/>
                  </a:lnTo>
                  <a:lnTo>
                    <a:pt x="67" y="47"/>
                  </a:lnTo>
                  <a:lnTo>
                    <a:pt x="78" y="5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7" name="Freeform 513"/>
            <p:cNvSpPr>
              <a:spLocks noEditPoints="1"/>
            </p:cNvSpPr>
            <p:nvPr/>
          </p:nvSpPr>
          <p:spPr bwMode="auto">
            <a:xfrm>
              <a:off x="4562475" y="5016500"/>
              <a:ext cx="1616075" cy="266700"/>
            </a:xfrm>
            <a:custGeom>
              <a:avLst/>
              <a:gdLst>
                <a:gd name="T0" fmla="*/ 19 w 1018"/>
                <a:gd name="T1" fmla="*/ 21 h 168"/>
                <a:gd name="T2" fmla="*/ 2 w 1018"/>
                <a:gd name="T3" fmla="*/ 0 h 168"/>
                <a:gd name="T4" fmla="*/ 21 w 1018"/>
                <a:gd name="T5" fmla="*/ 2 h 168"/>
                <a:gd name="T6" fmla="*/ 1016 w 1018"/>
                <a:gd name="T7" fmla="*/ 168 h 168"/>
                <a:gd name="T8" fmla="*/ 999 w 1018"/>
                <a:gd name="T9" fmla="*/ 146 h 168"/>
                <a:gd name="T10" fmla="*/ 1018 w 1018"/>
                <a:gd name="T11" fmla="*/ 149 h 168"/>
                <a:gd name="T12" fmla="*/ 945 w 1018"/>
                <a:gd name="T13" fmla="*/ 158 h 168"/>
                <a:gd name="T14" fmla="*/ 928 w 1018"/>
                <a:gd name="T15" fmla="*/ 137 h 168"/>
                <a:gd name="T16" fmla="*/ 947 w 1018"/>
                <a:gd name="T17" fmla="*/ 139 h 168"/>
                <a:gd name="T18" fmla="*/ 871 w 1018"/>
                <a:gd name="T19" fmla="*/ 146 h 168"/>
                <a:gd name="T20" fmla="*/ 857 w 1018"/>
                <a:gd name="T21" fmla="*/ 128 h 168"/>
                <a:gd name="T22" fmla="*/ 874 w 1018"/>
                <a:gd name="T23" fmla="*/ 130 h 168"/>
                <a:gd name="T24" fmla="*/ 801 w 1018"/>
                <a:gd name="T25" fmla="*/ 137 h 168"/>
                <a:gd name="T26" fmla="*/ 786 w 1018"/>
                <a:gd name="T27" fmla="*/ 116 h 168"/>
                <a:gd name="T28" fmla="*/ 803 w 1018"/>
                <a:gd name="T29" fmla="*/ 118 h 168"/>
                <a:gd name="T30" fmla="*/ 730 w 1018"/>
                <a:gd name="T31" fmla="*/ 125 h 168"/>
                <a:gd name="T32" fmla="*/ 716 w 1018"/>
                <a:gd name="T33" fmla="*/ 106 h 168"/>
                <a:gd name="T34" fmla="*/ 732 w 1018"/>
                <a:gd name="T35" fmla="*/ 109 h 168"/>
                <a:gd name="T36" fmla="*/ 659 w 1018"/>
                <a:gd name="T37" fmla="*/ 116 h 168"/>
                <a:gd name="T38" fmla="*/ 642 w 1018"/>
                <a:gd name="T39" fmla="*/ 94 h 168"/>
                <a:gd name="T40" fmla="*/ 661 w 1018"/>
                <a:gd name="T41" fmla="*/ 97 h 168"/>
                <a:gd name="T42" fmla="*/ 588 w 1018"/>
                <a:gd name="T43" fmla="*/ 104 h 168"/>
                <a:gd name="T44" fmla="*/ 572 w 1018"/>
                <a:gd name="T45" fmla="*/ 85 h 168"/>
                <a:gd name="T46" fmla="*/ 590 w 1018"/>
                <a:gd name="T47" fmla="*/ 87 h 168"/>
                <a:gd name="T48" fmla="*/ 517 w 1018"/>
                <a:gd name="T49" fmla="*/ 94 h 168"/>
                <a:gd name="T50" fmla="*/ 501 w 1018"/>
                <a:gd name="T51" fmla="*/ 73 h 168"/>
                <a:gd name="T52" fmla="*/ 520 w 1018"/>
                <a:gd name="T53" fmla="*/ 76 h 168"/>
                <a:gd name="T54" fmla="*/ 444 w 1018"/>
                <a:gd name="T55" fmla="*/ 85 h 168"/>
                <a:gd name="T56" fmla="*/ 430 w 1018"/>
                <a:gd name="T57" fmla="*/ 64 h 168"/>
                <a:gd name="T58" fmla="*/ 449 w 1018"/>
                <a:gd name="T59" fmla="*/ 66 h 168"/>
                <a:gd name="T60" fmla="*/ 373 w 1018"/>
                <a:gd name="T61" fmla="*/ 73 h 168"/>
                <a:gd name="T62" fmla="*/ 359 w 1018"/>
                <a:gd name="T63" fmla="*/ 52 h 168"/>
                <a:gd name="T64" fmla="*/ 375 w 1018"/>
                <a:gd name="T65" fmla="*/ 57 h 168"/>
                <a:gd name="T66" fmla="*/ 302 w 1018"/>
                <a:gd name="T67" fmla="*/ 64 h 168"/>
                <a:gd name="T68" fmla="*/ 288 w 1018"/>
                <a:gd name="T69" fmla="*/ 43 h 168"/>
                <a:gd name="T70" fmla="*/ 305 w 1018"/>
                <a:gd name="T71" fmla="*/ 45 h 168"/>
                <a:gd name="T72" fmla="*/ 231 w 1018"/>
                <a:gd name="T73" fmla="*/ 52 h 168"/>
                <a:gd name="T74" fmla="*/ 217 w 1018"/>
                <a:gd name="T75" fmla="*/ 33 h 168"/>
                <a:gd name="T76" fmla="*/ 234 w 1018"/>
                <a:gd name="T77" fmla="*/ 35 h 168"/>
                <a:gd name="T78" fmla="*/ 161 w 1018"/>
                <a:gd name="T79" fmla="*/ 43 h 168"/>
                <a:gd name="T80" fmla="*/ 144 w 1018"/>
                <a:gd name="T81" fmla="*/ 21 h 168"/>
                <a:gd name="T82" fmla="*/ 163 w 1018"/>
                <a:gd name="T83" fmla="*/ 24 h 168"/>
                <a:gd name="T84" fmla="*/ 90 w 1018"/>
                <a:gd name="T85" fmla="*/ 31 h 168"/>
                <a:gd name="T86" fmla="*/ 73 w 1018"/>
                <a:gd name="T87" fmla="*/ 1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8" h="168">
                  <a:moveTo>
                    <a:pt x="21" y="2"/>
                  </a:moveTo>
                  <a:lnTo>
                    <a:pt x="19" y="21"/>
                  </a:lnTo>
                  <a:lnTo>
                    <a:pt x="0" y="19"/>
                  </a:lnTo>
                  <a:lnTo>
                    <a:pt x="2" y="0"/>
                  </a:lnTo>
                  <a:lnTo>
                    <a:pt x="21" y="2"/>
                  </a:lnTo>
                  <a:lnTo>
                    <a:pt x="21" y="2"/>
                  </a:lnTo>
                  <a:close/>
                  <a:moveTo>
                    <a:pt x="1018" y="149"/>
                  </a:moveTo>
                  <a:lnTo>
                    <a:pt x="1016" y="168"/>
                  </a:lnTo>
                  <a:lnTo>
                    <a:pt x="997" y="165"/>
                  </a:lnTo>
                  <a:lnTo>
                    <a:pt x="999" y="146"/>
                  </a:lnTo>
                  <a:lnTo>
                    <a:pt x="1018" y="149"/>
                  </a:lnTo>
                  <a:lnTo>
                    <a:pt x="1018" y="149"/>
                  </a:lnTo>
                  <a:close/>
                  <a:moveTo>
                    <a:pt x="947" y="139"/>
                  </a:moveTo>
                  <a:lnTo>
                    <a:pt x="945" y="158"/>
                  </a:lnTo>
                  <a:lnTo>
                    <a:pt x="926" y="154"/>
                  </a:lnTo>
                  <a:lnTo>
                    <a:pt x="928" y="137"/>
                  </a:lnTo>
                  <a:lnTo>
                    <a:pt x="947" y="139"/>
                  </a:lnTo>
                  <a:lnTo>
                    <a:pt x="947" y="139"/>
                  </a:lnTo>
                  <a:close/>
                  <a:moveTo>
                    <a:pt x="874" y="130"/>
                  </a:moveTo>
                  <a:lnTo>
                    <a:pt x="871" y="146"/>
                  </a:lnTo>
                  <a:lnTo>
                    <a:pt x="855" y="144"/>
                  </a:lnTo>
                  <a:lnTo>
                    <a:pt x="857" y="128"/>
                  </a:lnTo>
                  <a:lnTo>
                    <a:pt x="874" y="130"/>
                  </a:lnTo>
                  <a:lnTo>
                    <a:pt x="874" y="130"/>
                  </a:lnTo>
                  <a:close/>
                  <a:moveTo>
                    <a:pt x="803" y="118"/>
                  </a:moveTo>
                  <a:lnTo>
                    <a:pt x="801" y="137"/>
                  </a:lnTo>
                  <a:lnTo>
                    <a:pt x="784" y="135"/>
                  </a:lnTo>
                  <a:lnTo>
                    <a:pt x="786" y="116"/>
                  </a:lnTo>
                  <a:lnTo>
                    <a:pt x="803" y="118"/>
                  </a:lnTo>
                  <a:lnTo>
                    <a:pt x="803" y="118"/>
                  </a:lnTo>
                  <a:close/>
                  <a:moveTo>
                    <a:pt x="732" y="109"/>
                  </a:moveTo>
                  <a:lnTo>
                    <a:pt x="730" y="125"/>
                  </a:lnTo>
                  <a:lnTo>
                    <a:pt x="713" y="123"/>
                  </a:lnTo>
                  <a:lnTo>
                    <a:pt x="716" y="106"/>
                  </a:lnTo>
                  <a:lnTo>
                    <a:pt x="732" y="109"/>
                  </a:lnTo>
                  <a:lnTo>
                    <a:pt x="732" y="109"/>
                  </a:lnTo>
                  <a:close/>
                  <a:moveTo>
                    <a:pt x="661" y="97"/>
                  </a:moveTo>
                  <a:lnTo>
                    <a:pt x="659" y="116"/>
                  </a:lnTo>
                  <a:lnTo>
                    <a:pt x="640" y="113"/>
                  </a:lnTo>
                  <a:lnTo>
                    <a:pt x="642" y="94"/>
                  </a:lnTo>
                  <a:lnTo>
                    <a:pt x="661" y="97"/>
                  </a:lnTo>
                  <a:lnTo>
                    <a:pt x="661" y="97"/>
                  </a:lnTo>
                  <a:close/>
                  <a:moveTo>
                    <a:pt x="590" y="87"/>
                  </a:moveTo>
                  <a:lnTo>
                    <a:pt x="588" y="104"/>
                  </a:lnTo>
                  <a:lnTo>
                    <a:pt x="569" y="102"/>
                  </a:lnTo>
                  <a:lnTo>
                    <a:pt x="572" y="85"/>
                  </a:lnTo>
                  <a:lnTo>
                    <a:pt x="590" y="87"/>
                  </a:lnTo>
                  <a:lnTo>
                    <a:pt x="590" y="87"/>
                  </a:lnTo>
                  <a:close/>
                  <a:moveTo>
                    <a:pt x="520" y="76"/>
                  </a:moveTo>
                  <a:lnTo>
                    <a:pt x="517" y="94"/>
                  </a:lnTo>
                  <a:lnTo>
                    <a:pt x="498" y="92"/>
                  </a:lnTo>
                  <a:lnTo>
                    <a:pt x="501" y="73"/>
                  </a:lnTo>
                  <a:lnTo>
                    <a:pt x="520" y="76"/>
                  </a:lnTo>
                  <a:lnTo>
                    <a:pt x="520" y="76"/>
                  </a:lnTo>
                  <a:close/>
                  <a:moveTo>
                    <a:pt x="449" y="66"/>
                  </a:moveTo>
                  <a:lnTo>
                    <a:pt x="444" y="85"/>
                  </a:lnTo>
                  <a:lnTo>
                    <a:pt x="427" y="80"/>
                  </a:lnTo>
                  <a:lnTo>
                    <a:pt x="430" y="64"/>
                  </a:lnTo>
                  <a:lnTo>
                    <a:pt x="449" y="66"/>
                  </a:lnTo>
                  <a:lnTo>
                    <a:pt x="449" y="66"/>
                  </a:lnTo>
                  <a:close/>
                  <a:moveTo>
                    <a:pt x="375" y="57"/>
                  </a:moveTo>
                  <a:lnTo>
                    <a:pt x="373" y="73"/>
                  </a:lnTo>
                  <a:lnTo>
                    <a:pt x="357" y="71"/>
                  </a:lnTo>
                  <a:lnTo>
                    <a:pt x="359" y="52"/>
                  </a:lnTo>
                  <a:lnTo>
                    <a:pt x="375" y="57"/>
                  </a:lnTo>
                  <a:lnTo>
                    <a:pt x="375" y="57"/>
                  </a:lnTo>
                  <a:close/>
                  <a:moveTo>
                    <a:pt x="305" y="45"/>
                  </a:moveTo>
                  <a:lnTo>
                    <a:pt x="302" y="64"/>
                  </a:lnTo>
                  <a:lnTo>
                    <a:pt x="286" y="61"/>
                  </a:lnTo>
                  <a:lnTo>
                    <a:pt x="288" y="43"/>
                  </a:lnTo>
                  <a:lnTo>
                    <a:pt x="305" y="45"/>
                  </a:lnTo>
                  <a:lnTo>
                    <a:pt x="305" y="45"/>
                  </a:lnTo>
                  <a:close/>
                  <a:moveTo>
                    <a:pt x="234" y="35"/>
                  </a:moveTo>
                  <a:lnTo>
                    <a:pt x="231" y="52"/>
                  </a:lnTo>
                  <a:lnTo>
                    <a:pt x="213" y="50"/>
                  </a:lnTo>
                  <a:lnTo>
                    <a:pt x="217" y="33"/>
                  </a:lnTo>
                  <a:lnTo>
                    <a:pt x="234" y="35"/>
                  </a:lnTo>
                  <a:lnTo>
                    <a:pt x="234" y="35"/>
                  </a:lnTo>
                  <a:close/>
                  <a:moveTo>
                    <a:pt x="163" y="24"/>
                  </a:moveTo>
                  <a:lnTo>
                    <a:pt x="161" y="43"/>
                  </a:lnTo>
                  <a:lnTo>
                    <a:pt x="142" y="40"/>
                  </a:lnTo>
                  <a:lnTo>
                    <a:pt x="144" y="21"/>
                  </a:lnTo>
                  <a:lnTo>
                    <a:pt x="163" y="24"/>
                  </a:lnTo>
                  <a:lnTo>
                    <a:pt x="163" y="24"/>
                  </a:lnTo>
                  <a:close/>
                  <a:moveTo>
                    <a:pt x="92" y="14"/>
                  </a:moveTo>
                  <a:lnTo>
                    <a:pt x="90" y="31"/>
                  </a:lnTo>
                  <a:lnTo>
                    <a:pt x="71" y="28"/>
                  </a:lnTo>
                  <a:lnTo>
                    <a:pt x="73" y="12"/>
                  </a:lnTo>
                  <a:lnTo>
                    <a:pt x="92"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8" name="Freeform 514"/>
            <p:cNvSpPr>
              <a:spLocks noEditPoints="1"/>
            </p:cNvSpPr>
            <p:nvPr/>
          </p:nvSpPr>
          <p:spPr bwMode="auto">
            <a:xfrm>
              <a:off x="6208713" y="5260975"/>
              <a:ext cx="1492250" cy="325438"/>
            </a:xfrm>
            <a:custGeom>
              <a:avLst/>
              <a:gdLst>
                <a:gd name="T0" fmla="*/ 921 w 940"/>
                <a:gd name="T1" fmla="*/ 184 h 205"/>
                <a:gd name="T2" fmla="*/ 935 w 940"/>
                <a:gd name="T3" fmla="*/ 205 h 205"/>
                <a:gd name="T4" fmla="*/ 919 w 940"/>
                <a:gd name="T5" fmla="*/ 200 h 205"/>
                <a:gd name="T6" fmla="*/ 5 w 940"/>
                <a:gd name="T7" fmla="*/ 0 h 205"/>
                <a:gd name="T8" fmla="*/ 19 w 940"/>
                <a:gd name="T9" fmla="*/ 21 h 205"/>
                <a:gd name="T10" fmla="*/ 0 w 940"/>
                <a:gd name="T11" fmla="*/ 18 h 205"/>
                <a:gd name="T12" fmla="*/ 75 w 940"/>
                <a:gd name="T13" fmla="*/ 14 h 205"/>
                <a:gd name="T14" fmla="*/ 90 w 940"/>
                <a:gd name="T15" fmla="*/ 35 h 205"/>
                <a:gd name="T16" fmla="*/ 71 w 940"/>
                <a:gd name="T17" fmla="*/ 33 h 205"/>
                <a:gd name="T18" fmla="*/ 146 w 940"/>
                <a:gd name="T19" fmla="*/ 28 h 205"/>
                <a:gd name="T20" fmla="*/ 160 w 940"/>
                <a:gd name="T21" fmla="*/ 49 h 205"/>
                <a:gd name="T22" fmla="*/ 142 w 940"/>
                <a:gd name="T23" fmla="*/ 47 h 205"/>
                <a:gd name="T24" fmla="*/ 217 w 940"/>
                <a:gd name="T25" fmla="*/ 42 h 205"/>
                <a:gd name="T26" fmla="*/ 231 w 940"/>
                <a:gd name="T27" fmla="*/ 63 h 205"/>
                <a:gd name="T28" fmla="*/ 212 w 940"/>
                <a:gd name="T29" fmla="*/ 59 h 205"/>
                <a:gd name="T30" fmla="*/ 286 w 940"/>
                <a:gd name="T31" fmla="*/ 56 h 205"/>
                <a:gd name="T32" fmla="*/ 300 w 940"/>
                <a:gd name="T33" fmla="*/ 77 h 205"/>
                <a:gd name="T34" fmla="*/ 283 w 940"/>
                <a:gd name="T35" fmla="*/ 73 h 205"/>
                <a:gd name="T36" fmla="*/ 356 w 940"/>
                <a:gd name="T37" fmla="*/ 70 h 205"/>
                <a:gd name="T38" fmla="*/ 371 w 940"/>
                <a:gd name="T39" fmla="*/ 92 h 205"/>
                <a:gd name="T40" fmla="*/ 354 w 940"/>
                <a:gd name="T41" fmla="*/ 87 h 205"/>
                <a:gd name="T42" fmla="*/ 427 w 940"/>
                <a:gd name="T43" fmla="*/ 85 h 205"/>
                <a:gd name="T44" fmla="*/ 442 w 940"/>
                <a:gd name="T45" fmla="*/ 106 h 205"/>
                <a:gd name="T46" fmla="*/ 425 w 940"/>
                <a:gd name="T47" fmla="*/ 101 h 205"/>
                <a:gd name="T48" fmla="*/ 498 w 940"/>
                <a:gd name="T49" fmla="*/ 99 h 205"/>
                <a:gd name="T50" fmla="*/ 512 w 940"/>
                <a:gd name="T51" fmla="*/ 120 h 205"/>
                <a:gd name="T52" fmla="*/ 496 w 940"/>
                <a:gd name="T53" fmla="*/ 115 h 205"/>
                <a:gd name="T54" fmla="*/ 569 w 940"/>
                <a:gd name="T55" fmla="*/ 113 h 205"/>
                <a:gd name="T56" fmla="*/ 583 w 940"/>
                <a:gd name="T57" fmla="*/ 134 h 205"/>
                <a:gd name="T58" fmla="*/ 567 w 940"/>
                <a:gd name="T59" fmla="*/ 129 h 205"/>
                <a:gd name="T60" fmla="*/ 640 w 940"/>
                <a:gd name="T61" fmla="*/ 127 h 205"/>
                <a:gd name="T62" fmla="*/ 654 w 940"/>
                <a:gd name="T63" fmla="*/ 148 h 205"/>
                <a:gd name="T64" fmla="*/ 635 w 940"/>
                <a:gd name="T65" fmla="*/ 144 h 205"/>
                <a:gd name="T66" fmla="*/ 711 w 940"/>
                <a:gd name="T67" fmla="*/ 141 h 205"/>
                <a:gd name="T68" fmla="*/ 725 w 940"/>
                <a:gd name="T69" fmla="*/ 163 h 205"/>
                <a:gd name="T70" fmla="*/ 706 w 940"/>
                <a:gd name="T71" fmla="*/ 158 h 205"/>
                <a:gd name="T72" fmla="*/ 782 w 940"/>
                <a:gd name="T73" fmla="*/ 155 h 205"/>
                <a:gd name="T74" fmla="*/ 796 w 940"/>
                <a:gd name="T75" fmla="*/ 177 h 205"/>
                <a:gd name="T76" fmla="*/ 777 w 940"/>
                <a:gd name="T77" fmla="*/ 172 h 205"/>
                <a:gd name="T78" fmla="*/ 852 w 940"/>
                <a:gd name="T79" fmla="*/ 170 h 205"/>
                <a:gd name="T80" fmla="*/ 867 w 940"/>
                <a:gd name="T81" fmla="*/ 19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0" h="205">
                  <a:moveTo>
                    <a:pt x="919" y="200"/>
                  </a:moveTo>
                  <a:lnTo>
                    <a:pt x="921" y="184"/>
                  </a:lnTo>
                  <a:lnTo>
                    <a:pt x="940" y="186"/>
                  </a:lnTo>
                  <a:lnTo>
                    <a:pt x="935" y="205"/>
                  </a:lnTo>
                  <a:lnTo>
                    <a:pt x="919" y="200"/>
                  </a:lnTo>
                  <a:lnTo>
                    <a:pt x="919" y="200"/>
                  </a:lnTo>
                  <a:close/>
                  <a:moveTo>
                    <a:pt x="0" y="18"/>
                  </a:moveTo>
                  <a:lnTo>
                    <a:pt x="5" y="0"/>
                  </a:lnTo>
                  <a:lnTo>
                    <a:pt x="21" y="4"/>
                  </a:lnTo>
                  <a:lnTo>
                    <a:pt x="19" y="21"/>
                  </a:lnTo>
                  <a:lnTo>
                    <a:pt x="0" y="18"/>
                  </a:lnTo>
                  <a:lnTo>
                    <a:pt x="0" y="18"/>
                  </a:lnTo>
                  <a:close/>
                  <a:moveTo>
                    <a:pt x="71" y="33"/>
                  </a:moveTo>
                  <a:lnTo>
                    <a:pt x="75" y="14"/>
                  </a:lnTo>
                  <a:lnTo>
                    <a:pt x="92" y="18"/>
                  </a:lnTo>
                  <a:lnTo>
                    <a:pt x="90" y="35"/>
                  </a:lnTo>
                  <a:lnTo>
                    <a:pt x="71" y="33"/>
                  </a:lnTo>
                  <a:lnTo>
                    <a:pt x="71" y="33"/>
                  </a:lnTo>
                  <a:close/>
                  <a:moveTo>
                    <a:pt x="142" y="47"/>
                  </a:moveTo>
                  <a:lnTo>
                    <a:pt x="146" y="28"/>
                  </a:lnTo>
                  <a:lnTo>
                    <a:pt x="163" y="33"/>
                  </a:lnTo>
                  <a:lnTo>
                    <a:pt x="160" y="49"/>
                  </a:lnTo>
                  <a:lnTo>
                    <a:pt x="142" y="47"/>
                  </a:lnTo>
                  <a:lnTo>
                    <a:pt x="142" y="47"/>
                  </a:lnTo>
                  <a:close/>
                  <a:moveTo>
                    <a:pt x="212" y="59"/>
                  </a:moveTo>
                  <a:lnTo>
                    <a:pt x="217" y="42"/>
                  </a:lnTo>
                  <a:lnTo>
                    <a:pt x="234" y="47"/>
                  </a:lnTo>
                  <a:lnTo>
                    <a:pt x="231" y="63"/>
                  </a:lnTo>
                  <a:lnTo>
                    <a:pt x="212" y="59"/>
                  </a:lnTo>
                  <a:lnTo>
                    <a:pt x="212" y="59"/>
                  </a:lnTo>
                  <a:close/>
                  <a:moveTo>
                    <a:pt x="283" y="73"/>
                  </a:moveTo>
                  <a:lnTo>
                    <a:pt x="286" y="56"/>
                  </a:lnTo>
                  <a:lnTo>
                    <a:pt x="305" y="59"/>
                  </a:lnTo>
                  <a:lnTo>
                    <a:pt x="300" y="77"/>
                  </a:lnTo>
                  <a:lnTo>
                    <a:pt x="283" y="73"/>
                  </a:lnTo>
                  <a:lnTo>
                    <a:pt x="283" y="73"/>
                  </a:lnTo>
                  <a:close/>
                  <a:moveTo>
                    <a:pt x="354" y="87"/>
                  </a:moveTo>
                  <a:lnTo>
                    <a:pt x="356" y="70"/>
                  </a:lnTo>
                  <a:lnTo>
                    <a:pt x="375" y="73"/>
                  </a:lnTo>
                  <a:lnTo>
                    <a:pt x="371" y="92"/>
                  </a:lnTo>
                  <a:lnTo>
                    <a:pt x="354" y="87"/>
                  </a:lnTo>
                  <a:lnTo>
                    <a:pt x="354" y="87"/>
                  </a:lnTo>
                  <a:close/>
                  <a:moveTo>
                    <a:pt x="425" y="101"/>
                  </a:moveTo>
                  <a:lnTo>
                    <a:pt x="427" y="85"/>
                  </a:lnTo>
                  <a:lnTo>
                    <a:pt x="446" y="87"/>
                  </a:lnTo>
                  <a:lnTo>
                    <a:pt x="442" y="106"/>
                  </a:lnTo>
                  <a:lnTo>
                    <a:pt x="425" y="101"/>
                  </a:lnTo>
                  <a:lnTo>
                    <a:pt x="425" y="101"/>
                  </a:lnTo>
                  <a:close/>
                  <a:moveTo>
                    <a:pt x="496" y="115"/>
                  </a:moveTo>
                  <a:lnTo>
                    <a:pt x="498" y="99"/>
                  </a:lnTo>
                  <a:lnTo>
                    <a:pt x="517" y="101"/>
                  </a:lnTo>
                  <a:lnTo>
                    <a:pt x="512" y="120"/>
                  </a:lnTo>
                  <a:lnTo>
                    <a:pt x="496" y="115"/>
                  </a:lnTo>
                  <a:lnTo>
                    <a:pt x="496" y="115"/>
                  </a:lnTo>
                  <a:close/>
                  <a:moveTo>
                    <a:pt x="567" y="129"/>
                  </a:moveTo>
                  <a:lnTo>
                    <a:pt x="569" y="113"/>
                  </a:lnTo>
                  <a:lnTo>
                    <a:pt x="588" y="115"/>
                  </a:lnTo>
                  <a:lnTo>
                    <a:pt x="583" y="134"/>
                  </a:lnTo>
                  <a:lnTo>
                    <a:pt x="567" y="129"/>
                  </a:lnTo>
                  <a:lnTo>
                    <a:pt x="567" y="129"/>
                  </a:lnTo>
                  <a:close/>
                  <a:moveTo>
                    <a:pt x="635" y="144"/>
                  </a:moveTo>
                  <a:lnTo>
                    <a:pt x="640" y="127"/>
                  </a:lnTo>
                  <a:lnTo>
                    <a:pt x="656" y="129"/>
                  </a:lnTo>
                  <a:lnTo>
                    <a:pt x="654" y="148"/>
                  </a:lnTo>
                  <a:lnTo>
                    <a:pt x="635" y="144"/>
                  </a:lnTo>
                  <a:lnTo>
                    <a:pt x="635" y="144"/>
                  </a:lnTo>
                  <a:close/>
                  <a:moveTo>
                    <a:pt x="706" y="158"/>
                  </a:moveTo>
                  <a:lnTo>
                    <a:pt x="711" y="141"/>
                  </a:lnTo>
                  <a:lnTo>
                    <a:pt x="727" y="144"/>
                  </a:lnTo>
                  <a:lnTo>
                    <a:pt x="725" y="163"/>
                  </a:lnTo>
                  <a:lnTo>
                    <a:pt x="706" y="158"/>
                  </a:lnTo>
                  <a:lnTo>
                    <a:pt x="706" y="158"/>
                  </a:lnTo>
                  <a:close/>
                  <a:moveTo>
                    <a:pt x="777" y="172"/>
                  </a:moveTo>
                  <a:lnTo>
                    <a:pt x="782" y="155"/>
                  </a:lnTo>
                  <a:lnTo>
                    <a:pt x="798" y="158"/>
                  </a:lnTo>
                  <a:lnTo>
                    <a:pt x="796" y="177"/>
                  </a:lnTo>
                  <a:lnTo>
                    <a:pt x="777" y="172"/>
                  </a:lnTo>
                  <a:lnTo>
                    <a:pt x="777" y="172"/>
                  </a:lnTo>
                  <a:close/>
                  <a:moveTo>
                    <a:pt x="848" y="186"/>
                  </a:moveTo>
                  <a:lnTo>
                    <a:pt x="852" y="170"/>
                  </a:lnTo>
                  <a:lnTo>
                    <a:pt x="869" y="172"/>
                  </a:lnTo>
                  <a:lnTo>
                    <a:pt x="867" y="191"/>
                  </a:lnTo>
                  <a:lnTo>
                    <a:pt x="848" y="18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99" name="Freeform 515"/>
            <p:cNvSpPr>
              <a:spLocks noEditPoints="1"/>
            </p:cNvSpPr>
            <p:nvPr/>
          </p:nvSpPr>
          <p:spPr bwMode="auto">
            <a:xfrm>
              <a:off x="6084888" y="3268663"/>
              <a:ext cx="134938" cy="1968500"/>
            </a:xfrm>
            <a:custGeom>
              <a:avLst/>
              <a:gdLst>
                <a:gd name="T0" fmla="*/ 0 w 85"/>
                <a:gd name="T1" fmla="*/ 19 h 1240"/>
                <a:gd name="T2" fmla="*/ 19 w 85"/>
                <a:gd name="T3" fmla="*/ 0 h 1240"/>
                <a:gd name="T4" fmla="*/ 19 w 85"/>
                <a:gd name="T5" fmla="*/ 17 h 1240"/>
                <a:gd name="T6" fmla="*/ 66 w 85"/>
                <a:gd name="T7" fmla="*/ 1240 h 1240"/>
                <a:gd name="T8" fmla="*/ 83 w 85"/>
                <a:gd name="T9" fmla="*/ 1221 h 1240"/>
                <a:gd name="T10" fmla="*/ 85 w 85"/>
                <a:gd name="T11" fmla="*/ 1240 h 1240"/>
                <a:gd name="T12" fmla="*/ 61 w 85"/>
                <a:gd name="T13" fmla="*/ 1170 h 1240"/>
                <a:gd name="T14" fmla="*/ 80 w 85"/>
                <a:gd name="T15" fmla="*/ 1151 h 1240"/>
                <a:gd name="T16" fmla="*/ 80 w 85"/>
                <a:gd name="T17" fmla="*/ 1167 h 1240"/>
                <a:gd name="T18" fmla="*/ 59 w 85"/>
                <a:gd name="T19" fmla="*/ 1096 h 1240"/>
                <a:gd name="T20" fmla="*/ 75 w 85"/>
                <a:gd name="T21" fmla="*/ 1077 h 1240"/>
                <a:gd name="T22" fmla="*/ 75 w 85"/>
                <a:gd name="T23" fmla="*/ 1096 h 1240"/>
                <a:gd name="T24" fmla="*/ 54 w 85"/>
                <a:gd name="T25" fmla="*/ 1025 h 1240"/>
                <a:gd name="T26" fmla="*/ 71 w 85"/>
                <a:gd name="T27" fmla="*/ 1007 h 1240"/>
                <a:gd name="T28" fmla="*/ 73 w 85"/>
                <a:gd name="T29" fmla="*/ 1025 h 1240"/>
                <a:gd name="T30" fmla="*/ 52 w 85"/>
                <a:gd name="T31" fmla="*/ 955 h 1240"/>
                <a:gd name="T32" fmla="*/ 68 w 85"/>
                <a:gd name="T33" fmla="*/ 933 h 1240"/>
                <a:gd name="T34" fmla="*/ 68 w 85"/>
                <a:gd name="T35" fmla="*/ 952 h 1240"/>
                <a:gd name="T36" fmla="*/ 47 w 85"/>
                <a:gd name="T37" fmla="*/ 881 h 1240"/>
                <a:gd name="T38" fmla="*/ 64 w 85"/>
                <a:gd name="T39" fmla="*/ 862 h 1240"/>
                <a:gd name="T40" fmla="*/ 66 w 85"/>
                <a:gd name="T41" fmla="*/ 881 h 1240"/>
                <a:gd name="T42" fmla="*/ 42 w 85"/>
                <a:gd name="T43" fmla="*/ 810 h 1240"/>
                <a:gd name="T44" fmla="*/ 59 w 85"/>
                <a:gd name="T45" fmla="*/ 792 h 1240"/>
                <a:gd name="T46" fmla="*/ 61 w 85"/>
                <a:gd name="T47" fmla="*/ 808 h 1240"/>
                <a:gd name="T48" fmla="*/ 40 w 85"/>
                <a:gd name="T49" fmla="*/ 737 h 1240"/>
                <a:gd name="T50" fmla="*/ 57 w 85"/>
                <a:gd name="T51" fmla="*/ 718 h 1240"/>
                <a:gd name="T52" fmla="*/ 57 w 85"/>
                <a:gd name="T53" fmla="*/ 737 h 1240"/>
                <a:gd name="T54" fmla="*/ 35 w 85"/>
                <a:gd name="T55" fmla="*/ 666 h 1240"/>
                <a:gd name="T56" fmla="*/ 52 w 85"/>
                <a:gd name="T57" fmla="*/ 647 h 1240"/>
                <a:gd name="T58" fmla="*/ 54 w 85"/>
                <a:gd name="T59" fmla="*/ 664 h 1240"/>
                <a:gd name="T60" fmla="*/ 31 w 85"/>
                <a:gd name="T61" fmla="*/ 593 h 1240"/>
                <a:gd name="T62" fmla="*/ 49 w 85"/>
                <a:gd name="T63" fmla="*/ 574 h 1240"/>
                <a:gd name="T64" fmla="*/ 49 w 85"/>
                <a:gd name="T65" fmla="*/ 593 h 1240"/>
                <a:gd name="T66" fmla="*/ 28 w 85"/>
                <a:gd name="T67" fmla="*/ 522 h 1240"/>
                <a:gd name="T68" fmla="*/ 45 w 85"/>
                <a:gd name="T69" fmla="*/ 503 h 1240"/>
                <a:gd name="T70" fmla="*/ 45 w 85"/>
                <a:gd name="T71" fmla="*/ 522 h 1240"/>
                <a:gd name="T72" fmla="*/ 24 w 85"/>
                <a:gd name="T73" fmla="*/ 449 h 1240"/>
                <a:gd name="T74" fmla="*/ 40 w 85"/>
                <a:gd name="T75" fmla="*/ 430 h 1240"/>
                <a:gd name="T76" fmla="*/ 42 w 85"/>
                <a:gd name="T77" fmla="*/ 449 h 1240"/>
                <a:gd name="T78" fmla="*/ 21 w 85"/>
                <a:gd name="T79" fmla="*/ 378 h 1240"/>
                <a:gd name="T80" fmla="*/ 38 w 85"/>
                <a:gd name="T81" fmla="*/ 359 h 1240"/>
                <a:gd name="T82" fmla="*/ 38 w 85"/>
                <a:gd name="T83" fmla="*/ 378 h 1240"/>
                <a:gd name="T84" fmla="*/ 16 w 85"/>
                <a:gd name="T85" fmla="*/ 307 h 1240"/>
                <a:gd name="T86" fmla="*/ 33 w 85"/>
                <a:gd name="T87" fmla="*/ 288 h 1240"/>
                <a:gd name="T88" fmla="*/ 35 w 85"/>
                <a:gd name="T89" fmla="*/ 305 h 1240"/>
                <a:gd name="T90" fmla="*/ 12 w 85"/>
                <a:gd name="T91" fmla="*/ 234 h 1240"/>
                <a:gd name="T92" fmla="*/ 28 w 85"/>
                <a:gd name="T93" fmla="*/ 215 h 1240"/>
                <a:gd name="T94" fmla="*/ 31 w 85"/>
                <a:gd name="T95" fmla="*/ 234 h 1240"/>
                <a:gd name="T96" fmla="*/ 9 w 85"/>
                <a:gd name="T97" fmla="*/ 163 h 1240"/>
                <a:gd name="T98" fmla="*/ 26 w 85"/>
                <a:gd name="T99" fmla="*/ 144 h 1240"/>
                <a:gd name="T100" fmla="*/ 26 w 85"/>
                <a:gd name="T101" fmla="*/ 161 h 1240"/>
                <a:gd name="T102" fmla="*/ 5 w 85"/>
                <a:gd name="T103" fmla="*/ 90 h 1240"/>
                <a:gd name="T104" fmla="*/ 21 w 85"/>
                <a:gd name="T105" fmla="*/ 71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 h="1240">
                  <a:moveTo>
                    <a:pt x="19" y="17"/>
                  </a:moveTo>
                  <a:lnTo>
                    <a:pt x="0" y="19"/>
                  </a:lnTo>
                  <a:lnTo>
                    <a:pt x="0" y="0"/>
                  </a:lnTo>
                  <a:lnTo>
                    <a:pt x="19" y="0"/>
                  </a:lnTo>
                  <a:lnTo>
                    <a:pt x="19" y="17"/>
                  </a:lnTo>
                  <a:lnTo>
                    <a:pt x="19" y="17"/>
                  </a:lnTo>
                  <a:close/>
                  <a:moveTo>
                    <a:pt x="85" y="1240"/>
                  </a:moveTo>
                  <a:lnTo>
                    <a:pt x="66" y="1240"/>
                  </a:lnTo>
                  <a:lnTo>
                    <a:pt x="66" y="1224"/>
                  </a:lnTo>
                  <a:lnTo>
                    <a:pt x="83" y="1221"/>
                  </a:lnTo>
                  <a:lnTo>
                    <a:pt x="85" y="1240"/>
                  </a:lnTo>
                  <a:lnTo>
                    <a:pt x="85" y="1240"/>
                  </a:lnTo>
                  <a:close/>
                  <a:moveTo>
                    <a:pt x="80" y="1167"/>
                  </a:moveTo>
                  <a:lnTo>
                    <a:pt x="61" y="1170"/>
                  </a:lnTo>
                  <a:lnTo>
                    <a:pt x="61" y="1151"/>
                  </a:lnTo>
                  <a:lnTo>
                    <a:pt x="80" y="1151"/>
                  </a:lnTo>
                  <a:lnTo>
                    <a:pt x="80" y="1167"/>
                  </a:lnTo>
                  <a:lnTo>
                    <a:pt x="80" y="1167"/>
                  </a:lnTo>
                  <a:close/>
                  <a:moveTo>
                    <a:pt x="75" y="1096"/>
                  </a:moveTo>
                  <a:lnTo>
                    <a:pt x="59" y="1096"/>
                  </a:lnTo>
                  <a:lnTo>
                    <a:pt x="57" y="1080"/>
                  </a:lnTo>
                  <a:lnTo>
                    <a:pt x="75" y="1077"/>
                  </a:lnTo>
                  <a:lnTo>
                    <a:pt x="75" y="1096"/>
                  </a:lnTo>
                  <a:lnTo>
                    <a:pt x="75" y="1096"/>
                  </a:lnTo>
                  <a:close/>
                  <a:moveTo>
                    <a:pt x="73" y="1025"/>
                  </a:moveTo>
                  <a:lnTo>
                    <a:pt x="54" y="1025"/>
                  </a:lnTo>
                  <a:lnTo>
                    <a:pt x="54" y="1007"/>
                  </a:lnTo>
                  <a:lnTo>
                    <a:pt x="71" y="1007"/>
                  </a:lnTo>
                  <a:lnTo>
                    <a:pt x="73" y="1025"/>
                  </a:lnTo>
                  <a:lnTo>
                    <a:pt x="73" y="1025"/>
                  </a:lnTo>
                  <a:close/>
                  <a:moveTo>
                    <a:pt x="68" y="952"/>
                  </a:moveTo>
                  <a:lnTo>
                    <a:pt x="52" y="955"/>
                  </a:lnTo>
                  <a:lnTo>
                    <a:pt x="49" y="936"/>
                  </a:lnTo>
                  <a:lnTo>
                    <a:pt x="68" y="933"/>
                  </a:lnTo>
                  <a:lnTo>
                    <a:pt x="68" y="952"/>
                  </a:lnTo>
                  <a:lnTo>
                    <a:pt x="68" y="952"/>
                  </a:lnTo>
                  <a:close/>
                  <a:moveTo>
                    <a:pt x="66" y="881"/>
                  </a:moveTo>
                  <a:lnTo>
                    <a:pt x="47" y="881"/>
                  </a:lnTo>
                  <a:lnTo>
                    <a:pt x="45" y="862"/>
                  </a:lnTo>
                  <a:lnTo>
                    <a:pt x="64" y="862"/>
                  </a:lnTo>
                  <a:lnTo>
                    <a:pt x="66" y="881"/>
                  </a:lnTo>
                  <a:lnTo>
                    <a:pt x="66" y="881"/>
                  </a:lnTo>
                  <a:close/>
                  <a:moveTo>
                    <a:pt x="61" y="808"/>
                  </a:moveTo>
                  <a:lnTo>
                    <a:pt x="42" y="810"/>
                  </a:lnTo>
                  <a:lnTo>
                    <a:pt x="42" y="792"/>
                  </a:lnTo>
                  <a:lnTo>
                    <a:pt x="59" y="792"/>
                  </a:lnTo>
                  <a:lnTo>
                    <a:pt x="61" y="808"/>
                  </a:lnTo>
                  <a:lnTo>
                    <a:pt x="61" y="808"/>
                  </a:lnTo>
                  <a:close/>
                  <a:moveTo>
                    <a:pt x="57" y="737"/>
                  </a:moveTo>
                  <a:lnTo>
                    <a:pt x="40" y="737"/>
                  </a:lnTo>
                  <a:lnTo>
                    <a:pt x="38" y="721"/>
                  </a:lnTo>
                  <a:lnTo>
                    <a:pt x="57" y="718"/>
                  </a:lnTo>
                  <a:lnTo>
                    <a:pt x="57" y="737"/>
                  </a:lnTo>
                  <a:lnTo>
                    <a:pt x="57" y="737"/>
                  </a:lnTo>
                  <a:close/>
                  <a:moveTo>
                    <a:pt x="54" y="664"/>
                  </a:moveTo>
                  <a:lnTo>
                    <a:pt x="35" y="666"/>
                  </a:lnTo>
                  <a:lnTo>
                    <a:pt x="35" y="647"/>
                  </a:lnTo>
                  <a:lnTo>
                    <a:pt x="52" y="647"/>
                  </a:lnTo>
                  <a:lnTo>
                    <a:pt x="54" y="664"/>
                  </a:lnTo>
                  <a:lnTo>
                    <a:pt x="54" y="664"/>
                  </a:lnTo>
                  <a:close/>
                  <a:moveTo>
                    <a:pt x="49" y="593"/>
                  </a:moveTo>
                  <a:lnTo>
                    <a:pt x="31" y="593"/>
                  </a:lnTo>
                  <a:lnTo>
                    <a:pt x="31" y="577"/>
                  </a:lnTo>
                  <a:lnTo>
                    <a:pt x="49" y="574"/>
                  </a:lnTo>
                  <a:lnTo>
                    <a:pt x="49" y="593"/>
                  </a:lnTo>
                  <a:lnTo>
                    <a:pt x="49" y="593"/>
                  </a:lnTo>
                  <a:close/>
                  <a:moveTo>
                    <a:pt x="45" y="522"/>
                  </a:moveTo>
                  <a:lnTo>
                    <a:pt x="28" y="522"/>
                  </a:lnTo>
                  <a:lnTo>
                    <a:pt x="26" y="503"/>
                  </a:lnTo>
                  <a:lnTo>
                    <a:pt x="45" y="503"/>
                  </a:lnTo>
                  <a:lnTo>
                    <a:pt x="45" y="522"/>
                  </a:lnTo>
                  <a:lnTo>
                    <a:pt x="45" y="522"/>
                  </a:lnTo>
                  <a:close/>
                  <a:moveTo>
                    <a:pt x="42" y="449"/>
                  </a:moveTo>
                  <a:lnTo>
                    <a:pt x="24" y="449"/>
                  </a:lnTo>
                  <a:lnTo>
                    <a:pt x="24" y="433"/>
                  </a:lnTo>
                  <a:lnTo>
                    <a:pt x="40" y="430"/>
                  </a:lnTo>
                  <a:lnTo>
                    <a:pt x="42" y="449"/>
                  </a:lnTo>
                  <a:lnTo>
                    <a:pt x="42" y="449"/>
                  </a:lnTo>
                  <a:close/>
                  <a:moveTo>
                    <a:pt x="38" y="378"/>
                  </a:moveTo>
                  <a:lnTo>
                    <a:pt x="21" y="378"/>
                  </a:lnTo>
                  <a:lnTo>
                    <a:pt x="19" y="359"/>
                  </a:lnTo>
                  <a:lnTo>
                    <a:pt x="38" y="359"/>
                  </a:lnTo>
                  <a:lnTo>
                    <a:pt x="38" y="378"/>
                  </a:lnTo>
                  <a:lnTo>
                    <a:pt x="38" y="378"/>
                  </a:lnTo>
                  <a:close/>
                  <a:moveTo>
                    <a:pt x="35" y="305"/>
                  </a:moveTo>
                  <a:lnTo>
                    <a:pt x="16" y="307"/>
                  </a:lnTo>
                  <a:lnTo>
                    <a:pt x="14" y="288"/>
                  </a:lnTo>
                  <a:lnTo>
                    <a:pt x="33" y="288"/>
                  </a:lnTo>
                  <a:lnTo>
                    <a:pt x="35" y="305"/>
                  </a:lnTo>
                  <a:lnTo>
                    <a:pt x="35" y="305"/>
                  </a:lnTo>
                  <a:close/>
                  <a:moveTo>
                    <a:pt x="31" y="234"/>
                  </a:moveTo>
                  <a:lnTo>
                    <a:pt x="12" y="234"/>
                  </a:lnTo>
                  <a:lnTo>
                    <a:pt x="12" y="218"/>
                  </a:lnTo>
                  <a:lnTo>
                    <a:pt x="28" y="215"/>
                  </a:lnTo>
                  <a:lnTo>
                    <a:pt x="31" y="234"/>
                  </a:lnTo>
                  <a:lnTo>
                    <a:pt x="31" y="234"/>
                  </a:lnTo>
                  <a:close/>
                  <a:moveTo>
                    <a:pt x="26" y="161"/>
                  </a:moveTo>
                  <a:lnTo>
                    <a:pt x="9" y="163"/>
                  </a:lnTo>
                  <a:lnTo>
                    <a:pt x="7" y="144"/>
                  </a:lnTo>
                  <a:lnTo>
                    <a:pt x="26" y="144"/>
                  </a:lnTo>
                  <a:lnTo>
                    <a:pt x="26" y="161"/>
                  </a:lnTo>
                  <a:lnTo>
                    <a:pt x="26" y="161"/>
                  </a:lnTo>
                  <a:close/>
                  <a:moveTo>
                    <a:pt x="24" y="90"/>
                  </a:moveTo>
                  <a:lnTo>
                    <a:pt x="5" y="90"/>
                  </a:lnTo>
                  <a:lnTo>
                    <a:pt x="5" y="73"/>
                  </a:lnTo>
                  <a:lnTo>
                    <a:pt x="21" y="71"/>
                  </a:lnTo>
                  <a:lnTo>
                    <a:pt x="24" y="9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0" name="Freeform 516"/>
            <p:cNvSpPr>
              <a:spLocks noEditPoints="1"/>
            </p:cNvSpPr>
            <p:nvPr/>
          </p:nvSpPr>
          <p:spPr bwMode="auto">
            <a:xfrm>
              <a:off x="6099175" y="3284538"/>
              <a:ext cx="1508125" cy="63500"/>
            </a:xfrm>
            <a:custGeom>
              <a:avLst/>
              <a:gdLst>
                <a:gd name="T0" fmla="*/ 931 w 950"/>
                <a:gd name="T1" fmla="*/ 0 h 40"/>
                <a:gd name="T2" fmla="*/ 950 w 950"/>
                <a:gd name="T3" fmla="*/ 16 h 40"/>
                <a:gd name="T4" fmla="*/ 931 w 950"/>
                <a:gd name="T5" fmla="*/ 16 h 40"/>
                <a:gd name="T6" fmla="*/ 15 w 950"/>
                <a:gd name="T7" fmla="*/ 40 h 40"/>
                <a:gd name="T8" fmla="*/ 0 w 950"/>
                <a:gd name="T9" fmla="*/ 23 h 40"/>
                <a:gd name="T10" fmla="*/ 0 w 950"/>
                <a:gd name="T11" fmla="*/ 40 h 40"/>
                <a:gd name="T12" fmla="*/ 66 w 950"/>
                <a:gd name="T13" fmla="*/ 21 h 40"/>
                <a:gd name="T14" fmla="*/ 85 w 950"/>
                <a:gd name="T15" fmla="*/ 37 h 40"/>
                <a:gd name="T16" fmla="*/ 69 w 950"/>
                <a:gd name="T17" fmla="*/ 40 h 40"/>
                <a:gd name="T18" fmla="*/ 140 w 950"/>
                <a:gd name="T19" fmla="*/ 19 h 40"/>
                <a:gd name="T20" fmla="*/ 159 w 950"/>
                <a:gd name="T21" fmla="*/ 37 h 40"/>
                <a:gd name="T22" fmla="*/ 140 w 950"/>
                <a:gd name="T23" fmla="*/ 37 h 40"/>
                <a:gd name="T24" fmla="*/ 211 w 950"/>
                <a:gd name="T25" fmla="*/ 16 h 40"/>
                <a:gd name="T26" fmla="*/ 229 w 950"/>
                <a:gd name="T27" fmla="*/ 35 h 40"/>
                <a:gd name="T28" fmla="*/ 213 w 950"/>
                <a:gd name="T29" fmla="*/ 35 h 40"/>
                <a:gd name="T30" fmla="*/ 284 w 950"/>
                <a:gd name="T31" fmla="*/ 16 h 40"/>
                <a:gd name="T32" fmla="*/ 303 w 950"/>
                <a:gd name="T33" fmla="*/ 33 h 40"/>
                <a:gd name="T34" fmla="*/ 284 w 950"/>
                <a:gd name="T35" fmla="*/ 33 h 40"/>
                <a:gd name="T36" fmla="*/ 355 w 950"/>
                <a:gd name="T37" fmla="*/ 14 h 40"/>
                <a:gd name="T38" fmla="*/ 374 w 950"/>
                <a:gd name="T39" fmla="*/ 30 h 40"/>
                <a:gd name="T40" fmla="*/ 355 w 950"/>
                <a:gd name="T41" fmla="*/ 30 h 40"/>
                <a:gd name="T42" fmla="*/ 428 w 950"/>
                <a:gd name="T43" fmla="*/ 11 h 40"/>
                <a:gd name="T44" fmla="*/ 447 w 950"/>
                <a:gd name="T45" fmla="*/ 30 h 40"/>
                <a:gd name="T46" fmla="*/ 428 w 950"/>
                <a:gd name="T47" fmla="*/ 30 h 40"/>
                <a:gd name="T48" fmla="*/ 499 w 950"/>
                <a:gd name="T49" fmla="*/ 9 h 40"/>
                <a:gd name="T50" fmla="*/ 518 w 950"/>
                <a:gd name="T51" fmla="*/ 28 h 40"/>
                <a:gd name="T52" fmla="*/ 499 w 950"/>
                <a:gd name="T53" fmla="*/ 28 h 40"/>
                <a:gd name="T54" fmla="*/ 572 w 950"/>
                <a:gd name="T55" fmla="*/ 9 h 40"/>
                <a:gd name="T56" fmla="*/ 588 w 950"/>
                <a:gd name="T57" fmla="*/ 26 h 40"/>
                <a:gd name="T58" fmla="*/ 572 w 950"/>
                <a:gd name="T59" fmla="*/ 26 h 40"/>
                <a:gd name="T60" fmla="*/ 643 w 950"/>
                <a:gd name="T61" fmla="*/ 7 h 40"/>
                <a:gd name="T62" fmla="*/ 662 w 950"/>
                <a:gd name="T63" fmla="*/ 23 h 40"/>
                <a:gd name="T64" fmla="*/ 643 w 950"/>
                <a:gd name="T65" fmla="*/ 23 h 40"/>
                <a:gd name="T66" fmla="*/ 716 w 950"/>
                <a:gd name="T67" fmla="*/ 4 h 40"/>
                <a:gd name="T68" fmla="*/ 733 w 950"/>
                <a:gd name="T69" fmla="*/ 21 h 40"/>
                <a:gd name="T70" fmla="*/ 716 w 950"/>
                <a:gd name="T71" fmla="*/ 23 h 40"/>
                <a:gd name="T72" fmla="*/ 787 w 950"/>
                <a:gd name="T73" fmla="*/ 2 h 40"/>
                <a:gd name="T74" fmla="*/ 806 w 950"/>
                <a:gd name="T75" fmla="*/ 21 h 40"/>
                <a:gd name="T76" fmla="*/ 787 w 950"/>
                <a:gd name="T77" fmla="*/ 21 h 40"/>
                <a:gd name="T78" fmla="*/ 860 w 950"/>
                <a:gd name="T79" fmla="*/ 2 h 40"/>
                <a:gd name="T80" fmla="*/ 877 w 950"/>
                <a:gd name="T8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50" h="40">
                  <a:moveTo>
                    <a:pt x="931" y="16"/>
                  </a:moveTo>
                  <a:lnTo>
                    <a:pt x="931" y="0"/>
                  </a:lnTo>
                  <a:lnTo>
                    <a:pt x="950" y="0"/>
                  </a:lnTo>
                  <a:lnTo>
                    <a:pt x="950" y="16"/>
                  </a:lnTo>
                  <a:lnTo>
                    <a:pt x="931" y="16"/>
                  </a:lnTo>
                  <a:lnTo>
                    <a:pt x="931" y="16"/>
                  </a:lnTo>
                  <a:close/>
                  <a:moveTo>
                    <a:pt x="0" y="40"/>
                  </a:moveTo>
                  <a:lnTo>
                    <a:pt x="15" y="40"/>
                  </a:lnTo>
                  <a:lnTo>
                    <a:pt x="15" y="21"/>
                  </a:lnTo>
                  <a:lnTo>
                    <a:pt x="0" y="23"/>
                  </a:lnTo>
                  <a:lnTo>
                    <a:pt x="0" y="40"/>
                  </a:lnTo>
                  <a:lnTo>
                    <a:pt x="0" y="40"/>
                  </a:lnTo>
                  <a:close/>
                  <a:moveTo>
                    <a:pt x="69" y="40"/>
                  </a:moveTo>
                  <a:lnTo>
                    <a:pt x="66" y="21"/>
                  </a:lnTo>
                  <a:lnTo>
                    <a:pt x="85" y="21"/>
                  </a:lnTo>
                  <a:lnTo>
                    <a:pt x="85" y="37"/>
                  </a:lnTo>
                  <a:lnTo>
                    <a:pt x="69" y="40"/>
                  </a:lnTo>
                  <a:lnTo>
                    <a:pt x="69" y="40"/>
                  </a:lnTo>
                  <a:close/>
                  <a:moveTo>
                    <a:pt x="140" y="37"/>
                  </a:moveTo>
                  <a:lnTo>
                    <a:pt x="140" y="19"/>
                  </a:lnTo>
                  <a:lnTo>
                    <a:pt x="156" y="19"/>
                  </a:lnTo>
                  <a:lnTo>
                    <a:pt x="159" y="37"/>
                  </a:lnTo>
                  <a:lnTo>
                    <a:pt x="140" y="37"/>
                  </a:lnTo>
                  <a:lnTo>
                    <a:pt x="140" y="37"/>
                  </a:lnTo>
                  <a:close/>
                  <a:moveTo>
                    <a:pt x="213" y="35"/>
                  </a:moveTo>
                  <a:lnTo>
                    <a:pt x="211" y="16"/>
                  </a:lnTo>
                  <a:lnTo>
                    <a:pt x="229" y="16"/>
                  </a:lnTo>
                  <a:lnTo>
                    <a:pt x="229" y="35"/>
                  </a:lnTo>
                  <a:lnTo>
                    <a:pt x="213" y="35"/>
                  </a:lnTo>
                  <a:lnTo>
                    <a:pt x="213" y="35"/>
                  </a:lnTo>
                  <a:close/>
                  <a:moveTo>
                    <a:pt x="284" y="33"/>
                  </a:moveTo>
                  <a:lnTo>
                    <a:pt x="284" y="16"/>
                  </a:lnTo>
                  <a:lnTo>
                    <a:pt x="300" y="14"/>
                  </a:lnTo>
                  <a:lnTo>
                    <a:pt x="303" y="33"/>
                  </a:lnTo>
                  <a:lnTo>
                    <a:pt x="284" y="33"/>
                  </a:lnTo>
                  <a:lnTo>
                    <a:pt x="284" y="33"/>
                  </a:lnTo>
                  <a:close/>
                  <a:moveTo>
                    <a:pt x="355" y="30"/>
                  </a:moveTo>
                  <a:lnTo>
                    <a:pt x="355" y="14"/>
                  </a:lnTo>
                  <a:lnTo>
                    <a:pt x="374" y="14"/>
                  </a:lnTo>
                  <a:lnTo>
                    <a:pt x="374" y="30"/>
                  </a:lnTo>
                  <a:lnTo>
                    <a:pt x="355" y="30"/>
                  </a:lnTo>
                  <a:lnTo>
                    <a:pt x="355" y="30"/>
                  </a:lnTo>
                  <a:close/>
                  <a:moveTo>
                    <a:pt x="428" y="30"/>
                  </a:moveTo>
                  <a:lnTo>
                    <a:pt x="428" y="11"/>
                  </a:lnTo>
                  <a:lnTo>
                    <a:pt x="444" y="11"/>
                  </a:lnTo>
                  <a:lnTo>
                    <a:pt x="447" y="30"/>
                  </a:lnTo>
                  <a:lnTo>
                    <a:pt x="428" y="30"/>
                  </a:lnTo>
                  <a:lnTo>
                    <a:pt x="428" y="30"/>
                  </a:lnTo>
                  <a:close/>
                  <a:moveTo>
                    <a:pt x="499" y="28"/>
                  </a:moveTo>
                  <a:lnTo>
                    <a:pt x="499" y="9"/>
                  </a:lnTo>
                  <a:lnTo>
                    <a:pt x="518" y="9"/>
                  </a:lnTo>
                  <a:lnTo>
                    <a:pt x="518" y="28"/>
                  </a:lnTo>
                  <a:lnTo>
                    <a:pt x="499" y="28"/>
                  </a:lnTo>
                  <a:lnTo>
                    <a:pt x="499" y="28"/>
                  </a:lnTo>
                  <a:close/>
                  <a:moveTo>
                    <a:pt x="572" y="26"/>
                  </a:moveTo>
                  <a:lnTo>
                    <a:pt x="572" y="9"/>
                  </a:lnTo>
                  <a:lnTo>
                    <a:pt x="588" y="7"/>
                  </a:lnTo>
                  <a:lnTo>
                    <a:pt x="588" y="26"/>
                  </a:lnTo>
                  <a:lnTo>
                    <a:pt x="572" y="26"/>
                  </a:lnTo>
                  <a:lnTo>
                    <a:pt x="572" y="26"/>
                  </a:lnTo>
                  <a:close/>
                  <a:moveTo>
                    <a:pt x="643" y="23"/>
                  </a:moveTo>
                  <a:lnTo>
                    <a:pt x="643" y="7"/>
                  </a:lnTo>
                  <a:lnTo>
                    <a:pt x="662" y="7"/>
                  </a:lnTo>
                  <a:lnTo>
                    <a:pt x="662" y="23"/>
                  </a:lnTo>
                  <a:lnTo>
                    <a:pt x="643" y="23"/>
                  </a:lnTo>
                  <a:lnTo>
                    <a:pt x="643" y="23"/>
                  </a:lnTo>
                  <a:close/>
                  <a:moveTo>
                    <a:pt x="716" y="23"/>
                  </a:moveTo>
                  <a:lnTo>
                    <a:pt x="716" y="4"/>
                  </a:lnTo>
                  <a:lnTo>
                    <a:pt x="733" y="4"/>
                  </a:lnTo>
                  <a:lnTo>
                    <a:pt x="733" y="21"/>
                  </a:lnTo>
                  <a:lnTo>
                    <a:pt x="716" y="23"/>
                  </a:lnTo>
                  <a:lnTo>
                    <a:pt x="716" y="23"/>
                  </a:lnTo>
                  <a:close/>
                  <a:moveTo>
                    <a:pt x="787" y="21"/>
                  </a:moveTo>
                  <a:lnTo>
                    <a:pt x="787" y="2"/>
                  </a:lnTo>
                  <a:lnTo>
                    <a:pt x="806" y="2"/>
                  </a:lnTo>
                  <a:lnTo>
                    <a:pt x="806" y="21"/>
                  </a:lnTo>
                  <a:lnTo>
                    <a:pt x="787" y="21"/>
                  </a:lnTo>
                  <a:lnTo>
                    <a:pt x="787" y="21"/>
                  </a:lnTo>
                  <a:close/>
                  <a:moveTo>
                    <a:pt x="860" y="19"/>
                  </a:moveTo>
                  <a:lnTo>
                    <a:pt x="860" y="2"/>
                  </a:lnTo>
                  <a:lnTo>
                    <a:pt x="877" y="0"/>
                  </a:lnTo>
                  <a:lnTo>
                    <a:pt x="877" y="19"/>
                  </a:lnTo>
                  <a:lnTo>
                    <a:pt x="860" y="1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1" name="Freeform 517"/>
            <p:cNvSpPr>
              <a:spLocks noEditPoints="1"/>
            </p:cNvSpPr>
            <p:nvPr/>
          </p:nvSpPr>
          <p:spPr bwMode="auto">
            <a:xfrm>
              <a:off x="5413375" y="3625850"/>
              <a:ext cx="487363" cy="952500"/>
            </a:xfrm>
            <a:custGeom>
              <a:avLst/>
              <a:gdLst>
                <a:gd name="T0" fmla="*/ 7 w 307"/>
                <a:gd name="T1" fmla="*/ 576 h 600"/>
                <a:gd name="T2" fmla="*/ 24 w 307"/>
                <a:gd name="T3" fmla="*/ 583 h 600"/>
                <a:gd name="T4" fmla="*/ 17 w 307"/>
                <a:gd name="T5" fmla="*/ 600 h 600"/>
                <a:gd name="T6" fmla="*/ 0 w 307"/>
                <a:gd name="T7" fmla="*/ 593 h 600"/>
                <a:gd name="T8" fmla="*/ 7 w 307"/>
                <a:gd name="T9" fmla="*/ 576 h 600"/>
                <a:gd name="T10" fmla="*/ 7 w 307"/>
                <a:gd name="T11" fmla="*/ 576 h 600"/>
                <a:gd name="T12" fmla="*/ 291 w 307"/>
                <a:gd name="T13" fmla="*/ 0 h 600"/>
                <a:gd name="T14" fmla="*/ 286 w 307"/>
                <a:gd name="T15" fmla="*/ 9 h 600"/>
                <a:gd name="T16" fmla="*/ 302 w 307"/>
                <a:gd name="T17" fmla="*/ 19 h 600"/>
                <a:gd name="T18" fmla="*/ 307 w 307"/>
                <a:gd name="T19" fmla="*/ 7 h 600"/>
                <a:gd name="T20" fmla="*/ 291 w 307"/>
                <a:gd name="T21" fmla="*/ 0 h 600"/>
                <a:gd name="T22" fmla="*/ 291 w 307"/>
                <a:gd name="T23" fmla="*/ 0 h 600"/>
                <a:gd name="T24" fmla="*/ 262 w 307"/>
                <a:gd name="T25" fmla="*/ 59 h 600"/>
                <a:gd name="T26" fmla="*/ 279 w 307"/>
                <a:gd name="T27" fmla="*/ 66 h 600"/>
                <a:gd name="T28" fmla="*/ 269 w 307"/>
                <a:gd name="T29" fmla="*/ 82 h 600"/>
                <a:gd name="T30" fmla="*/ 255 w 307"/>
                <a:gd name="T31" fmla="*/ 75 h 600"/>
                <a:gd name="T32" fmla="*/ 262 w 307"/>
                <a:gd name="T33" fmla="*/ 59 h 600"/>
                <a:gd name="T34" fmla="*/ 262 w 307"/>
                <a:gd name="T35" fmla="*/ 59 h 600"/>
                <a:gd name="T36" fmla="*/ 229 w 307"/>
                <a:gd name="T37" fmla="*/ 122 h 600"/>
                <a:gd name="T38" fmla="*/ 246 w 307"/>
                <a:gd name="T39" fmla="*/ 132 h 600"/>
                <a:gd name="T40" fmla="*/ 239 w 307"/>
                <a:gd name="T41" fmla="*/ 146 h 600"/>
                <a:gd name="T42" fmla="*/ 222 w 307"/>
                <a:gd name="T43" fmla="*/ 139 h 600"/>
                <a:gd name="T44" fmla="*/ 229 w 307"/>
                <a:gd name="T45" fmla="*/ 122 h 600"/>
                <a:gd name="T46" fmla="*/ 229 w 307"/>
                <a:gd name="T47" fmla="*/ 122 h 600"/>
                <a:gd name="T48" fmla="*/ 198 w 307"/>
                <a:gd name="T49" fmla="*/ 189 h 600"/>
                <a:gd name="T50" fmla="*/ 215 w 307"/>
                <a:gd name="T51" fmla="*/ 196 h 600"/>
                <a:gd name="T52" fmla="*/ 208 w 307"/>
                <a:gd name="T53" fmla="*/ 212 h 600"/>
                <a:gd name="T54" fmla="*/ 191 w 307"/>
                <a:gd name="T55" fmla="*/ 205 h 600"/>
                <a:gd name="T56" fmla="*/ 198 w 307"/>
                <a:gd name="T57" fmla="*/ 189 h 600"/>
                <a:gd name="T58" fmla="*/ 198 w 307"/>
                <a:gd name="T59" fmla="*/ 189 h 600"/>
                <a:gd name="T60" fmla="*/ 168 w 307"/>
                <a:gd name="T61" fmla="*/ 252 h 600"/>
                <a:gd name="T62" fmla="*/ 182 w 307"/>
                <a:gd name="T63" fmla="*/ 259 h 600"/>
                <a:gd name="T64" fmla="*/ 175 w 307"/>
                <a:gd name="T65" fmla="*/ 276 h 600"/>
                <a:gd name="T66" fmla="*/ 158 w 307"/>
                <a:gd name="T67" fmla="*/ 269 h 600"/>
                <a:gd name="T68" fmla="*/ 168 w 307"/>
                <a:gd name="T69" fmla="*/ 252 h 600"/>
                <a:gd name="T70" fmla="*/ 168 w 307"/>
                <a:gd name="T71" fmla="*/ 252 h 600"/>
                <a:gd name="T72" fmla="*/ 135 w 307"/>
                <a:gd name="T73" fmla="*/ 316 h 600"/>
                <a:gd name="T74" fmla="*/ 151 w 307"/>
                <a:gd name="T75" fmla="*/ 326 h 600"/>
                <a:gd name="T76" fmla="*/ 144 w 307"/>
                <a:gd name="T77" fmla="*/ 342 h 600"/>
                <a:gd name="T78" fmla="*/ 128 w 307"/>
                <a:gd name="T79" fmla="*/ 333 h 600"/>
                <a:gd name="T80" fmla="*/ 135 w 307"/>
                <a:gd name="T81" fmla="*/ 316 h 600"/>
                <a:gd name="T82" fmla="*/ 135 w 307"/>
                <a:gd name="T83" fmla="*/ 316 h 600"/>
                <a:gd name="T84" fmla="*/ 104 w 307"/>
                <a:gd name="T85" fmla="*/ 382 h 600"/>
                <a:gd name="T86" fmla="*/ 121 w 307"/>
                <a:gd name="T87" fmla="*/ 389 h 600"/>
                <a:gd name="T88" fmla="*/ 111 w 307"/>
                <a:gd name="T89" fmla="*/ 406 h 600"/>
                <a:gd name="T90" fmla="*/ 95 w 307"/>
                <a:gd name="T91" fmla="*/ 399 h 600"/>
                <a:gd name="T92" fmla="*/ 104 w 307"/>
                <a:gd name="T93" fmla="*/ 382 h 600"/>
                <a:gd name="T94" fmla="*/ 104 w 307"/>
                <a:gd name="T95" fmla="*/ 382 h 600"/>
                <a:gd name="T96" fmla="*/ 71 w 307"/>
                <a:gd name="T97" fmla="*/ 446 h 600"/>
                <a:gd name="T98" fmla="*/ 87 w 307"/>
                <a:gd name="T99" fmla="*/ 453 h 600"/>
                <a:gd name="T100" fmla="*/ 80 w 307"/>
                <a:gd name="T101" fmla="*/ 470 h 600"/>
                <a:gd name="T102" fmla="*/ 64 w 307"/>
                <a:gd name="T103" fmla="*/ 463 h 600"/>
                <a:gd name="T104" fmla="*/ 71 w 307"/>
                <a:gd name="T105" fmla="*/ 446 h 600"/>
                <a:gd name="T106" fmla="*/ 71 w 307"/>
                <a:gd name="T107" fmla="*/ 446 h 600"/>
                <a:gd name="T108" fmla="*/ 40 w 307"/>
                <a:gd name="T109" fmla="*/ 510 h 600"/>
                <a:gd name="T110" fmla="*/ 57 w 307"/>
                <a:gd name="T111" fmla="*/ 519 h 600"/>
                <a:gd name="T112" fmla="*/ 47 w 307"/>
                <a:gd name="T113" fmla="*/ 536 h 600"/>
                <a:gd name="T114" fmla="*/ 33 w 307"/>
                <a:gd name="T115" fmla="*/ 526 h 600"/>
                <a:gd name="T116" fmla="*/ 40 w 307"/>
                <a:gd name="T117" fmla="*/ 5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7" h="600">
                  <a:moveTo>
                    <a:pt x="7" y="576"/>
                  </a:moveTo>
                  <a:lnTo>
                    <a:pt x="24" y="583"/>
                  </a:lnTo>
                  <a:lnTo>
                    <a:pt x="17" y="600"/>
                  </a:lnTo>
                  <a:lnTo>
                    <a:pt x="0" y="593"/>
                  </a:lnTo>
                  <a:lnTo>
                    <a:pt x="7" y="576"/>
                  </a:lnTo>
                  <a:lnTo>
                    <a:pt x="7" y="576"/>
                  </a:lnTo>
                  <a:close/>
                  <a:moveTo>
                    <a:pt x="291" y="0"/>
                  </a:moveTo>
                  <a:lnTo>
                    <a:pt x="286" y="9"/>
                  </a:lnTo>
                  <a:lnTo>
                    <a:pt x="302" y="19"/>
                  </a:lnTo>
                  <a:lnTo>
                    <a:pt x="307" y="7"/>
                  </a:lnTo>
                  <a:lnTo>
                    <a:pt x="291" y="0"/>
                  </a:lnTo>
                  <a:lnTo>
                    <a:pt x="291" y="0"/>
                  </a:lnTo>
                  <a:close/>
                  <a:moveTo>
                    <a:pt x="262" y="59"/>
                  </a:moveTo>
                  <a:lnTo>
                    <a:pt x="279" y="66"/>
                  </a:lnTo>
                  <a:lnTo>
                    <a:pt x="269" y="82"/>
                  </a:lnTo>
                  <a:lnTo>
                    <a:pt x="255" y="75"/>
                  </a:lnTo>
                  <a:lnTo>
                    <a:pt x="262" y="59"/>
                  </a:lnTo>
                  <a:lnTo>
                    <a:pt x="262" y="59"/>
                  </a:lnTo>
                  <a:close/>
                  <a:moveTo>
                    <a:pt x="229" y="122"/>
                  </a:moveTo>
                  <a:lnTo>
                    <a:pt x="246" y="132"/>
                  </a:lnTo>
                  <a:lnTo>
                    <a:pt x="239" y="146"/>
                  </a:lnTo>
                  <a:lnTo>
                    <a:pt x="222" y="139"/>
                  </a:lnTo>
                  <a:lnTo>
                    <a:pt x="229" y="122"/>
                  </a:lnTo>
                  <a:lnTo>
                    <a:pt x="229" y="122"/>
                  </a:lnTo>
                  <a:close/>
                  <a:moveTo>
                    <a:pt x="198" y="189"/>
                  </a:moveTo>
                  <a:lnTo>
                    <a:pt x="215" y="196"/>
                  </a:lnTo>
                  <a:lnTo>
                    <a:pt x="208" y="212"/>
                  </a:lnTo>
                  <a:lnTo>
                    <a:pt x="191" y="205"/>
                  </a:lnTo>
                  <a:lnTo>
                    <a:pt x="198" y="189"/>
                  </a:lnTo>
                  <a:lnTo>
                    <a:pt x="198" y="189"/>
                  </a:lnTo>
                  <a:close/>
                  <a:moveTo>
                    <a:pt x="168" y="252"/>
                  </a:moveTo>
                  <a:lnTo>
                    <a:pt x="182" y="259"/>
                  </a:lnTo>
                  <a:lnTo>
                    <a:pt x="175" y="276"/>
                  </a:lnTo>
                  <a:lnTo>
                    <a:pt x="158" y="269"/>
                  </a:lnTo>
                  <a:lnTo>
                    <a:pt x="168" y="252"/>
                  </a:lnTo>
                  <a:lnTo>
                    <a:pt x="168" y="252"/>
                  </a:lnTo>
                  <a:close/>
                  <a:moveTo>
                    <a:pt x="135" y="316"/>
                  </a:moveTo>
                  <a:lnTo>
                    <a:pt x="151" y="326"/>
                  </a:lnTo>
                  <a:lnTo>
                    <a:pt x="144" y="342"/>
                  </a:lnTo>
                  <a:lnTo>
                    <a:pt x="128" y="333"/>
                  </a:lnTo>
                  <a:lnTo>
                    <a:pt x="135" y="316"/>
                  </a:lnTo>
                  <a:lnTo>
                    <a:pt x="135" y="316"/>
                  </a:lnTo>
                  <a:close/>
                  <a:moveTo>
                    <a:pt x="104" y="382"/>
                  </a:moveTo>
                  <a:lnTo>
                    <a:pt x="121" y="389"/>
                  </a:lnTo>
                  <a:lnTo>
                    <a:pt x="111" y="406"/>
                  </a:lnTo>
                  <a:lnTo>
                    <a:pt x="95" y="399"/>
                  </a:lnTo>
                  <a:lnTo>
                    <a:pt x="104" y="382"/>
                  </a:lnTo>
                  <a:lnTo>
                    <a:pt x="104" y="382"/>
                  </a:lnTo>
                  <a:close/>
                  <a:moveTo>
                    <a:pt x="71" y="446"/>
                  </a:moveTo>
                  <a:lnTo>
                    <a:pt x="87" y="453"/>
                  </a:lnTo>
                  <a:lnTo>
                    <a:pt x="80" y="470"/>
                  </a:lnTo>
                  <a:lnTo>
                    <a:pt x="64" y="463"/>
                  </a:lnTo>
                  <a:lnTo>
                    <a:pt x="71" y="446"/>
                  </a:lnTo>
                  <a:lnTo>
                    <a:pt x="71" y="446"/>
                  </a:lnTo>
                  <a:close/>
                  <a:moveTo>
                    <a:pt x="40" y="510"/>
                  </a:moveTo>
                  <a:lnTo>
                    <a:pt x="57" y="519"/>
                  </a:lnTo>
                  <a:lnTo>
                    <a:pt x="47" y="536"/>
                  </a:lnTo>
                  <a:lnTo>
                    <a:pt x="33" y="526"/>
                  </a:lnTo>
                  <a:lnTo>
                    <a:pt x="40" y="5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2" name="Freeform 518"/>
            <p:cNvSpPr>
              <a:spLocks noEditPoints="1"/>
            </p:cNvSpPr>
            <p:nvPr/>
          </p:nvSpPr>
          <p:spPr bwMode="auto">
            <a:xfrm>
              <a:off x="3771900" y="3995738"/>
              <a:ext cx="1660525" cy="588963"/>
            </a:xfrm>
            <a:custGeom>
              <a:avLst/>
              <a:gdLst>
                <a:gd name="T0" fmla="*/ 1029 w 1046"/>
                <a:gd name="T1" fmla="*/ 348 h 371"/>
                <a:gd name="T2" fmla="*/ 1039 w 1046"/>
                <a:gd name="T3" fmla="*/ 371 h 371"/>
                <a:gd name="T4" fmla="*/ 1022 w 1046"/>
                <a:gd name="T5" fmla="*/ 367 h 371"/>
                <a:gd name="T6" fmla="*/ 7 w 1046"/>
                <a:gd name="T7" fmla="*/ 0 h 371"/>
                <a:gd name="T8" fmla="*/ 16 w 1046"/>
                <a:gd name="T9" fmla="*/ 24 h 371"/>
                <a:gd name="T10" fmla="*/ 0 w 1046"/>
                <a:gd name="T11" fmla="*/ 19 h 371"/>
                <a:gd name="T12" fmla="*/ 75 w 1046"/>
                <a:gd name="T13" fmla="*/ 24 h 371"/>
                <a:gd name="T14" fmla="*/ 85 w 1046"/>
                <a:gd name="T15" fmla="*/ 48 h 371"/>
                <a:gd name="T16" fmla="*/ 68 w 1046"/>
                <a:gd name="T17" fmla="*/ 41 h 371"/>
                <a:gd name="T18" fmla="*/ 141 w 1046"/>
                <a:gd name="T19" fmla="*/ 48 h 371"/>
                <a:gd name="T20" fmla="*/ 153 w 1046"/>
                <a:gd name="T21" fmla="*/ 71 h 371"/>
                <a:gd name="T22" fmla="*/ 137 w 1046"/>
                <a:gd name="T23" fmla="*/ 64 h 371"/>
                <a:gd name="T24" fmla="*/ 210 w 1046"/>
                <a:gd name="T25" fmla="*/ 71 h 371"/>
                <a:gd name="T26" fmla="*/ 222 w 1046"/>
                <a:gd name="T27" fmla="*/ 93 h 371"/>
                <a:gd name="T28" fmla="*/ 205 w 1046"/>
                <a:gd name="T29" fmla="*/ 88 h 371"/>
                <a:gd name="T30" fmla="*/ 278 w 1046"/>
                <a:gd name="T31" fmla="*/ 95 h 371"/>
                <a:gd name="T32" fmla="*/ 290 w 1046"/>
                <a:gd name="T33" fmla="*/ 116 h 371"/>
                <a:gd name="T34" fmla="*/ 274 w 1046"/>
                <a:gd name="T35" fmla="*/ 112 h 371"/>
                <a:gd name="T36" fmla="*/ 347 w 1046"/>
                <a:gd name="T37" fmla="*/ 116 h 371"/>
                <a:gd name="T38" fmla="*/ 359 w 1046"/>
                <a:gd name="T39" fmla="*/ 140 h 371"/>
                <a:gd name="T40" fmla="*/ 342 w 1046"/>
                <a:gd name="T41" fmla="*/ 135 h 371"/>
                <a:gd name="T42" fmla="*/ 415 w 1046"/>
                <a:gd name="T43" fmla="*/ 140 h 371"/>
                <a:gd name="T44" fmla="*/ 427 w 1046"/>
                <a:gd name="T45" fmla="*/ 163 h 371"/>
                <a:gd name="T46" fmla="*/ 408 w 1046"/>
                <a:gd name="T47" fmla="*/ 156 h 371"/>
                <a:gd name="T48" fmla="*/ 484 w 1046"/>
                <a:gd name="T49" fmla="*/ 163 h 371"/>
                <a:gd name="T50" fmla="*/ 493 w 1046"/>
                <a:gd name="T51" fmla="*/ 187 h 371"/>
                <a:gd name="T52" fmla="*/ 477 w 1046"/>
                <a:gd name="T53" fmla="*/ 180 h 371"/>
                <a:gd name="T54" fmla="*/ 552 w 1046"/>
                <a:gd name="T55" fmla="*/ 187 h 371"/>
                <a:gd name="T56" fmla="*/ 562 w 1046"/>
                <a:gd name="T57" fmla="*/ 208 h 371"/>
                <a:gd name="T58" fmla="*/ 545 w 1046"/>
                <a:gd name="T59" fmla="*/ 204 h 371"/>
                <a:gd name="T60" fmla="*/ 618 w 1046"/>
                <a:gd name="T61" fmla="*/ 211 h 371"/>
                <a:gd name="T62" fmla="*/ 630 w 1046"/>
                <a:gd name="T63" fmla="*/ 232 h 371"/>
                <a:gd name="T64" fmla="*/ 614 w 1046"/>
                <a:gd name="T65" fmla="*/ 227 h 371"/>
                <a:gd name="T66" fmla="*/ 687 w 1046"/>
                <a:gd name="T67" fmla="*/ 232 h 371"/>
                <a:gd name="T68" fmla="*/ 699 w 1046"/>
                <a:gd name="T69" fmla="*/ 256 h 371"/>
                <a:gd name="T70" fmla="*/ 682 w 1046"/>
                <a:gd name="T71" fmla="*/ 251 h 371"/>
                <a:gd name="T72" fmla="*/ 755 w 1046"/>
                <a:gd name="T73" fmla="*/ 256 h 371"/>
                <a:gd name="T74" fmla="*/ 767 w 1046"/>
                <a:gd name="T75" fmla="*/ 279 h 371"/>
                <a:gd name="T76" fmla="*/ 751 w 1046"/>
                <a:gd name="T77" fmla="*/ 272 h 371"/>
                <a:gd name="T78" fmla="*/ 824 w 1046"/>
                <a:gd name="T79" fmla="*/ 279 h 371"/>
                <a:gd name="T80" fmla="*/ 836 w 1046"/>
                <a:gd name="T81" fmla="*/ 303 h 371"/>
                <a:gd name="T82" fmla="*/ 819 w 1046"/>
                <a:gd name="T83" fmla="*/ 296 h 371"/>
                <a:gd name="T84" fmla="*/ 892 w 1046"/>
                <a:gd name="T85" fmla="*/ 303 h 371"/>
                <a:gd name="T86" fmla="*/ 904 w 1046"/>
                <a:gd name="T87" fmla="*/ 324 h 371"/>
                <a:gd name="T88" fmla="*/ 885 w 1046"/>
                <a:gd name="T89" fmla="*/ 319 h 371"/>
                <a:gd name="T90" fmla="*/ 961 w 1046"/>
                <a:gd name="T91" fmla="*/ 326 h 371"/>
                <a:gd name="T92" fmla="*/ 970 w 1046"/>
                <a:gd name="T93" fmla="*/ 348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6" h="371">
                  <a:moveTo>
                    <a:pt x="1022" y="367"/>
                  </a:moveTo>
                  <a:lnTo>
                    <a:pt x="1029" y="348"/>
                  </a:lnTo>
                  <a:lnTo>
                    <a:pt x="1046" y="355"/>
                  </a:lnTo>
                  <a:lnTo>
                    <a:pt x="1039" y="371"/>
                  </a:lnTo>
                  <a:lnTo>
                    <a:pt x="1022" y="367"/>
                  </a:lnTo>
                  <a:lnTo>
                    <a:pt x="1022" y="367"/>
                  </a:lnTo>
                  <a:close/>
                  <a:moveTo>
                    <a:pt x="0" y="19"/>
                  </a:moveTo>
                  <a:lnTo>
                    <a:pt x="7" y="0"/>
                  </a:lnTo>
                  <a:lnTo>
                    <a:pt x="23" y="8"/>
                  </a:lnTo>
                  <a:lnTo>
                    <a:pt x="16" y="24"/>
                  </a:lnTo>
                  <a:lnTo>
                    <a:pt x="0" y="19"/>
                  </a:lnTo>
                  <a:lnTo>
                    <a:pt x="0" y="19"/>
                  </a:lnTo>
                  <a:close/>
                  <a:moveTo>
                    <a:pt x="68" y="41"/>
                  </a:moveTo>
                  <a:lnTo>
                    <a:pt x="75" y="24"/>
                  </a:lnTo>
                  <a:lnTo>
                    <a:pt x="92" y="31"/>
                  </a:lnTo>
                  <a:lnTo>
                    <a:pt x="85" y="48"/>
                  </a:lnTo>
                  <a:lnTo>
                    <a:pt x="68" y="41"/>
                  </a:lnTo>
                  <a:lnTo>
                    <a:pt x="68" y="41"/>
                  </a:lnTo>
                  <a:close/>
                  <a:moveTo>
                    <a:pt x="137" y="64"/>
                  </a:moveTo>
                  <a:lnTo>
                    <a:pt x="141" y="48"/>
                  </a:lnTo>
                  <a:lnTo>
                    <a:pt x="160" y="52"/>
                  </a:lnTo>
                  <a:lnTo>
                    <a:pt x="153" y="71"/>
                  </a:lnTo>
                  <a:lnTo>
                    <a:pt x="137" y="64"/>
                  </a:lnTo>
                  <a:lnTo>
                    <a:pt x="137" y="64"/>
                  </a:lnTo>
                  <a:close/>
                  <a:moveTo>
                    <a:pt x="205" y="88"/>
                  </a:moveTo>
                  <a:lnTo>
                    <a:pt x="210" y="71"/>
                  </a:lnTo>
                  <a:lnTo>
                    <a:pt x="226" y="76"/>
                  </a:lnTo>
                  <a:lnTo>
                    <a:pt x="222" y="93"/>
                  </a:lnTo>
                  <a:lnTo>
                    <a:pt x="205" y="88"/>
                  </a:lnTo>
                  <a:lnTo>
                    <a:pt x="205" y="88"/>
                  </a:lnTo>
                  <a:close/>
                  <a:moveTo>
                    <a:pt x="274" y="112"/>
                  </a:moveTo>
                  <a:lnTo>
                    <a:pt x="278" y="95"/>
                  </a:lnTo>
                  <a:lnTo>
                    <a:pt x="295" y="100"/>
                  </a:lnTo>
                  <a:lnTo>
                    <a:pt x="290" y="116"/>
                  </a:lnTo>
                  <a:lnTo>
                    <a:pt x="274" y="112"/>
                  </a:lnTo>
                  <a:lnTo>
                    <a:pt x="274" y="112"/>
                  </a:lnTo>
                  <a:close/>
                  <a:moveTo>
                    <a:pt x="342" y="135"/>
                  </a:moveTo>
                  <a:lnTo>
                    <a:pt x="347" y="116"/>
                  </a:lnTo>
                  <a:lnTo>
                    <a:pt x="363" y="123"/>
                  </a:lnTo>
                  <a:lnTo>
                    <a:pt x="359" y="140"/>
                  </a:lnTo>
                  <a:lnTo>
                    <a:pt x="342" y="135"/>
                  </a:lnTo>
                  <a:lnTo>
                    <a:pt x="342" y="135"/>
                  </a:lnTo>
                  <a:close/>
                  <a:moveTo>
                    <a:pt x="408" y="156"/>
                  </a:moveTo>
                  <a:lnTo>
                    <a:pt x="415" y="140"/>
                  </a:lnTo>
                  <a:lnTo>
                    <a:pt x="432" y="147"/>
                  </a:lnTo>
                  <a:lnTo>
                    <a:pt x="427" y="163"/>
                  </a:lnTo>
                  <a:lnTo>
                    <a:pt x="408" y="156"/>
                  </a:lnTo>
                  <a:lnTo>
                    <a:pt x="408" y="156"/>
                  </a:lnTo>
                  <a:close/>
                  <a:moveTo>
                    <a:pt x="477" y="180"/>
                  </a:moveTo>
                  <a:lnTo>
                    <a:pt x="484" y="163"/>
                  </a:lnTo>
                  <a:lnTo>
                    <a:pt x="500" y="168"/>
                  </a:lnTo>
                  <a:lnTo>
                    <a:pt x="493" y="187"/>
                  </a:lnTo>
                  <a:lnTo>
                    <a:pt x="477" y="180"/>
                  </a:lnTo>
                  <a:lnTo>
                    <a:pt x="477" y="180"/>
                  </a:lnTo>
                  <a:close/>
                  <a:moveTo>
                    <a:pt x="545" y="204"/>
                  </a:moveTo>
                  <a:lnTo>
                    <a:pt x="552" y="187"/>
                  </a:lnTo>
                  <a:lnTo>
                    <a:pt x="569" y="192"/>
                  </a:lnTo>
                  <a:lnTo>
                    <a:pt x="562" y="208"/>
                  </a:lnTo>
                  <a:lnTo>
                    <a:pt x="545" y="204"/>
                  </a:lnTo>
                  <a:lnTo>
                    <a:pt x="545" y="204"/>
                  </a:lnTo>
                  <a:close/>
                  <a:moveTo>
                    <a:pt x="614" y="227"/>
                  </a:moveTo>
                  <a:lnTo>
                    <a:pt x="618" y="211"/>
                  </a:lnTo>
                  <a:lnTo>
                    <a:pt x="637" y="215"/>
                  </a:lnTo>
                  <a:lnTo>
                    <a:pt x="630" y="232"/>
                  </a:lnTo>
                  <a:lnTo>
                    <a:pt x="614" y="227"/>
                  </a:lnTo>
                  <a:lnTo>
                    <a:pt x="614" y="227"/>
                  </a:lnTo>
                  <a:close/>
                  <a:moveTo>
                    <a:pt x="682" y="251"/>
                  </a:moveTo>
                  <a:lnTo>
                    <a:pt x="687" y="232"/>
                  </a:lnTo>
                  <a:lnTo>
                    <a:pt x="703" y="239"/>
                  </a:lnTo>
                  <a:lnTo>
                    <a:pt x="699" y="256"/>
                  </a:lnTo>
                  <a:lnTo>
                    <a:pt x="682" y="251"/>
                  </a:lnTo>
                  <a:lnTo>
                    <a:pt x="682" y="251"/>
                  </a:lnTo>
                  <a:close/>
                  <a:moveTo>
                    <a:pt x="751" y="272"/>
                  </a:moveTo>
                  <a:lnTo>
                    <a:pt x="755" y="256"/>
                  </a:lnTo>
                  <a:lnTo>
                    <a:pt x="772" y="263"/>
                  </a:lnTo>
                  <a:lnTo>
                    <a:pt x="767" y="279"/>
                  </a:lnTo>
                  <a:lnTo>
                    <a:pt x="751" y="272"/>
                  </a:lnTo>
                  <a:lnTo>
                    <a:pt x="751" y="272"/>
                  </a:lnTo>
                  <a:close/>
                  <a:moveTo>
                    <a:pt x="819" y="296"/>
                  </a:moveTo>
                  <a:lnTo>
                    <a:pt x="824" y="279"/>
                  </a:lnTo>
                  <a:lnTo>
                    <a:pt x="840" y="284"/>
                  </a:lnTo>
                  <a:lnTo>
                    <a:pt x="836" y="303"/>
                  </a:lnTo>
                  <a:lnTo>
                    <a:pt x="819" y="296"/>
                  </a:lnTo>
                  <a:lnTo>
                    <a:pt x="819" y="296"/>
                  </a:lnTo>
                  <a:close/>
                  <a:moveTo>
                    <a:pt x="885" y="319"/>
                  </a:moveTo>
                  <a:lnTo>
                    <a:pt x="892" y="303"/>
                  </a:lnTo>
                  <a:lnTo>
                    <a:pt x="909" y="308"/>
                  </a:lnTo>
                  <a:lnTo>
                    <a:pt x="904" y="324"/>
                  </a:lnTo>
                  <a:lnTo>
                    <a:pt x="885" y="319"/>
                  </a:lnTo>
                  <a:lnTo>
                    <a:pt x="885" y="319"/>
                  </a:lnTo>
                  <a:close/>
                  <a:moveTo>
                    <a:pt x="954" y="343"/>
                  </a:moveTo>
                  <a:lnTo>
                    <a:pt x="961" y="326"/>
                  </a:lnTo>
                  <a:lnTo>
                    <a:pt x="977" y="331"/>
                  </a:lnTo>
                  <a:lnTo>
                    <a:pt x="970" y="348"/>
                  </a:lnTo>
                  <a:lnTo>
                    <a:pt x="954" y="34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3" name="Freeform 519"/>
            <p:cNvSpPr>
              <a:spLocks noEditPoints="1"/>
            </p:cNvSpPr>
            <p:nvPr/>
          </p:nvSpPr>
          <p:spPr bwMode="auto">
            <a:xfrm>
              <a:off x="4494213" y="5030788"/>
              <a:ext cx="82550" cy="484188"/>
            </a:xfrm>
            <a:custGeom>
              <a:avLst/>
              <a:gdLst>
                <a:gd name="T0" fmla="*/ 50 w 52"/>
                <a:gd name="T1" fmla="*/ 19 h 305"/>
                <a:gd name="T2" fmla="*/ 33 w 52"/>
                <a:gd name="T3" fmla="*/ 17 h 305"/>
                <a:gd name="T4" fmla="*/ 36 w 52"/>
                <a:gd name="T5" fmla="*/ 0 h 305"/>
                <a:gd name="T6" fmla="*/ 52 w 52"/>
                <a:gd name="T7" fmla="*/ 3 h 305"/>
                <a:gd name="T8" fmla="*/ 50 w 52"/>
                <a:gd name="T9" fmla="*/ 19 h 305"/>
                <a:gd name="T10" fmla="*/ 50 w 52"/>
                <a:gd name="T11" fmla="*/ 19 h 305"/>
                <a:gd name="T12" fmla="*/ 17 w 52"/>
                <a:gd name="T13" fmla="*/ 305 h 305"/>
                <a:gd name="T14" fmla="*/ 0 w 52"/>
                <a:gd name="T15" fmla="*/ 303 h 305"/>
                <a:gd name="T16" fmla="*/ 0 w 52"/>
                <a:gd name="T17" fmla="*/ 286 h 305"/>
                <a:gd name="T18" fmla="*/ 19 w 52"/>
                <a:gd name="T19" fmla="*/ 289 h 305"/>
                <a:gd name="T20" fmla="*/ 17 w 52"/>
                <a:gd name="T21" fmla="*/ 305 h 305"/>
                <a:gd name="T22" fmla="*/ 17 w 52"/>
                <a:gd name="T23" fmla="*/ 305 h 305"/>
                <a:gd name="T24" fmla="*/ 26 w 52"/>
                <a:gd name="T25" fmla="*/ 234 h 305"/>
                <a:gd name="T26" fmla="*/ 7 w 52"/>
                <a:gd name="T27" fmla="*/ 232 h 305"/>
                <a:gd name="T28" fmla="*/ 10 w 52"/>
                <a:gd name="T29" fmla="*/ 213 h 305"/>
                <a:gd name="T30" fmla="*/ 29 w 52"/>
                <a:gd name="T31" fmla="*/ 215 h 305"/>
                <a:gd name="T32" fmla="*/ 26 w 52"/>
                <a:gd name="T33" fmla="*/ 234 h 305"/>
                <a:gd name="T34" fmla="*/ 26 w 52"/>
                <a:gd name="T35" fmla="*/ 234 h 305"/>
                <a:gd name="T36" fmla="*/ 33 w 52"/>
                <a:gd name="T37" fmla="*/ 163 h 305"/>
                <a:gd name="T38" fmla="*/ 17 w 52"/>
                <a:gd name="T39" fmla="*/ 161 h 305"/>
                <a:gd name="T40" fmla="*/ 19 w 52"/>
                <a:gd name="T41" fmla="*/ 142 h 305"/>
                <a:gd name="T42" fmla="*/ 36 w 52"/>
                <a:gd name="T43" fmla="*/ 145 h 305"/>
                <a:gd name="T44" fmla="*/ 33 w 52"/>
                <a:gd name="T45" fmla="*/ 163 h 305"/>
                <a:gd name="T46" fmla="*/ 33 w 52"/>
                <a:gd name="T47" fmla="*/ 163 h 305"/>
                <a:gd name="T48" fmla="*/ 43 w 52"/>
                <a:gd name="T49" fmla="*/ 90 h 305"/>
                <a:gd name="T50" fmla="*/ 24 w 52"/>
                <a:gd name="T51" fmla="*/ 88 h 305"/>
                <a:gd name="T52" fmla="*/ 26 w 52"/>
                <a:gd name="T53" fmla="*/ 71 h 305"/>
                <a:gd name="T54" fmla="*/ 45 w 52"/>
                <a:gd name="T55" fmla="*/ 74 h 305"/>
                <a:gd name="T56" fmla="*/ 43 w 52"/>
                <a:gd name="T57" fmla="*/ 9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2" h="305">
                  <a:moveTo>
                    <a:pt x="50" y="19"/>
                  </a:moveTo>
                  <a:lnTo>
                    <a:pt x="33" y="17"/>
                  </a:lnTo>
                  <a:lnTo>
                    <a:pt x="36" y="0"/>
                  </a:lnTo>
                  <a:lnTo>
                    <a:pt x="52" y="3"/>
                  </a:lnTo>
                  <a:lnTo>
                    <a:pt x="50" y="19"/>
                  </a:lnTo>
                  <a:lnTo>
                    <a:pt x="50" y="19"/>
                  </a:lnTo>
                  <a:close/>
                  <a:moveTo>
                    <a:pt x="17" y="305"/>
                  </a:moveTo>
                  <a:lnTo>
                    <a:pt x="0" y="303"/>
                  </a:lnTo>
                  <a:lnTo>
                    <a:pt x="0" y="286"/>
                  </a:lnTo>
                  <a:lnTo>
                    <a:pt x="19" y="289"/>
                  </a:lnTo>
                  <a:lnTo>
                    <a:pt x="17" y="305"/>
                  </a:lnTo>
                  <a:lnTo>
                    <a:pt x="17" y="305"/>
                  </a:lnTo>
                  <a:close/>
                  <a:moveTo>
                    <a:pt x="26" y="234"/>
                  </a:moveTo>
                  <a:lnTo>
                    <a:pt x="7" y="232"/>
                  </a:lnTo>
                  <a:lnTo>
                    <a:pt x="10" y="213"/>
                  </a:lnTo>
                  <a:lnTo>
                    <a:pt x="29" y="215"/>
                  </a:lnTo>
                  <a:lnTo>
                    <a:pt x="26" y="234"/>
                  </a:lnTo>
                  <a:lnTo>
                    <a:pt x="26" y="234"/>
                  </a:lnTo>
                  <a:close/>
                  <a:moveTo>
                    <a:pt x="33" y="163"/>
                  </a:moveTo>
                  <a:lnTo>
                    <a:pt x="17" y="161"/>
                  </a:lnTo>
                  <a:lnTo>
                    <a:pt x="19" y="142"/>
                  </a:lnTo>
                  <a:lnTo>
                    <a:pt x="36" y="145"/>
                  </a:lnTo>
                  <a:lnTo>
                    <a:pt x="33" y="163"/>
                  </a:lnTo>
                  <a:lnTo>
                    <a:pt x="33" y="163"/>
                  </a:lnTo>
                  <a:close/>
                  <a:moveTo>
                    <a:pt x="43" y="90"/>
                  </a:moveTo>
                  <a:lnTo>
                    <a:pt x="24" y="88"/>
                  </a:lnTo>
                  <a:lnTo>
                    <a:pt x="26" y="71"/>
                  </a:lnTo>
                  <a:lnTo>
                    <a:pt x="45" y="74"/>
                  </a:lnTo>
                  <a:lnTo>
                    <a:pt x="43" y="9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4" name="Freeform 520"/>
            <p:cNvSpPr>
              <a:spLocks noEditPoints="1"/>
            </p:cNvSpPr>
            <p:nvPr/>
          </p:nvSpPr>
          <p:spPr bwMode="auto">
            <a:xfrm>
              <a:off x="3186113" y="4765675"/>
              <a:ext cx="1379538" cy="280988"/>
            </a:xfrm>
            <a:custGeom>
              <a:avLst/>
              <a:gdLst>
                <a:gd name="T0" fmla="*/ 853 w 869"/>
                <a:gd name="T1" fmla="*/ 156 h 177"/>
                <a:gd name="T2" fmla="*/ 867 w 869"/>
                <a:gd name="T3" fmla="*/ 177 h 177"/>
                <a:gd name="T4" fmla="*/ 848 w 869"/>
                <a:gd name="T5" fmla="*/ 172 h 177"/>
                <a:gd name="T6" fmla="*/ 2 w 869"/>
                <a:gd name="T7" fmla="*/ 0 h 177"/>
                <a:gd name="T8" fmla="*/ 17 w 869"/>
                <a:gd name="T9" fmla="*/ 21 h 177"/>
                <a:gd name="T10" fmla="*/ 0 w 869"/>
                <a:gd name="T11" fmla="*/ 19 h 177"/>
                <a:gd name="T12" fmla="*/ 73 w 869"/>
                <a:gd name="T13" fmla="*/ 14 h 177"/>
                <a:gd name="T14" fmla="*/ 87 w 869"/>
                <a:gd name="T15" fmla="*/ 35 h 177"/>
                <a:gd name="T16" fmla="*/ 71 w 869"/>
                <a:gd name="T17" fmla="*/ 30 h 177"/>
                <a:gd name="T18" fmla="*/ 144 w 869"/>
                <a:gd name="T19" fmla="*/ 26 h 177"/>
                <a:gd name="T20" fmla="*/ 158 w 869"/>
                <a:gd name="T21" fmla="*/ 47 h 177"/>
                <a:gd name="T22" fmla="*/ 142 w 869"/>
                <a:gd name="T23" fmla="*/ 45 h 177"/>
                <a:gd name="T24" fmla="*/ 215 w 869"/>
                <a:gd name="T25" fmla="*/ 40 h 177"/>
                <a:gd name="T26" fmla="*/ 229 w 869"/>
                <a:gd name="T27" fmla="*/ 61 h 177"/>
                <a:gd name="T28" fmla="*/ 213 w 869"/>
                <a:gd name="T29" fmla="*/ 56 h 177"/>
                <a:gd name="T30" fmla="*/ 286 w 869"/>
                <a:gd name="T31" fmla="*/ 52 h 177"/>
                <a:gd name="T32" fmla="*/ 300 w 869"/>
                <a:gd name="T33" fmla="*/ 73 h 177"/>
                <a:gd name="T34" fmla="*/ 284 w 869"/>
                <a:gd name="T35" fmla="*/ 71 h 177"/>
                <a:gd name="T36" fmla="*/ 357 w 869"/>
                <a:gd name="T37" fmla="*/ 66 h 177"/>
                <a:gd name="T38" fmla="*/ 371 w 869"/>
                <a:gd name="T39" fmla="*/ 87 h 177"/>
                <a:gd name="T40" fmla="*/ 352 w 869"/>
                <a:gd name="T41" fmla="*/ 82 h 177"/>
                <a:gd name="T42" fmla="*/ 428 w 869"/>
                <a:gd name="T43" fmla="*/ 78 h 177"/>
                <a:gd name="T44" fmla="*/ 442 w 869"/>
                <a:gd name="T45" fmla="*/ 99 h 177"/>
                <a:gd name="T46" fmla="*/ 423 w 869"/>
                <a:gd name="T47" fmla="*/ 97 h 177"/>
                <a:gd name="T48" fmla="*/ 498 w 869"/>
                <a:gd name="T49" fmla="*/ 92 h 177"/>
                <a:gd name="T50" fmla="*/ 513 w 869"/>
                <a:gd name="T51" fmla="*/ 113 h 177"/>
                <a:gd name="T52" fmla="*/ 494 w 869"/>
                <a:gd name="T53" fmla="*/ 108 h 177"/>
                <a:gd name="T54" fmla="*/ 569 w 869"/>
                <a:gd name="T55" fmla="*/ 104 h 177"/>
                <a:gd name="T56" fmla="*/ 583 w 869"/>
                <a:gd name="T57" fmla="*/ 125 h 177"/>
                <a:gd name="T58" fmla="*/ 565 w 869"/>
                <a:gd name="T59" fmla="*/ 123 h 177"/>
                <a:gd name="T60" fmla="*/ 640 w 869"/>
                <a:gd name="T61" fmla="*/ 118 h 177"/>
                <a:gd name="T62" fmla="*/ 654 w 869"/>
                <a:gd name="T63" fmla="*/ 137 h 177"/>
                <a:gd name="T64" fmla="*/ 635 w 869"/>
                <a:gd name="T65" fmla="*/ 134 h 177"/>
                <a:gd name="T66" fmla="*/ 711 w 869"/>
                <a:gd name="T67" fmla="*/ 130 h 177"/>
                <a:gd name="T68" fmla="*/ 725 w 869"/>
                <a:gd name="T69" fmla="*/ 151 h 177"/>
                <a:gd name="T70" fmla="*/ 706 w 869"/>
                <a:gd name="T71" fmla="*/ 149 h 177"/>
                <a:gd name="T72" fmla="*/ 782 w 869"/>
                <a:gd name="T73" fmla="*/ 144 h 177"/>
                <a:gd name="T74" fmla="*/ 796 w 869"/>
                <a:gd name="T75" fmla="*/ 16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9" h="177">
                  <a:moveTo>
                    <a:pt x="848" y="172"/>
                  </a:moveTo>
                  <a:lnTo>
                    <a:pt x="853" y="156"/>
                  </a:lnTo>
                  <a:lnTo>
                    <a:pt x="869" y="158"/>
                  </a:lnTo>
                  <a:lnTo>
                    <a:pt x="867" y="177"/>
                  </a:lnTo>
                  <a:lnTo>
                    <a:pt x="848" y="172"/>
                  </a:lnTo>
                  <a:lnTo>
                    <a:pt x="848" y="172"/>
                  </a:lnTo>
                  <a:close/>
                  <a:moveTo>
                    <a:pt x="0" y="19"/>
                  </a:moveTo>
                  <a:lnTo>
                    <a:pt x="2" y="0"/>
                  </a:lnTo>
                  <a:lnTo>
                    <a:pt x="19" y="4"/>
                  </a:lnTo>
                  <a:lnTo>
                    <a:pt x="17" y="21"/>
                  </a:lnTo>
                  <a:lnTo>
                    <a:pt x="0" y="19"/>
                  </a:lnTo>
                  <a:lnTo>
                    <a:pt x="0" y="19"/>
                  </a:lnTo>
                  <a:close/>
                  <a:moveTo>
                    <a:pt x="71" y="30"/>
                  </a:moveTo>
                  <a:lnTo>
                    <a:pt x="73" y="14"/>
                  </a:lnTo>
                  <a:lnTo>
                    <a:pt x="90" y="16"/>
                  </a:lnTo>
                  <a:lnTo>
                    <a:pt x="87" y="35"/>
                  </a:lnTo>
                  <a:lnTo>
                    <a:pt x="71" y="30"/>
                  </a:lnTo>
                  <a:lnTo>
                    <a:pt x="71" y="30"/>
                  </a:lnTo>
                  <a:close/>
                  <a:moveTo>
                    <a:pt x="142" y="45"/>
                  </a:moveTo>
                  <a:lnTo>
                    <a:pt x="144" y="26"/>
                  </a:lnTo>
                  <a:lnTo>
                    <a:pt x="161" y="30"/>
                  </a:lnTo>
                  <a:lnTo>
                    <a:pt x="158" y="47"/>
                  </a:lnTo>
                  <a:lnTo>
                    <a:pt x="142" y="45"/>
                  </a:lnTo>
                  <a:lnTo>
                    <a:pt x="142" y="45"/>
                  </a:lnTo>
                  <a:close/>
                  <a:moveTo>
                    <a:pt x="213" y="56"/>
                  </a:moveTo>
                  <a:lnTo>
                    <a:pt x="215" y="40"/>
                  </a:lnTo>
                  <a:lnTo>
                    <a:pt x="232" y="42"/>
                  </a:lnTo>
                  <a:lnTo>
                    <a:pt x="229" y="61"/>
                  </a:lnTo>
                  <a:lnTo>
                    <a:pt x="213" y="56"/>
                  </a:lnTo>
                  <a:lnTo>
                    <a:pt x="213" y="56"/>
                  </a:lnTo>
                  <a:close/>
                  <a:moveTo>
                    <a:pt x="284" y="71"/>
                  </a:moveTo>
                  <a:lnTo>
                    <a:pt x="286" y="52"/>
                  </a:lnTo>
                  <a:lnTo>
                    <a:pt x="302" y="56"/>
                  </a:lnTo>
                  <a:lnTo>
                    <a:pt x="300" y="73"/>
                  </a:lnTo>
                  <a:lnTo>
                    <a:pt x="284" y="71"/>
                  </a:lnTo>
                  <a:lnTo>
                    <a:pt x="284" y="71"/>
                  </a:lnTo>
                  <a:close/>
                  <a:moveTo>
                    <a:pt x="352" y="82"/>
                  </a:moveTo>
                  <a:lnTo>
                    <a:pt x="357" y="66"/>
                  </a:lnTo>
                  <a:lnTo>
                    <a:pt x="373" y="68"/>
                  </a:lnTo>
                  <a:lnTo>
                    <a:pt x="371" y="87"/>
                  </a:lnTo>
                  <a:lnTo>
                    <a:pt x="352" y="82"/>
                  </a:lnTo>
                  <a:lnTo>
                    <a:pt x="352" y="82"/>
                  </a:lnTo>
                  <a:close/>
                  <a:moveTo>
                    <a:pt x="423" y="97"/>
                  </a:moveTo>
                  <a:lnTo>
                    <a:pt x="428" y="78"/>
                  </a:lnTo>
                  <a:lnTo>
                    <a:pt x="444" y="82"/>
                  </a:lnTo>
                  <a:lnTo>
                    <a:pt x="442" y="99"/>
                  </a:lnTo>
                  <a:lnTo>
                    <a:pt x="423" y="97"/>
                  </a:lnTo>
                  <a:lnTo>
                    <a:pt x="423" y="97"/>
                  </a:lnTo>
                  <a:close/>
                  <a:moveTo>
                    <a:pt x="494" y="108"/>
                  </a:moveTo>
                  <a:lnTo>
                    <a:pt x="498" y="92"/>
                  </a:lnTo>
                  <a:lnTo>
                    <a:pt x="515" y="94"/>
                  </a:lnTo>
                  <a:lnTo>
                    <a:pt x="513" y="113"/>
                  </a:lnTo>
                  <a:lnTo>
                    <a:pt x="494" y="108"/>
                  </a:lnTo>
                  <a:lnTo>
                    <a:pt x="494" y="108"/>
                  </a:lnTo>
                  <a:close/>
                  <a:moveTo>
                    <a:pt x="565" y="123"/>
                  </a:moveTo>
                  <a:lnTo>
                    <a:pt x="569" y="104"/>
                  </a:lnTo>
                  <a:lnTo>
                    <a:pt x="586" y="106"/>
                  </a:lnTo>
                  <a:lnTo>
                    <a:pt x="583" y="125"/>
                  </a:lnTo>
                  <a:lnTo>
                    <a:pt x="565" y="123"/>
                  </a:lnTo>
                  <a:lnTo>
                    <a:pt x="565" y="123"/>
                  </a:lnTo>
                  <a:close/>
                  <a:moveTo>
                    <a:pt x="635" y="134"/>
                  </a:moveTo>
                  <a:lnTo>
                    <a:pt x="640" y="118"/>
                  </a:lnTo>
                  <a:lnTo>
                    <a:pt x="657" y="120"/>
                  </a:lnTo>
                  <a:lnTo>
                    <a:pt x="654" y="137"/>
                  </a:lnTo>
                  <a:lnTo>
                    <a:pt x="635" y="134"/>
                  </a:lnTo>
                  <a:lnTo>
                    <a:pt x="635" y="134"/>
                  </a:lnTo>
                  <a:close/>
                  <a:moveTo>
                    <a:pt x="706" y="149"/>
                  </a:moveTo>
                  <a:lnTo>
                    <a:pt x="711" y="130"/>
                  </a:lnTo>
                  <a:lnTo>
                    <a:pt x="728" y="132"/>
                  </a:lnTo>
                  <a:lnTo>
                    <a:pt x="725" y="151"/>
                  </a:lnTo>
                  <a:lnTo>
                    <a:pt x="706" y="149"/>
                  </a:lnTo>
                  <a:lnTo>
                    <a:pt x="706" y="149"/>
                  </a:lnTo>
                  <a:close/>
                  <a:moveTo>
                    <a:pt x="777" y="160"/>
                  </a:moveTo>
                  <a:lnTo>
                    <a:pt x="782" y="144"/>
                  </a:lnTo>
                  <a:lnTo>
                    <a:pt x="798" y="146"/>
                  </a:lnTo>
                  <a:lnTo>
                    <a:pt x="796" y="163"/>
                  </a:lnTo>
                  <a:lnTo>
                    <a:pt x="777" y="16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5" name="Freeform 521"/>
            <p:cNvSpPr>
              <a:spLocks noEditPoints="1"/>
            </p:cNvSpPr>
            <p:nvPr/>
          </p:nvSpPr>
          <p:spPr bwMode="auto">
            <a:xfrm>
              <a:off x="3744913" y="4022725"/>
              <a:ext cx="831850" cy="1016000"/>
            </a:xfrm>
            <a:custGeom>
              <a:avLst/>
              <a:gdLst>
                <a:gd name="T0" fmla="*/ 513 w 524"/>
                <a:gd name="T1" fmla="*/ 617 h 640"/>
                <a:gd name="T2" fmla="*/ 510 w 524"/>
                <a:gd name="T3" fmla="*/ 640 h 640"/>
                <a:gd name="T4" fmla="*/ 498 w 524"/>
                <a:gd name="T5" fmla="*/ 628 h 640"/>
                <a:gd name="T6" fmla="*/ 14 w 524"/>
                <a:gd name="T7" fmla="*/ 0 h 640"/>
                <a:gd name="T8" fmla="*/ 12 w 524"/>
                <a:gd name="T9" fmla="*/ 26 h 640"/>
                <a:gd name="T10" fmla="*/ 0 w 524"/>
                <a:gd name="T11" fmla="*/ 12 h 640"/>
                <a:gd name="T12" fmla="*/ 59 w 524"/>
                <a:gd name="T13" fmla="*/ 57 h 640"/>
                <a:gd name="T14" fmla="*/ 57 w 524"/>
                <a:gd name="T15" fmla="*/ 83 h 640"/>
                <a:gd name="T16" fmla="*/ 45 w 524"/>
                <a:gd name="T17" fmla="*/ 69 h 640"/>
                <a:gd name="T18" fmla="*/ 104 w 524"/>
                <a:gd name="T19" fmla="*/ 113 h 640"/>
                <a:gd name="T20" fmla="*/ 102 w 524"/>
                <a:gd name="T21" fmla="*/ 137 h 640"/>
                <a:gd name="T22" fmla="*/ 90 w 524"/>
                <a:gd name="T23" fmla="*/ 123 h 640"/>
                <a:gd name="T24" fmla="*/ 149 w 524"/>
                <a:gd name="T25" fmla="*/ 168 h 640"/>
                <a:gd name="T26" fmla="*/ 146 w 524"/>
                <a:gd name="T27" fmla="*/ 194 h 640"/>
                <a:gd name="T28" fmla="*/ 135 w 524"/>
                <a:gd name="T29" fmla="*/ 180 h 640"/>
                <a:gd name="T30" fmla="*/ 194 w 524"/>
                <a:gd name="T31" fmla="*/ 224 h 640"/>
                <a:gd name="T32" fmla="*/ 191 w 524"/>
                <a:gd name="T33" fmla="*/ 250 h 640"/>
                <a:gd name="T34" fmla="*/ 182 w 524"/>
                <a:gd name="T35" fmla="*/ 236 h 640"/>
                <a:gd name="T36" fmla="*/ 241 w 524"/>
                <a:gd name="T37" fmla="*/ 281 h 640"/>
                <a:gd name="T38" fmla="*/ 236 w 524"/>
                <a:gd name="T39" fmla="*/ 305 h 640"/>
                <a:gd name="T40" fmla="*/ 227 w 524"/>
                <a:gd name="T41" fmla="*/ 291 h 640"/>
                <a:gd name="T42" fmla="*/ 286 w 524"/>
                <a:gd name="T43" fmla="*/ 335 h 640"/>
                <a:gd name="T44" fmla="*/ 283 w 524"/>
                <a:gd name="T45" fmla="*/ 361 h 640"/>
                <a:gd name="T46" fmla="*/ 272 w 524"/>
                <a:gd name="T47" fmla="*/ 347 h 640"/>
                <a:gd name="T48" fmla="*/ 331 w 524"/>
                <a:gd name="T49" fmla="*/ 392 h 640"/>
                <a:gd name="T50" fmla="*/ 328 w 524"/>
                <a:gd name="T51" fmla="*/ 418 h 640"/>
                <a:gd name="T52" fmla="*/ 317 w 524"/>
                <a:gd name="T53" fmla="*/ 404 h 640"/>
                <a:gd name="T54" fmla="*/ 376 w 524"/>
                <a:gd name="T55" fmla="*/ 449 h 640"/>
                <a:gd name="T56" fmla="*/ 373 w 524"/>
                <a:gd name="T57" fmla="*/ 472 h 640"/>
                <a:gd name="T58" fmla="*/ 361 w 524"/>
                <a:gd name="T59" fmla="*/ 461 h 640"/>
                <a:gd name="T60" fmla="*/ 420 w 524"/>
                <a:gd name="T61" fmla="*/ 503 h 640"/>
                <a:gd name="T62" fmla="*/ 418 w 524"/>
                <a:gd name="T63" fmla="*/ 529 h 640"/>
                <a:gd name="T64" fmla="*/ 406 w 524"/>
                <a:gd name="T65" fmla="*/ 515 h 640"/>
                <a:gd name="T66" fmla="*/ 468 w 524"/>
                <a:gd name="T67" fmla="*/ 560 h 640"/>
                <a:gd name="T68" fmla="*/ 463 w 524"/>
                <a:gd name="T69" fmla="*/ 586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4" h="640">
                  <a:moveTo>
                    <a:pt x="498" y="628"/>
                  </a:moveTo>
                  <a:lnTo>
                    <a:pt x="513" y="617"/>
                  </a:lnTo>
                  <a:lnTo>
                    <a:pt x="524" y="631"/>
                  </a:lnTo>
                  <a:lnTo>
                    <a:pt x="510" y="640"/>
                  </a:lnTo>
                  <a:lnTo>
                    <a:pt x="498" y="628"/>
                  </a:lnTo>
                  <a:lnTo>
                    <a:pt x="498" y="628"/>
                  </a:lnTo>
                  <a:close/>
                  <a:moveTo>
                    <a:pt x="0" y="12"/>
                  </a:moveTo>
                  <a:lnTo>
                    <a:pt x="14" y="0"/>
                  </a:lnTo>
                  <a:lnTo>
                    <a:pt x="24" y="14"/>
                  </a:lnTo>
                  <a:lnTo>
                    <a:pt x="12" y="26"/>
                  </a:lnTo>
                  <a:lnTo>
                    <a:pt x="0" y="12"/>
                  </a:lnTo>
                  <a:lnTo>
                    <a:pt x="0" y="12"/>
                  </a:lnTo>
                  <a:close/>
                  <a:moveTo>
                    <a:pt x="45" y="69"/>
                  </a:moveTo>
                  <a:lnTo>
                    <a:pt x="59" y="57"/>
                  </a:lnTo>
                  <a:lnTo>
                    <a:pt x="71" y="71"/>
                  </a:lnTo>
                  <a:lnTo>
                    <a:pt x="57" y="83"/>
                  </a:lnTo>
                  <a:lnTo>
                    <a:pt x="45" y="69"/>
                  </a:lnTo>
                  <a:lnTo>
                    <a:pt x="45" y="69"/>
                  </a:lnTo>
                  <a:close/>
                  <a:moveTo>
                    <a:pt x="90" y="123"/>
                  </a:moveTo>
                  <a:lnTo>
                    <a:pt x="104" y="113"/>
                  </a:lnTo>
                  <a:lnTo>
                    <a:pt x="116" y="128"/>
                  </a:lnTo>
                  <a:lnTo>
                    <a:pt x="102" y="137"/>
                  </a:lnTo>
                  <a:lnTo>
                    <a:pt x="90" y="123"/>
                  </a:lnTo>
                  <a:lnTo>
                    <a:pt x="90" y="123"/>
                  </a:lnTo>
                  <a:close/>
                  <a:moveTo>
                    <a:pt x="135" y="180"/>
                  </a:moveTo>
                  <a:lnTo>
                    <a:pt x="149" y="168"/>
                  </a:lnTo>
                  <a:lnTo>
                    <a:pt x="161" y="182"/>
                  </a:lnTo>
                  <a:lnTo>
                    <a:pt x="146" y="194"/>
                  </a:lnTo>
                  <a:lnTo>
                    <a:pt x="135" y="180"/>
                  </a:lnTo>
                  <a:lnTo>
                    <a:pt x="135" y="180"/>
                  </a:lnTo>
                  <a:close/>
                  <a:moveTo>
                    <a:pt x="182" y="236"/>
                  </a:moveTo>
                  <a:lnTo>
                    <a:pt x="194" y="224"/>
                  </a:lnTo>
                  <a:lnTo>
                    <a:pt x="206" y="239"/>
                  </a:lnTo>
                  <a:lnTo>
                    <a:pt x="191" y="250"/>
                  </a:lnTo>
                  <a:lnTo>
                    <a:pt x="182" y="236"/>
                  </a:lnTo>
                  <a:lnTo>
                    <a:pt x="182" y="236"/>
                  </a:lnTo>
                  <a:close/>
                  <a:moveTo>
                    <a:pt x="227" y="291"/>
                  </a:moveTo>
                  <a:lnTo>
                    <a:pt x="241" y="281"/>
                  </a:lnTo>
                  <a:lnTo>
                    <a:pt x="250" y="295"/>
                  </a:lnTo>
                  <a:lnTo>
                    <a:pt x="236" y="305"/>
                  </a:lnTo>
                  <a:lnTo>
                    <a:pt x="227" y="291"/>
                  </a:lnTo>
                  <a:lnTo>
                    <a:pt x="227" y="291"/>
                  </a:lnTo>
                  <a:close/>
                  <a:moveTo>
                    <a:pt x="272" y="347"/>
                  </a:moveTo>
                  <a:lnTo>
                    <a:pt x="286" y="335"/>
                  </a:lnTo>
                  <a:lnTo>
                    <a:pt x="298" y="350"/>
                  </a:lnTo>
                  <a:lnTo>
                    <a:pt x="283" y="361"/>
                  </a:lnTo>
                  <a:lnTo>
                    <a:pt x="272" y="347"/>
                  </a:lnTo>
                  <a:lnTo>
                    <a:pt x="272" y="347"/>
                  </a:lnTo>
                  <a:close/>
                  <a:moveTo>
                    <a:pt x="317" y="404"/>
                  </a:moveTo>
                  <a:lnTo>
                    <a:pt x="331" y="392"/>
                  </a:lnTo>
                  <a:lnTo>
                    <a:pt x="343" y="406"/>
                  </a:lnTo>
                  <a:lnTo>
                    <a:pt x="328" y="418"/>
                  </a:lnTo>
                  <a:lnTo>
                    <a:pt x="317" y="404"/>
                  </a:lnTo>
                  <a:lnTo>
                    <a:pt x="317" y="404"/>
                  </a:lnTo>
                  <a:close/>
                  <a:moveTo>
                    <a:pt x="361" y="461"/>
                  </a:moveTo>
                  <a:lnTo>
                    <a:pt x="376" y="449"/>
                  </a:lnTo>
                  <a:lnTo>
                    <a:pt x="387" y="463"/>
                  </a:lnTo>
                  <a:lnTo>
                    <a:pt x="373" y="472"/>
                  </a:lnTo>
                  <a:lnTo>
                    <a:pt x="361" y="461"/>
                  </a:lnTo>
                  <a:lnTo>
                    <a:pt x="361" y="461"/>
                  </a:lnTo>
                  <a:close/>
                  <a:moveTo>
                    <a:pt x="406" y="515"/>
                  </a:moveTo>
                  <a:lnTo>
                    <a:pt x="420" y="503"/>
                  </a:lnTo>
                  <a:lnTo>
                    <a:pt x="432" y="517"/>
                  </a:lnTo>
                  <a:lnTo>
                    <a:pt x="418" y="529"/>
                  </a:lnTo>
                  <a:lnTo>
                    <a:pt x="406" y="515"/>
                  </a:lnTo>
                  <a:lnTo>
                    <a:pt x="406" y="515"/>
                  </a:lnTo>
                  <a:close/>
                  <a:moveTo>
                    <a:pt x="454" y="572"/>
                  </a:moveTo>
                  <a:lnTo>
                    <a:pt x="468" y="560"/>
                  </a:lnTo>
                  <a:lnTo>
                    <a:pt x="477" y="574"/>
                  </a:lnTo>
                  <a:lnTo>
                    <a:pt x="463" y="586"/>
                  </a:lnTo>
                  <a:lnTo>
                    <a:pt x="454" y="57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6" name="Freeform 522"/>
            <p:cNvSpPr>
              <a:spLocks noEditPoints="1"/>
            </p:cNvSpPr>
            <p:nvPr/>
          </p:nvSpPr>
          <p:spPr bwMode="auto">
            <a:xfrm>
              <a:off x="4559300" y="4578350"/>
              <a:ext cx="846138" cy="465138"/>
            </a:xfrm>
            <a:custGeom>
              <a:avLst/>
              <a:gdLst>
                <a:gd name="T0" fmla="*/ 16 w 533"/>
                <a:gd name="T1" fmla="*/ 269 h 293"/>
                <a:gd name="T2" fmla="*/ 23 w 533"/>
                <a:gd name="T3" fmla="*/ 285 h 293"/>
                <a:gd name="T4" fmla="*/ 7 w 533"/>
                <a:gd name="T5" fmla="*/ 293 h 293"/>
                <a:gd name="T6" fmla="*/ 0 w 533"/>
                <a:gd name="T7" fmla="*/ 278 h 293"/>
                <a:gd name="T8" fmla="*/ 16 w 533"/>
                <a:gd name="T9" fmla="*/ 269 h 293"/>
                <a:gd name="T10" fmla="*/ 16 w 533"/>
                <a:gd name="T11" fmla="*/ 269 h 293"/>
                <a:gd name="T12" fmla="*/ 524 w 533"/>
                <a:gd name="T13" fmla="*/ 0 h 293"/>
                <a:gd name="T14" fmla="*/ 533 w 533"/>
                <a:gd name="T15" fmla="*/ 16 h 293"/>
                <a:gd name="T16" fmla="*/ 517 w 533"/>
                <a:gd name="T17" fmla="*/ 26 h 293"/>
                <a:gd name="T18" fmla="*/ 507 w 533"/>
                <a:gd name="T19" fmla="*/ 9 h 293"/>
                <a:gd name="T20" fmla="*/ 524 w 533"/>
                <a:gd name="T21" fmla="*/ 0 h 293"/>
                <a:gd name="T22" fmla="*/ 524 w 533"/>
                <a:gd name="T23" fmla="*/ 0 h 293"/>
                <a:gd name="T24" fmla="*/ 460 w 533"/>
                <a:gd name="T25" fmla="*/ 35 h 293"/>
                <a:gd name="T26" fmla="*/ 470 w 533"/>
                <a:gd name="T27" fmla="*/ 49 h 293"/>
                <a:gd name="T28" fmla="*/ 453 w 533"/>
                <a:gd name="T29" fmla="*/ 59 h 293"/>
                <a:gd name="T30" fmla="*/ 444 w 533"/>
                <a:gd name="T31" fmla="*/ 42 h 293"/>
                <a:gd name="T32" fmla="*/ 460 w 533"/>
                <a:gd name="T33" fmla="*/ 35 h 293"/>
                <a:gd name="T34" fmla="*/ 460 w 533"/>
                <a:gd name="T35" fmla="*/ 35 h 293"/>
                <a:gd name="T36" fmla="*/ 396 w 533"/>
                <a:gd name="T37" fmla="*/ 68 h 293"/>
                <a:gd name="T38" fmla="*/ 406 w 533"/>
                <a:gd name="T39" fmla="*/ 85 h 293"/>
                <a:gd name="T40" fmla="*/ 389 w 533"/>
                <a:gd name="T41" fmla="*/ 92 h 293"/>
                <a:gd name="T42" fmla="*/ 382 w 533"/>
                <a:gd name="T43" fmla="*/ 75 h 293"/>
                <a:gd name="T44" fmla="*/ 396 w 533"/>
                <a:gd name="T45" fmla="*/ 68 h 293"/>
                <a:gd name="T46" fmla="*/ 396 w 533"/>
                <a:gd name="T47" fmla="*/ 68 h 293"/>
                <a:gd name="T48" fmla="*/ 333 w 533"/>
                <a:gd name="T49" fmla="*/ 101 h 293"/>
                <a:gd name="T50" fmla="*/ 342 w 533"/>
                <a:gd name="T51" fmla="*/ 118 h 293"/>
                <a:gd name="T52" fmla="*/ 326 w 533"/>
                <a:gd name="T53" fmla="*/ 125 h 293"/>
                <a:gd name="T54" fmla="*/ 318 w 533"/>
                <a:gd name="T55" fmla="*/ 111 h 293"/>
                <a:gd name="T56" fmla="*/ 333 w 533"/>
                <a:gd name="T57" fmla="*/ 101 h 293"/>
                <a:gd name="T58" fmla="*/ 333 w 533"/>
                <a:gd name="T59" fmla="*/ 101 h 293"/>
                <a:gd name="T60" fmla="*/ 269 w 533"/>
                <a:gd name="T61" fmla="*/ 134 h 293"/>
                <a:gd name="T62" fmla="*/ 278 w 533"/>
                <a:gd name="T63" fmla="*/ 151 h 293"/>
                <a:gd name="T64" fmla="*/ 262 w 533"/>
                <a:gd name="T65" fmla="*/ 160 h 293"/>
                <a:gd name="T66" fmla="*/ 255 w 533"/>
                <a:gd name="T67" fmla="*/ 144 h 293"/>
                <a:gd name="T68" fmla="*/ 269 w 533"/>
                <a:gd name="T69" fmla="*/ 134 h 293"/>
                <a:gd name="T70" fmla="*/ 269 w 533"/>
                <a:gd name="T71" fmla="*/ 134 h 293"/>
                <a:gd name="T72" fmla="*/ 205 w 533"/>
                <a:gd name="T73" fmla="*/ 170 h 293"/>
                <a:gd name="T74" fmla="*/ 215 w 533"/>
                <a:gd name="T75" fmla="*/ 184 h 293"/>
                <a:gd name="T76" fmla="*/ 198 w 533"/>
                <a:gd name="T77" fmla="*/ 193 h 293"/>
                <a:gd name="T78" fmla="*/ 191 w 533"/>
                <a:gd name="T79" fmla="*/ 177 h 293"/>
                <a:gd name="T80" fmla="*/ 205 w 533"/>
                <a:gd name="T81" fmla="*/ 170 h 293"/>
                <a:gd name="T82" fmla="*/ 205 w 533"/>
                <a:gd name="T83" fmla="*/ 170 h 293"/>
                <a:gd name="T84" fmla="*/ 141 w 533"/>
                <a:gd name="T85" fmla="*/ 203 h 293"/>
                <a:gd name="T86" fmla="*/ 151 w 533"/>
                <a:gd name="T87" fmla="*/ 217 h 293"/>
                <a:gd name="T88" fmla="*/ 134 w 533"/>
                <a:gd name="T89" fmla="*/ 226 h 293"/>
                <a:gd name="T90" fmla="*/ 127 w 533"/>
                <a:gd name="T91" fmla="*/ 210 h 293"/>
                <a:gd name="T92" fmla="*/ 141 w 533"/>
                <a:gd name="T93" fmla="*/ 203 h 293"/>
                <a:gd name="T94" fmla="*/ 141 w 533"/>
                <a:gd name="T95" fmla="*/ 203 h 293"/>
                <a:gd name="T96" fmla="*/ 78 w 533"/>
                <a:gd name="T97" fmla="*/ 236 h 293"/>
                <a:gd name="T98" fmla="*/ 87 w 533"/>
                <a:gd name="T99" fmla="*/ 252 h 293"/>
                <a:gd name="T100" fmla="*/ 70 w 533"/>
                <a:gd name="T101" fmla="*/ 259 h 293"/>
                <a:gd name="T102" fmla="*/ 63 w 533"/>
                <a:gd name="T103" fmla="*/ 245 h 293"/>
                <a:gd name="T104" fmla="*/ 78 w 533"/>
                <a:gd name="T105" fmla="*/ 2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3" h="293">
                  <a:moveTo>
                    <a:pt x="16" y="269"/>
                  </a:moveTo>
                  <a:lnTo>
                    <a:pt x="23" y="285"/>
                  </a:lnTo>
                  <a:lnTo>
                    <a:pt x="7" y="293"/>
                  </a:lnTo>
                  <a:lnTo>
                    <a:pt x="0" y="278"/>
                  </a:lnTo>
                  <a:lnTo>
                    <a:pt x="16" y="269"/>
                  </a:lnTo>
                  <a:lnTo>
                    <a:pt x="16" y="269"/>
                  </a:lnTo>
                  <a:close/>
                  <a:moveTo>
                    <a:pt x="524" y="0"/>
                  </a:moveTo>
                  <a:lnTo>
                    <a:pt x="533" y="16"/>
                  </a:lnTo>
                  <a:lnTo>
                    <a:pt x="517" y="26"/>
                  </a:lnTo>
                  <a:lnTo>
                    <a:pt x="507" y="9"/>
                  </a:lnTo>
                  <a:lnTo>
                    <a:pt x="524" y="0"/>
                  </a:lnTo>
                  <a:lnTo>
                    <a:pt x="524" y="0"/>
                  </a:lnTo>
                  <a:close/>
                  <a:moveTo>
                    <a:pt x="460" y="35"/>
                  </a:moveTo>
                  <a:lnTo>
                    <a:pt x="470" y="49"/>
                  </a:lnTo>
                  <a:lnTo>
                    <a:pt x="453" y="59"/>
                  </a:lnTo>
                  <a:lnTo>
                    <a:pt x="444" y="42"/>
                  </a:lnTo>
                  <a:lnTo>
                    <a:pt x="460" y="35"/>
                  </a:lnTo>
                  <a:lnTo>
                    <a:pt x="460" y="35"/>
                  </a:lnTo>
                  <a:close/>
                  <a:moveTo>
                    <a:pt x="396" y="68"/>
                  </a:moveTo>
                  <a:lnTo>
                    <a:pt x="406" y="85"/>
                  </a:lnTo>
                  <a:lnTo>
                    <a:pt x="389" y="92"/>
                  </a:lnTo>
                  <a:lnTo>
                    <a:pt x="382" y="75"/>
                  </a:lnTo>
                  <a:lnTo>
                    <a:pt x="396" y="68"/>
                  </a:lnTo>
                  <a:lnTo>
                    <a:pt x="396" y="68"/>
                  </a:lnTo>
                  <a:close/>
                  <a:moveTo>
                    <a:pt x="333" y="101"/>
                  </a:moveTo>
                  <a:lnTo>
                    <a:pt x="342" y="118"/>
                  </a:lnTo>
                  <a:lnTo>
                    <a:pt x="326" y="125"/>
                  </a:lnTo>
                  <a:lnTo>
                    <a:pt x="318" y="111"/>
                  </a:lnTo>
                  <a:lnTo>
                    <a:pt x="333" y="101"/>
                  </a:lnTo>
                  <a:lnTo>
                    <a:pt x="333" y="101"/>
                  </a:lnTo>
                  <a:close/>
                  <a:moveTo>
                    <a:pt x="269" y="134"/>
                  </a:moveTo>
                  <a:lnTo>
                    <a:pt x="278" y="151"/>
                  </a:lnTo>
                  <a:lnTo>
                    <a:pt x="262" y="160"/>
                  </a:lnTo>
                  <a:lnTo>
                    <a:pt x="255" y="144"/>
                  </a:lnTo>
                  <a:lnTo>
                    <a:pt x="269" y="134"/>
                  </a:lnTo>
                  <a:lnTo>
                    <a:pt x="269" y="134"/>
                  </a:lnTo>
                  <a:close/>
                  <a:moveTo>
                    <a:pt x="205" y="170"/>
                  </a:moveTo>
                  <a:lnTo>
                    <a:pt x="215" y="184"/>
                  </a:lnTo>
                  <a:lnTo>
                    <a:pt x="198" y="193"/>
                  </a:lnTo>
                  <a:lnTo>
                    <a:pt x="191" y="177"/>
                  </a:lnTo>
                  <a:lnTo>
                    <a:pt x="205" y="170"/>
                  </a:lnTo>
                  <a:lnTo>
                    <a:pt x="205" y="170"/>
                  </a:lnTo>
                  <a:close/>
                  <a:moveTo>
                    <a:pt x="141" y="203"/>
                  </a:moveTo>
                  <a:lnTo>
                    <a:pt x="151" y="217"/>
                  </a:lnTo>
                  <a:lnTo>
                    <a:pt x="134" y="226"/>
                  </a:lnTo>
                  <a:lnTo>
                    <a:pt x="127" y="210"/>
                  </a:lnTo>
                  <a:lnTo>
                    <a:pt x="141" y="203"/>
                  </a:lnTo>
                  <a:lnTo>
                    <a:pt x="141" y="203"/>
                  </a:lnTo>
                  <a:close/>
                  <a:moveTo>
                    <a:pt x="78" y="236"/>
                  </a:moveTo>
                  <a:lnTo>
                    <a:pt x="87" y="252"/>
                  </a:lnTo>
                  <a:lnTo>
                    <a:pt x="70" y="259"/>
                  </a:lnTo>
                  <a:lnTo>
                    <a:pt x="63" y="245"/>
                  </a:lnTo>
                  <a:lnTo>
                    <a:pt x="78" y="23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7" name="Freeform 523"/>
            <p:cNvSpPr>
              <a:spLocks noEditPoints="1"/>
            </p:cNvSpPr>
            <p:nvPr/>
          </p:nvSpPr>
          <p:spPr bwMode="auto">
            <a:xfrm>
              <a:off x="3092450" y="4019550"/>
              <a:ext cx="611188" cy="757238"/>
            </a:xfrm>
            <a:custGeom>
              <a:avLst/>
              <a:gdLst>
                <a:gd name="T0" fmla="*/ 12 w 385"/>
                <a:gd name="T1" fmla="*/ 451 h 477"/>
                <a:gd name="T2" fmla="*/ 26 w 385"/>
                <a:gd name="T3" fmla="*/ 463 h 477"/>
                <a:gd name="T4" fmla="*/ 14 w 385"/>
                <a:gd name="T5" fmla="*/ 477 h 477"/>
                <a:gd name="T6" fmla="*/ 0 w 385"/>
                <a:gd name="T7" fmla="*/ 465 h 477"/>
                <a:gd name="T8" fmla="*/ 12 w 385"/>
                <a:gd name="T9" fmla="*/ 451 h 477"/>
                <a:gd name="T10" fmla="*/ 12 w 385"/>
                <a:gd name="T11" fmla="*/ 451 h 477"/>
                <a:gd name="T12" fmla="*/ 373 w 385"/>
                <a:gd name="T13" fmla="*/ 0 h 477"/>
                <a:gd name="T14" fmla="*/ 385 w 385"/>
                <a:gd name="T15" fmla="*/ 11 h 477"/>
                <a:gd name="T16" fmla="*/ 376 w 385"/>
                <a:gd name="T17" fmla="*/ 26 h 477"/>
                <a:gd name="T18" fmla="*/ 361 w 385"/>
                <a:gd name="T19" fmla="*/ 14 h 477"/>
                <a:gd name="T20" fmla="*/ 373 w 385"/>
                <a:gd name="T21" fmla="*/ 0 h 477"/>
                <a:gd name="T22" fmla="*/ 373 w 385"/>
                <a:gd name="T23" fmla="*/ 0 h 477"/>
                <a:gd name="T24" fmla="*/ 326 w 385"/>
                <a:gd name="T25" fmla="*/ 56 h 477"/>
                <a:gd name="T26" fmla="*/ 340 w 385"/>
                <a:gd name="T27" fmla="*/ 68 h 477"/>
                <a:gd name="T28" fmla="*/ 331 w 385"/>
                <a:gd name="T29" fmla="*/ 82 h 477"/>
                <a:gd name="T30" fmla="*/ 317 w 385"/>
                <a:gd name="T31" fmla="*/ 71 h 477"/>
                <a:gd name="T32" fmla="*/ 326 w 385"/>
                <a:gd name="T33" fmla="*/ 56 h 477"/>
                <a:gd name="T34" fmla="*/ 326 w 385"/>
                <a:gd name="T35" fmla="*/ 56 h 477"/>
                <a:gd name="T36" fmla="*/ 281 w 385"/>
                <a:gd name="T37" fmla="*/ 113 h 477"/>
                <a:gd name="T38" fmla="*/ 295 w 385"/>
                <a:gd name="T39" fmla="*/ 125 h 477"/>
                <a:gd name="T40" fmla="*/ 286 w 385"/>
                <a:gd name="T41" fmla="*/ 139 h 477"/>
                <a:gd name="T42" fmla="*/ 272 w 385"/>
                <a:gd name="T43" fmla="*/ 127 h 477"/>
                <a:gd name="T44" fmla="*/ 281 w 385"/>
                <a:gd name="T45" fmla="*/ 113 h 477"/>
                <a:gd name="T46" fmla="*/ 281 w 385"/>
                <a:gd name="T47" fmla="*/ 113 h 477"/>
                <a:gd name="T48" fmla="*/ 236 w 385"/>
                <a:gd name="T49" fmla="*/ 170 h 477"/>
                <a:gd name="T50" fmla="*/ 250 w 385"/>
                <a:gd name="T51" fmla="*/ 182 h 477"/>
                <a:gd name="T52" fmla="*/ 241 w 385"/>
                <a:gd name="T53" fmla="*/ 196 h 477"/>
                <a:gd name="T54" fmla="*/ 227 w 385"/>
                <a:gd name="T55" fmla="*/ 184 h 477"/>
                <a:gd name="T56" fmla="*/ 236 w 385"/>
                <a:gd name="T57" fmla="*/ 170 h 477"/>
                <a:gd name="T58" fmla="*/ 236 w 385"/>
                <a:gd name="T59" fmla="*/ 170 h 477"/>
                <a:gd name="T60" fmla="*/ 191 w 385"/>
                <a:gd name="T61" fmla="*/ 226 h 477"/>
                <a:gd name="T62" fmla="*/ 206 w 385"/>
                <a:gd name="T63" fmla="*/ 236 h 477"/>
                <a:gd name="T64" fmla="*/ 196 w 385"/>
                <a:gd name="T65" fmla="*/ 250 h 477"/>
                <a:gd name="T66" fmla="*/ 182 w 385"/>
                <a:gd name="T67" fmla="*/ 241 h 477"/>
                <a:gd name="T68" fmla="*/ 191 w 385"/>
                <a:gd name="T69" fmla="*/ 226 h 477"/>
                <a:gd name="T70" fmla="*/ 191 w 385"/>
                <a:gd name="T71" fmla="*/ 226 h 477"/>
                <a:gd name="T72" fmla="*/ 146 w 385"/>
                <a:gd name="T73" fmla="*/ 281 h 477"/>
                <a:gd name="T74" fmla="*/ 161 w 385"/>
                <a:gd name="T75" fmla="*/ 293 h 477"/>
                <a:gd name="T76" fmla="*/ 149 w 385"/>
                <a:gd name="T77" fmla="*/ 307 h 477"/>
                <a:gd name="T78" fmla="*/ 137 w 385"/>
                <a:gd name="T79" fmla="*/ 295 h 477"/>
                <a:gd name="T80" fmla="*/ 146 w 385"/>
                <a:gd name="T81" fmla="*/ 281 h 477"/>
                <a:gd name="T82" fmla="*/ 146 w 385"/>
                <a:gd name="T83" fmla="*/ 281 h 477"/>
                <a:gd name="T84" fmla="*/ 102 w 385"/>
                <a:gd name="T85" fmla="*/ 337 h 477"/>
                <a:gd name="T86" fmla="*/ 116 w 385"/>
                <a:gd name="T87" fmla="*/ 349 h 477"/>
                <a:gd name="T88" fmla="*/ 104 w 385"/>
                <a:gd name="T89" fmla="*/ 363 h 477"/>
                <a:gd name="T90" fmla="*/ 90 w 385"/>
                <a:gd name="T91" fmla="*/ 352 h 477"/>
                <a:gd name="T92" fmla="*/ 102 w 385"/>
                <a:gd name="T93" fmla="*/ 337 h 477"/>
                <a:gd name="T94" fmla="*/ 102 w 385"/>
                <a:gd name="T95" fmla="*/ 337 h 477"/>
                <a:gd name="T96" fmla="*/ 57 w 385"/>
                <a:gd name="T97" fmla="*/ 394 h 477"/>
                <a:gd name="T98" fmla="*/ 71 w 385"/>
                <a:gd name="T99" fmla="*/ 406 h 477"/>
                <a:gd name="T100" fmla="*/ 59 w 385"/>
                <a:gd name="T101" fmla="*/ 420 h 477"/>
                <a:gd name="T102" fmla="*/ 45 w 385"/>
                <a:gd name="T103" fmla="*/ 408 h 477"/>
                <a:gd name="T104" fmla="*/ 57 w 385"/>
                <a:gd name="T105" fmla="*/ 394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5" h="477">
                  <a:moveTo>
                    <a:pt x="12" y="451"/>
                  </a:moveTo>
                  <a:lnTo>
                    <a:pt x="26" y="463"/>
                  </a:lnTo>
                  <a:lnTo>
                    <a:pt x="14" y="477"/>
                  </a:lnTo>
                  <a:lnTo>
                    <a:pt x="0" y="465"/>
                  </a:lnTo>
                  <a:lnTo>
                    <a:pt x="12" y="451"/>
                  </a:lnTo>
                  <a:lnTo>
                    <a:pt x="12" y="451"/>
                  </a:lnTo>
                  <a:close/>
                  <a:moveTo>
                    <a:pt x="373" y="0"/>
                  </a:moveTo>
                  <a:lnTo>
                    <a:pt x="385" y="11"/>
                  </a:lnTo>
                  <a:lnTo>
                    <a:pt x="376" y="26"/>
                  </a:lnTo>
                  <a:lnTo>
                    <a:pt x="361" y="14"/>
                  </a:lnTo>
                  <a:lnTo>
                    <a:pt x="373" y="0"/>
                  </a:lnTo>
                  <a:lnTo>
                    <a:pt x="373" y="0"/>
                  </a:lnTo>
                  <a:close/>
                  <a:moveTo>
                    <a:pt x="326" y="56"/>
                  </a:moveTo>
                  <a:lnTo>
                    <a:pt x="340" y="68"/>
                  </a:lnTo>
                  <a:lnTo>
                    <a:pt x="331" y="82"/>
                  </a:lnTo>
                  <a:lnTo>
                    <a:pt x="317" y="71"/>
                  </a:lnTo>
                  <a:lnTo>
                    <a:pt x="326" y="56"/>
                  </a:lnTo>
                  <a:lnTo>
                    <a:pt x="326" y="56"/>
                  </a:lnTo>
                  <a:close/>
                  <a:moveTo>
                    <a:pt x="281" y="113"/>
                  </a:moveTo>
                  <a:lnTo>
                    <a:pt x="295" y="125"/>
                  </a:lnTo>
                  <a:lnTo>
                    <a:pt x="286" y="139"/>
                  </a:lnTo>
                  <a:lnTo>
                    <a:pt x="272" y="127"/>
                  </a:lnTo>
                  <a:lnTo>
                    <a:pt x="281" y="113"/>
                  </a:lnTo>
                  <a:lnTo>
                    <a:pt x="281" y="113"/>
                  </a:lnTo>
                  <a:close/>
                  <a:moveTo>
                    <a:pt x="236" y="170"/>
                  </a:moveTo>
                  <a:lnTo>
                    <a:pt x="250" y="182"/>
                  </a:lnTo>
                  <a:lnTo>
                    <a:pt x="241" y="196"/>
                  </a:lnTo>
                  <a:lnTo>
                    <a:pt x="227" y="184"/>
                  </a:lnTo>
                  <a:lnTo>
                    <a:pt x="236" y="170"/>
                  </a:lnTo>
                  <a:lnTo>
                    <a:pt x="236" y="170"/>
                  </a:lnTo>
                  <a:close/>
                  <a:moveTo>
                    <a:pt x="191" y="226"/>
                  </a:moveTo>
                  <a:lnTo>
                    <a:pt x="206" y="236"/>
                  </a:lnTo>
                  <a:lnTo>
                    <a:pt x="196" y="250"/>
                  </a:lnTo>
                  <a:lnTo>
                    <a:pt x="182" y="241"/>
                  </a:lnTo>
                  <a:lnTo>
                    <a:pt x="191" y="226"/>
                  </a:lnTo>
                  <a:lnTo>
                    <a:pt x="191" y="226"/>
                  </a:lnTo>
                  <a:close/>
                  <a:moveTo>
                    <a:pt x="146" y="281"/>
                  </a:moveTo>
                  <a:lnTo>
                    <a:pt x="161" y="293"/>
                  </a:lnTo>
                  <a:lnTo>
                    <a:pt x="149" y="307"/>
                  </a:lnTo>
                  <a:lnTo>
                    <a:pt x="137" y="295"/>
                  </a:lnTo>
                  <a:lnTo>
                    <a:pt x="146" y="281"/>
                  </a:lnTo>
                  <a:lnTo>
                    <a:pt x="146" y="281"/>
                  </a:lnTo>
                  <a:close/>
                  <a:moveTo>
                    <a:pt x="102" y="337"/>
                  </a:moveTo>
                  <a:lnTo>
                    <a:pt x="116" y="349"/>
                  </a:lnTo>
                  <a:lnTo>
                    <a:pt x="104" y="363"/>
                  </a:lnTo>
                  <a:lnTo>
                    <a:pt x="90" y="352"/>
                  </a:lnTo>
                  <a:lnTo>
                    <a:pt x="102" y="337"/>
                  </a:lnTo>
                  <a:lnTo>
                    <a:pt x="102" y="337"/>
                  </a:lnTo>
                  <a:close/>
                  <a:moveTo>
                    <a:pt x="57" y="394"/>
                  </a:moveTo>
                  <a:lnTo>
                    <a:pt x="71" y="406"/>
                  </a:lnTo>
                  <a:lnTo>
                    <a:pt x="59" y="420"/>
                  </a:lnTo>
                  <a:lnTo>
                    <a:pt x="45" y="408"/>
                  </a:lnTo>
                  <a:lnTo>
                    <a:pt x="57" y="3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8" name="Freeform 524"/>
            <p:cNvSpPr>
              <a:spLocks noEditPoints="1"/>
            </p:cNvSpPr>
            <p:nvPr/>
          </p:nvSpPr>
          <p:spPr bwMode="auto">
            <a:xfrm>
              <a:off x="2428875" y="3321050"/>
              <a:ext cx="1260475" cy="663575"/>
            </a:xfrm>
            <a:custGeom>
              <a:avLst/>
              <a:gdLst>
                <a:gd name="T0" fmla="*/ 17 w 794"/>
                <a:gd name="T1" fmla="*/ 24 h 418"/>
                <a:gd name="T2" fmla="*/ 9 w 794"/>
                <a:gd name="T3" fmla="*/ 0 h 418"/>
                <a:gd name="T4" fmla="*/ 24 w 794"/>
                <a:gd name="T5" fmla="*/ 10 h 418"/>
                <a:gd name="T6" fmla="*/ 784 w 794"/>
                <a:gd name="T7" fmla="*/ 418 h 418"/>
                <a:gd name="T8" fmla="*/ 777 w 794"/>
                <a:gd name="T9" fmla="*/ 395 h 418"/>
                <a:gd name="T10" fmla="*/ 794 w 794"/>
                <a:gd name="T11" fmla="*/ 402 h 418"/>
                <a:gd name="T12" fmla="*/ 720 w 794"/>
                <a:gd name="T13" fmla="*/ 385 h 418"/>
                <a:gd name="T14" fmla="*/ 713 w 794"/>
                <a:gd name="T15" fmla="*/ 362 h 418"/>
                <a:gd name="T16" fmla="*/ 730 w 794"/>
                <a:gd name="T17" fmla="*/ 369 h 418"/>
                <a:gd name="T18" fmla="*/ 657 w 794"/>
                <a:gd name="T19" fmla="*/ 352 h 418"/>
                <a:gd name="T20" fmla="*/ 650 w 794"/>
                <a:gd name="T21" fmla="*/ 329 h 418"/>
                <a:gd name="T22" fmla="*/ 666 w 794"/>
                <a:gd name="T23" fmla="*/ 336 h 418"/>
                <a:gd name="T24" fmla="*/ 593 w 794"/>
                <a:gd name="T25" fmla="*/ 319 h 418"/>
                <a:gd name="T26" fmla="*/ 586 w 794"/>
                <a:gd name="T27" fmla="*/ 296 h 418"/>
                <a:gd name="T28" fmla="*/ 602 w 794"/>
                <a:gd name="T29" fmla="*/ 305 h 418"/>
                <a:gd name="T30" fmla="*/ 529 w 794"/>
                <a:gd name="T31" fmla="*/ 286 h 418"/>
                <a:gd name="T32" fmla="*/ 522 w 794"/>
                <a:gd name="T33" fmla="*/ 263 h 418"/>
                <a:gd name="T34" fmla="*/ 536 w 794"/>
                <a:gd name="T35" fmla="*/ 272 h 418"/>
                <a:gd name="T36" fmla="*/ 465 w 794"/>
                <a:gd name="T37" fmla="*/ 255 h 418"/>
                <a:gd name="T38" fmla="*/ 458 w 794"/>
                <a:gd name="T39" fmla="*/ 229 h 418"/>
                <a:gd name="T40" fmla="*/ 472 w 794"/>
                <a:gd name="T41" fmla="*/ 239 h 418"/>
                <a:gd name="T42" fmla="*/ 402 w 794"/>
                <a:gd name="T43" fmla="*/ 222 h 418"/>
                <a:gd name="T44" fmla="*/ 392 w 794"/>
                <a:gd name="T45" fmla="*/ 196 h 418"/>
                <a:gd name="T46" fmla="*/ 409 w 794"/>
                <a:gd name="T47" fmla="*/ 206 h 418"/>
                <a:gd name="T48" fmla="*/ 338 w 794"/>
                <a:gd name="T49" fmla="*/ 189 h 418"/>
                <a:gd name="T50" fmla="*/ 328 w 794"/>
                <a:gd name="T51" fmla="*/ 163 h 418"/>
                <a:gd name="T52" fmla="*/ 345 w 794"/>
                <a:gd name="T53" fmla="*/ 173 h 418"/>
                <a:gd name="T54" fmla="*/ 272 w 794"/>
                <a:gd name="T55" fmla="*/ 156 h 418"/>
                <a:gd name="T56" fmla="*/ 265 w 794"/>
                <a:gd name="T57" fmla="*/ 133 h 418"/>
                <a:gd name="T58" fmla="*/ 281 w 794"/>
                <a:gd name="T59" fmla="*/ 140 h 418"/>
                <a:gd name="T60" fmla="*/ 208 w 794"/>
                <a:gd name="T61" fmla="*/ 123 h 418"/>
                <a:gd name="T62" fmla="*/ 201 w 794"/>
                <a:gd name="T63" fmla="*/ 100 h 418"/>
                <a:gd name="T64" fmla="*/ 217 w 794"/>
                <a:gd name="T65" fmla="*/ 107 h 418"/>
                <a:gd name="T66" fmla="*/ 144 w 794"/>
                <a:gd name="T67" fmla="*/ 90 h 418"/>
                <a:gd name="T68" fmla="*/ 137 w 794"/>
                <a:gd name="T69" fmla="*/ 66 h 418"/>
                <a:gd name="T70" fmla="*/ 153 w 794"/>
                <a:gd name="T71" fmla="*/ 74 h 418"/>
                <a:gd name="T72" fmla="*/ 80 w 794"/>
                <a:gd name="T73" fmla="*/ 57 h 418"/>
                <a:gd name="T74" fmla="*/ 73 w 794"/>
                <a:gd name="T75" fmla="*/ 33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4" h="418">
                  <a:moveTo>
                    <a:pt x="24" y="10"/>
                  </a:moveTo>
                  <a:lnTo>
                    <a:pt x="17" y="24"/>
                  </a:lnTo>
                  <a:lnTo>
                    <a:pt x="0" y="17"/>
                  </a:lnTo>
                  <a:lnTo>
                    <a:pt x="9" y="0"/>
                  </a:lnTo>
                  <a:lnTo>
                    <a:pt x="24" y="10"/>
                  </a:lnTo>
                  <a:lnTo>
                    <a:pt x="24" y="10"/>
                  </a:lnTo>
                  <a:close/>
                  <a:moveTo>
                    <a:pt x="794" y="402"/>
                  </a:moveTo>
                  <a:lnTo>
                    <a:pt x="784" y="418"/>
                  </a:lnTo>
                  <a:lnTo>
                    <a:pt x="770" y="409"/>
                  </a:lnTo>
                  <a:lnTo>
                    <a:pt x="777" y="395"/>
                  </a:lnTo>
                  <a:lnTo>
                    <a:pt x="794" y="402"/>
                  </a:lnTo>
                  <a:lnTo>
                    <a:pt x="794" y="402"/>
                  </a:lnTo>
                  <a:close/>
                  <a:moveTo>
                    <a:pt x="730" y="369"/>
                  </a:moveTo>
                  <a:lnTo>
                    <a:pt x="720" y="385"/>
                  </a:lnTo>
                  <a:lnTo>
                    <a:pt x="706" y="378"/>
                  </a:lnTo>
                  <a:lnTo>
                    <a:pt x="713" y="362"/>
                  </a:lnTo>
                  <a:lnTo>
                    <a:pt x="730" y="369"/>
                  </a:lnTo>
                  <a:lnTo>
                    <a:pt x="730" y="369"/>
                  </a:lnTo>
                  <a:close/>
                  <a:moveTo>
                    <a:pt x="666" y="336"/>
                  </a:moveTo>
                  <a:lnTo>
                    <a:pt x="657" y="352"/>
                  </a:lnTo>
                  <a:lnTo>
                    <a:pt x="640" y="345"/>
                  </a:lnTo>
                  <a:lnTo>
                    <a:pt x="650" y="329"/>
                  </a:lnTo>
                  <a:lnTo>
                    <a:pt x="666" y="336"/>
                  </a:lnTo>
                  <a:lnTo>
                    <a:pt x="666" y="336"/>
                  </a:lnTo>
                  <a:close/>
                  <a:moveTo>
                    <a:pt x="602" y="305"/>
                  </a:moveTo>
                  <a:lnTo>
                    <a:pt x="593" y="319"/>
                  </a:lnTo>
                  <a:lnTo>
                    <a:pt x="576" y="312"/>
                  </a:lnTo>
                  <a:lnTo>
                    <a:pt x="586" y="296"/>
                  </a:lnTo>
                  <a:lnTo>
                    <a:pt x="602" y="305"/>
                  </a:lnTo>
                  <a:lnTo>
                    <a:pt x="602" y="305"/>
                  </a:lnTo>
                  <a:close/>
                  <a:moveTo>
                    <a:pt x="536" y="272"/>
                  </a:moveTo>
                  <a:lnTo>
                    <a:pt x="529" y="286"/>
                  </a:lnTo>
                  <a:lnTo>
                    <a:pt x="513" y="279"/>
                  </a:lnTo>
                  <a:lnTo>
                    <a:pt x="522" y="263"/>
                  </a:lnTo>
                  <a:lnTo>
                    <a:pt x="536" y="272"/>
                  </a:lnTo>
                  <a:lnTo>
                    <a:pt x="536" y="272"/>
                  </a:lnTo>
                  <a:close/>
                  <a:moveTo>
                    <a:pt x="472" y="239"/>
                  </a:moveTo>
                  <a:lnTo>
                    <a:pt x="465" y="255"/>
                  </a:lnTo>
                  <a:lnTo>
                    <a:pt x="449" y="246"/>
                  </a:lnTo>
                  <a:lnTo>
                    <a:pt x="458" y="229"/>
                  </a:lnTo>
                  <a:lnTo>
                    <a:pt x="472" y="239"/>
                  </a:lnTo>
                  <a:lnTo>
                    <a:pt x="472" y="239"/>
                  </a:lnTo>
                  <a:close/>
                  <a:moveTo>
                    <a:pt x="409" y="206"/>
                  </a:moveTo>
                  <a:lnTo>
                    <a:pt x="402" y="222"/>
                  </a:lnTo>
                  <a:lnTo>
                    <a:pt x="385" y="213"/>
                  </a:lnTo>
                  <a:lnTo>
                    <a:pt x="392" y="196"/>
                  </a:lnTo>
                  <a:lnTo>
                    <a:pt x="409" y="206"/>
                  </a:lnTo>
                  <a:lnTo>
                    <a:pt x="409" y="206"/>
                  </a:lnTo>
                  <a:close/>
                  <a:moveTo>
                    <a:pt x="345" y="173"/>
                  </a:moveTo>
                  <a:lnTo>
                    <a:pt x="338" y="189"/>
                  </a:lnTo>
                  <a:lnTo>
                    <a:pt x="321" y="180"/>
                  </a:lnTo>
                  <a:lnTo>
                    <a:pt x="328" y="163"/>
                  </a:lnTo>
                  <a:lnTo>
                    <a:pt x="345" y="173"/>
                  </a:lnTo>
                  <a:lnTo>
                    <a:pt x="345" y="173"/>
                  </a:lnTo>
                  <a:close/>
                  <a:moveTo>
                    <a:pt x="281" y="140"/>
                  </a:moveTo>
                  <a:lnTo>
                    <a:pt x="272" y="156"/>
                  </a:lnTo>
                  <a:lnTo>
                    <a:pt x="257" y="147"/>
                  </a:lnTo>
                  <a:lnTo>
                    <a:pt x="265" y="133"/>
                  </a:lnTo>
                  <a:lnTo>
                    <a:pt x="281" y="140"/>
                  </a:lnTo>
                  <a:lnTo>
                    <a:pt x="281" y="140"/>
                  </a:lnTo>
                  <a:close/>
                  <a:moveTo>
                    <a:pt x="217" y="107"/>
                  </a:moveTo>
                  <a:lnTo>
                    <a:pt x="208" y="123"/>
                  </a:lnTo>
                  <a:lnTo>
                    <a:pt x="194" y="116"/>
                  </a:lnTo>
                  <a:lnTo>
                    <a:pt x="201" y="100"/>
                  </a:lnTo>
                  <a:lnTo>
                    <a:pt x="217" y="107"/>
                  </a:lnTo>
                  <a:lnTo>
                    <a:pt x="217" y="107"/>
                  </a:lnTo>
                  <a:close/>
                  <a:moveTo>
                    <a:pt x="153" y="74"/>
                  </a:moveTo>
                  <a:lnTo>
                    <a:pt x="144" y="90"/>
                  </a:lnTo>
                  <a:lnTo>
                    <a:pt x="128" y="83"/>
                  </a:lnTo>
                  <a:lnTo>
                    <a:pt x="137" y="66"/>
                  </a:lnTo>
                  <a:lnTo>
                    <a:pt x="153" y="74"/>
                  </a:lnTo>
                  <a:lnTo>
                    <a:pt x="153" y="74"/>
                  </a:lnTo>
                  <a:close/>
                  <a:moveTo>
                    <a:pt x="90" y="40"/>
                  </a:moveTo>
                  <a:lnTo>
                    <a:pt x="80" y="57"/>
                  </a:lnTo>
                  <a:lnTo>
                    <a:pt x="64" y="50"/>
                  </a:lnTo>
                  <a:lnTo>
                    <a:pt x="73" y="33"/>
                  </a:lnTo>
                  <a:lnTo>
                    <a:pt x="90" y="4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09" name="Freeform 525"/>
            <p:cNvSpPr>
              <a:spLocks noEditPoints="1"/>
            </p:cNvSpPr>
            <p:nvPr/>
          </p:nvSpPr>
          <p:spPr bwMode="auto">
            <a:xfrm>
              <a:off x="3295650" y="2601913"/>
              <a:ext cx="427038" cy="1349375"/>
            </a:xfrm>
            <a:custGeom>
              <a:avLst/>
              <a:gdLst>
                <a:gd name="T0" fmla="*/ 7 w 269"/>
                <a:gd name="T1" fmla="*/ 23 h 850"/>
                <a:gd name="T2" fmla="*/ 18 w 269"/>
                <a:gd name="T3" fmla="*/ 0 h 850"/>
                <a:gd name="T4" fmla="*/ 23 w 269"/>
                <a:gd name="T5" fmla="*/ 19 h 850"/>
                <a:gd name="T6" fmla="*/ 252 w 269"/>
                <a:gd name="T7" fmla="*/ 850 h 850"/>
                <a:gd name="T8" fmla="*/ 264 w 269"/>
                <a:gd name="T9" fmla="*/ 829 h 850"/>
                <a:gd name="T10" fmla="*/ 269 w 269"/>
                <a:gd name="T11" fmla="*/ 845 h 850"/>
                <a:gd name="T12" fmla="*/ 231 w 269"/>
                <a:gd name="T13" fmla="*/ 782 h 850"/>
                <a:gd name="T14" fmla="*/ 243 w 269"/>
                <a:gd name="T15" fmla="*/ 760 h 850"/>
                <a:gd name="T16" fmla="*/ 250 w 269"/>
                <a:gd name="T17" fmla="*/ 777 h 850"/>
                <a:gd name="T18" fmla="*/ 212 w 269"/>
                <a:gd name="T19" fmla="*/ 713 h 850"/>
                <a:gd name="T20" fmla="*/ 224 w 269"/>
                <a:gd name="T21" fmla="*/ 692 h 850"/>
                <a:gd name="T22" fmla="*/ 229 w 269"/>
                <a:gd name="T23" fmla="*/ 708 h 850"/>
                <a:gd name="T24" fmla="*/ 191 w 269"/>
                <a:gd name="T25" fmla="*/ 645 h 850"/>
                <a:gd name="T26" fmla="*/ 203 w 269"/>
                <a:gd name="T27" fmla="*/ 621 h 850"/>
                <a:gd name="T28" fmla="*/ 207 w 269"/>
                <a:gd name="T29" fmla="*/ 640 h 850"/>
                <a:gd name="T30" fmla="*/ 170 w 269"/>
                <a:gd name="T31" fmla="*/ 576 h 850"/>
                <a:gd name="T32" fmla="*/ 181 w 269"/>
                <a:gd name="T33" fmla="*/ 553 h 850"/>
                <a:gd name="T34" fmla="*/ 189 w 269"/>
                <a:gd name="T35" fmla="*/ 569 h 850"/>
                <a:gd name="T36" fmla="*/ 151 w 269"/>
                <a:gd name="T37" fmla="*/ 505 h 850"/>
                <a:gd name="T38" fmla="*/ 163 w 269"/>
                <a:gd name="T39" fmla="*/ 484 h 850"/>
                <a:gd name="T40" fmla="*/ 167 w 269"/>
                <a:gd name="T41" fmla="*/ 501 h 850"/>
                <a:gd name="T42" fmla="*/ 129 w 269"/>
                <a:gd name="T43" fmla="*/ 437 h 850"/>
                <a:gd name="T44" fmla="*/ 141 w 269"/>
                <a:gd name="T45" fmla="*/ 416 h 850"/>
                <a:gd name="T46" fmla="*/ 146 w 269"/>
                <a:gd name="T47" fmla="*/ 432 h 850"/>
                <a:gd name="T48" fmla="*/ 108 w 269"/>
                <a:gd name="T49" fmla="*/ 368 h 850"/>
                <a:gd name="T50" fmla="*/ 120 w 269"/>
                <a:gd name="T51" fmla="*/ 347 h 850"/>
                <a:gd name="T52" fmla="*/ 125 w 269"/>
                <a:gd name="T53" fmla="*/ 364 h 850"/>
                <a:gd name="T54" fmla="*/ 87 w 269"/>
                <a:gd name="T55" fmla="*/ 300 h 850"/>
                <a:gd name="T56" fmla="*/ 101 w 269"/>
                <a:gd name="T57" fmla="*/ 276 h 850"/>
                <a:gd name="T58" fmla="*/ 106 w 269"/>
                <a:gd name="T59" fmla="*/ 295 h 850"/>
                <a:gd name="T60" fmla="*/ 68 w 269"/>
                <a:gd name="T61" fmla="*/ 231 h 850"/>
                <a:gd name="T62" fmla="*/ 80 w 269"/>
                <a:gd name="T63" fmla="*/ 208 h 850"/>
                <a:gd name="T64" fmla="*/ 85 w 269"/>
                <a:gd name="T65" fmla="*/ 224 h 850"/>
                <a:gd name="T66" fmla="*/ 47 w 269"/>
                <a:gd name="T67" fmla="*/ 160 h 850"/>
                <a:gd name="T68" fmla="*/ 59 w 269"/>
                <a:gd name="T69" fmla="*/ 139 h 850"/>
                <a:gd name="T70" fmla="*/ 63 w 269"/>
                <a:gd name="T71" fmla="*/ 156 h 850"/>
                <a:gd name="T72" fmla="*/ 26 w 269"/>
                <a:gd name="T73" fmla="*/ 92 h 850"/>
                <a:gd name="T74" fmla="*/ 37 w 269"/>
                <a:gd name="T75" fmla="*/ 71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9" h="850">
                  <a:moveTo>
                    <a:pt x="23" y="19"/>
                  </a:moveTo>
                  <a:lnTo>
                    <a:pt x="7" y="23"/>
                  </a:lnTo>
                  <a:lnTo>
                    <a:pt x="0" y="7"/>
                  </a:lnTo>
                  <a:lnTo>
                    <a:pt x="18" y="0"/>
                  </a:lnTo>
                  <a:lnTo>
                    <a:pt x="23" y="19"/>
                  </a:lnTo>
                  <a:lnTo>
                    <a:pt x="23" y="19"/>
                  </a:lnTo>
                  <a:close/>
                  <a:moveTo>
                    <a:pt x="269" y="845"/>
                  </a:moveTo>
                  <a:lnTo>
                    <a:pt x="252" y="850"/>
                  </a:lnTo>
                  <a:lnTo>
                    <a:pt x="248" y="834"/>
                  </a:lnTo>
                  <a:lnTo>
                    <a:pt x="264" y="829"/>
                  </a:lnTo>
                  <a:lnTo>
                    <a:pt x="269" y="845"/>
                  </a:lnTo>
                  <a:lnTo>
                    <a:pt x="269" y="845"/>
                  </a:lnTo>
                  <a:close/>
                  <a:moveTo>
                    <a:pt x="250" y="777"/>
                  </a:moveTo>
                  <a:lnTo>
                    <a:pt x="231" y="782"/>
                  </a:lnTo>
                  <a:lnTo>
                    <a:pt x="226" y="765"/>
                  </a:lnTo>
                  <a:lnTo>
                    <a:pt x="243" y="760"/>
                  </a:lnTo>
                  <a:lnTo>
                    <a:pt x="250" y="777"/>
                  </a:lnTo>
                  <a:lnTo>
                    <a:pt x="250" y="777"/>
                  </a:lnTo>
                  <a:close/>
                  <a:moveTo>
                    <a:pt x="229" y="708"/>
                  </a:moveTo>
                  <a:lnTo>
                    <a:pt x="212" y="713"/>
                  </a:lnTo>
                  <a:lnTo>
                    <a:pt x="205" y="697"/>
                  </a:lnTo>
                  <a:lnTo>
                    <a:pt x="224" y="692"/>
                  </a:lnTo>
                  <a:lnTo>
                    <a:pt x="229" y="708"/>
                  </a:lnTo>
                  <a:lnTo>
                    <a:pt x="229" y="708"/>
                  </a:lnTo>
                  <a:close/>
                  <a:moveTo>
                    <a:pt x="207" y="640"/>
                  </a:moveTo>
                  <a:lnTo>
                    <a:pt x="191" y="645"/>
                  </a:lnTo>
                  <a:lnTo>
                    <a:pt x="186" y="628"/>
                  </a:lnTo>
                  <a:lnTo>
                    <a:pt x="203" y="621"/>
                  </a:lnTo>
                  <a:lnTo>
                    <a:pt x="207" y="640"/>
                  </a:lnTo>
                  <a:lnTo>
                    <a:pt x="207" y="640"/>
                  </a:lnTo>
                  <a:close/>
                  <a:moveTo>
                    <a:pt x="189" y="569"/>
                  </a:moveTo>
                  <a:lnTo>
                    <a:pt x="170" y="576"/>
                  </a:lnTo>
                  <a:lnTo>
                    <a:pt x="165" y="557"/>
                  </a:lnTo>
                  <a:lnTo>
                    <a:pt x="181" y="553"/>
                  </a:lnTo>
                  <a:lnTo>
                    <a:pt x="189" y="569"/>
                  </a:lnTo>
                  <a:lnTo>
                    <a:pt x="189" y="569"/>
                  </a:lnTo>
                  <a:close/>
                  <a:moveTo>
                    <a:pt x="167" y="501"/>
                  </a:moveTo>
                  <a:lnTo>
                    <a:pt x="151" y="505"/>
                  </a:lnTo>
                  <a:lnTo>
                    <a:pt x="144" y="489"/>
                  </a:lnTo>
                  <a:lnTo>
                    <a:pt x="163" y="484"/>
                  </a:lnTo>
                  <a:lnTo>
                    <a:pt x="167" y="501"/>
                  </a:lnTo>
                  <a:lnTo>
                    <a:pt x="167" y="501"/>
                  </a:lnTo>
                  <a:close/>
                  <a:moveTo>
                    <a:pt x="146" y="432"/>
                  </a:moveTo>
                  <a:lnTo>
                    <a:pt x="129" y="437"/>
                  </a:lnTo>
                  <a:lnTo>
                    <a:pt x="125" y="420"/>
                  </a:lnTo>
                  <a:lnTo>
                    <a:pt x="141" y="416"/>
                  </a:lnTo>
                  <a:lnTo>
                    <a:pt x="146" y="432"/>
                  </a:lnTo>
                  <a:lnTo>
                    <a:pt x="146" y="432"/>
                  </a:lnTo>
                  <a:close/>
                  <a:moveTo>
                    <a:pt x="125" y="364"/>
                  </a:moveTo>
                  <a:lnTo>
                    <a:pt x="108" y="368"/>
                  </a:lnTo>
                  <a:lnTo>
                    <a:pt x="104" y="352"/>
                  </a:lnTo>
                  <a:lnTo>
                    <a:pt x="120" y="347"/>
                  </a:lnTo>
                  <a:lnTo>
                    <a:pt x="125" y="364"/>
                  </a:lnTo>
                  <a:lnTo>
                    <a:pt x="125" y="364"/>
                  </a:lnTo>
                  <a:close/>
                  <a:moveTo>
                    <a:pt x="106" y="295"/>
                  </a:moveTo>
                  <a:lnTo>
                    <a:pt x="87" y="300"/>
                  </a:lnTo>
                  <a:lnTo>
                    <a:pt x="82" y="281"/>
                  </a:lnTo>
                  <a:lnTo>
                    <a:pt x="101" y="276"/>
                  </a:lnTo>
                  <a:lnTo>
                    <a:pt x="106" y="295"/>
                  </a:lnTo>
                  <a:lnTo>
                    <a:pt x="106" y="295"/>
                  </a:lnTo>
                  <a:close/>
                  <a:moveTo>
                    <a:pt x="85" y="224"/>
                  </a:moveTo>
                  <a:lnTo>
                    <a:pt x="68" y="231"/>
                  </a:lnTo>
                  <a:lnTo>
                    <a:pt x="63" y="212"/>
                  </a:lnTo>
                  <a:lnTo>
                    <a:pt x="80" y="208"/>
                  </a:lnTo>
                  <a:lnTo>
                    <a:pt x="85" y="224"/>
                  </a:lnTo>
                  <a:lnTo>
                    <a:pt x="85" y="224"/>
                  </a:lnTo>
                  <a:close/>
                  <a:moveTo>
                    <a:pt x="63" y="156"/>
                  </a:moveTo>
                  <a:lnTo>
                    <a:pt x="47" y="160"/>
                  </a:lnTo>
                  <a:lnTo>
                    <a:pt x="42" y="144"/>
                  </a:lnTo>
                  <a:lnTo>
                    <a:pt x="59" y="139"/>
                  </a:lnTo>
                  <a:lnTo>
                    <a:pt x="63" y="156"/>
                  </a:lnTo>
                  <a:lnTo>
                    <a:pt x="63" y="156"/>
                  </a:lnTo>
                  <a:close/>
                  <a:moveTo>
                    <a:pt x="44" y="87"/>
                  </a:moveTo>
                  <a:lnTo>
                    <a:pt x="26" y="92"/>
                  </a:lnTo>
                  <a:lnTo>
                    <a:pt x="21" y="75"/>
                  </a:lnTo>
                  <a:lnTo>
                    <a:pt x="37" y="71"/>
                  </a:lnTo>
                  <a:lnTo>
                    <a:pt x="44" y="8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0" name="Freeform 526"/>
            <p:cNvSpPr>
              <a:spLocks noEditPoints="1"/>
            </p:cNvSpPr>
            <p:nvPr/>
          </p:nvSpPr>
          <p:spPr bwMode="auto">
            <a:xfrm>
              <a:off x="3095625" y="1919288"/>
              <a:ext cx="228600" cy="693738"/>
            </a:xfrm>
            <a:custGeom>
              <a:avLst/>
              <a:gdLst>
                <a:gd name="T0" fmla="*/ 121 w 144"/>
                <a:gd name="T1" fmla="*/ 418 h 437"/>
                <a:gd name="T2" fmla="*/ 140 w 144"/>
                <a:gd name="T3" fmla="*/ 413 h 437"/>
                <a:gd name="T4" fmla="*/ 144 w 144"/>
                <a:gd name="T5" fmla="*/ 432 h 437"/>
                <a:gd name="T6" fmla="*/ 126 w 144"/>
                <a:gd name="T7" fmla="*/ 437 h 437"/>
                <a:gd name="T8" fmla="*/ 121 w 144"/>
                <a:gd name="T9" fmla="*/ 418 h 437"/>
                <a:gd name="T10" fmla="*/ 121 w 144"/>
                <a:gd name="T11" fmla="*/ 418 h 437"/>
                <a:gd name="T12" fmla="*/ 0 w 144"/>
                <a:gd name="T13" fmla="*/ 5 h 437"/>
                <a:gd name="T14" fmla="*/ 17 w 144"/>
                <a:gd name="T15" fmla="*/ 0 h 437"/>
                <a:gd name="T16" fmla="*/ 24 w 144"/>
                <a:gd name="T17" fmla="*/ 16 h 437"/>
                <a:gd name="T18" fmla="*/ 5 w 144"/>
                <a:gd name="T19" fmla="*/ 21 h 437"/>
                <a:gd name="T20" fmla="*/ 0 w 144"/>
                <a:gd name="T21" fmla="*/ 5 h 437"/>
                <a:gd name="T22" fmla="*/ 0 w 144"/>
                <a:gd name="T23" fmla="*/ 5 h 437"/>
                <a:gd name="T24" fmla="*/ 22 w 144"/>
                <a:gd name="T25" fmla="*/ 73 h 437"/>
                <a:gd name="T26" fmla="*/ 38 w 144"/>
                <a:gd name="T27" fmla="*/ 68 h 437"/>
                <a:gd name="T28" fmla="*/ 43 w 144"/>
                <a:gd name="T29" fmla="*/ 85 h 437"/>
                <a:gd name="T30" fmla="*/ 26 w 144"/>
                <a:gd name="T31" fmla="*/ 90 h 437"/>
                <a:gd name="T32" fmla="*/ 22 w 144"/>
                <a:gd name="T33" fmla="*/ 73 h 437"/>
                <a:gd name="T34" fmla="*/ 22 w 144"/>
                <a:gd name="T35" fmla="*/ 73 h 437"/>
                <a:gd name="T36" fmla="*/ 41 w 144"/>
                <a:gd name="T37" fmla="*/ 142 h 437"/>
                <a:gd name="T38" fmla="*/ 59 w 144"/>
                <a:gd name="T39" fmla="*/ 137 h 437"/>
                <a:gd name="T40" fmla="*/ 64 w 144"/>
                <a:gd name="T41" fmla="*/ 153 h 437"/>
                <a:gd name="T42" fmla="*/ 45 w 144"/>
                <a:gd name="T43" fmla="*/ 160 h 437"/>
                <a:gd name="T44" fmla="*/ 41 w 144"/>
                <a:gd name="T45" fmla="*/ 142 h 437"/>
                <a:gd name="T46" fmla="*/ 41 w 144"/>
                <a:gd name="T47" fmla="*/ 142 h 437"/>
                <a:gd name="T48" fmla="*/ 62 w 144"/>
                <a:gd name="T49" fmla="*/ 212 h 437"/>
                <a:gd name="T50" fmla="*/ 78 w 144"/>
                <a:gd name="T51" fmla="*/ 205 h 437"/>
                <a:gd name="T52" fmla="*/ 83 w 144"/>
                <a:gd name="T53" fmla="*/ 224 h 437"/>
                <a:gd name="T54" fmla="*/ 67 w 144"/>
                <a:gd name="T55" fmla="*/ 229 h 437"/>
                <a:gd name="T56" fmla="*/ 62 w 144"/>
                <a:gd name="T57" fmla="*/ 212 h 437"/>
                <a:gd name="T58" fmla="*/ 62 w 144"/>
                <a:gd name="T59" fmla="*/ 212 h 437"/>
                <a:gd name="T60" fmla="*/ 81 w 144"/>
                <a:gd name="T61" fmla="*/ 281 h 437"/>
                <a:gd name="T62" fmla="*/ 100 w 144"/>
                <a:gd name="T63" fmla="*/ 276 h 437"/>
                <a:gd name="T64" fmla="*/ 104 w 144"/>
                <a:gd name="T65" fmla="*/ 293 h 437"/>
                <a:gd name="T66" fmla="*/ 85 w 144"/>
                <a:gd name="T67" fmla="*/ 297 h 437"/>
                <a:gd name="T68" fmla="*/ 81 w 144"/>
                <a:gd name="T69" fmla="*/ 281 h 437"/>
                <a:gd name="T70" fmla="*/ 81 w 144"/>
                <a:gd name="T71" fmla="*/ 281 h 437"/>
                <a:gd name="T72" fmla="*/ 102 w 144"/>
                <a:gd name="T73" fmla="*/ 349 h 437"/>
                <a:gd name="T74" fmla="*/ 118 w 144"/>
                <a:gd name="T75" fmla="*/ 345 h 437"/>
                <a:gd name="T76" fmla="*/ 123 w 144"/>
                <a:gd name="T77" fmla="*/ 361 h 437"/>
                <a:gd name="T78" fmla="*/ 107 w 144"/>
                <a:gd name="T79" fmla="*/ 366 h 437"/>
                <a:gd name="T80" fmla="*/ 102 w 144"/>
                <a:gd name="T81" fmla="*/ 349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437">
                  <a:moveTo>
                    <a:pt x="121" y="418"/>
                  </a:moveTo>
                  <a:lnTo>
                    <a:pt x="140" y="413"/>
                  </a:lnTo>
                  <a:lnTo>
                    <a:pt x="144" y="432"/>
                  </a:lnTo>
                  <a:lnTo>
                    <a:pt x="126" y="437"/>
                  </a:lnTo>
                  <a:lnTo>
                    <a:pt x="121" y="418"/>
                  </a:lnTo>
                  <a:lnTo>
                    <a:pt x="121" y="418"/>
                  </a:lnTo>
                  <a:close/>
                  <a:moveTo>
                    <a:pt x="0" y="5"/>
                  </a:moveTo>
                  <a:lnTo>
                    <a:pt x="17" y="0"/>
                  </a:lnTo>
                  <a:lnTo>
                    <a:pt x="24" y="16"/>
                  </a:lnTo>
                  <a:lnTo>
                    <a:pt x="5" y="21"/>
                  </a:lnTo>
                  <a:lnTo>
                    <a:pt x="0" y="5"/>
                  </a:lnTo>
                  <a:lnTo>
                    <a:pt x="0" y="5"/>
                  </a:lnTo>
                  <a:close/>
                  <a:moveTo>
                    <a:pt x="22" y="73"/>
                  </a:moveTo>
                  <a:lnTo>
                    <a:pt x="38" y="68"/>
                  </a:lnTo>
                  <a:lnTo>
                    <a:pt x="43" y="85"/>
                  </a:lnTo>
                  <a:lnTo>
                    <a:pt x="26" y="90"/>
                  </a:lnTo>
                  <a:lnTo>
                    <a:pt x="22" y="73"/>
                  </a:lnTo>
                  <a:lnTo>
                    <a:pt x="22" y="73"/>
                  </a:lnTo>
                  <a:close/>
                  <a:moveTo>
                    <a:pt x="41" y="142"/>
                  </a:moveTo>
                  <a:lnTo>
                    <a:pt x="59" y="137"/>
                  </a:lnTo>
                  <a:lnTo>
                    <a:pt x="64" y="153"/>
                  </a:lnTo>
                  <a:lnTo>
                    <a:pt x="45" y="160"/>
                  </a:lnTo>
                  <a:lnTo>
                    <a:pt x="41" y="142"/>
                  </a:lnTo>
                  <a:lnTo>
                    <a:pt x="41" y="142"/>
                  </a:lnTo>
                  <a:close/>
                  <a:moveTo>
                    <a:pt x="62" y="212"/>
                  </a:moveTo>
                  <a:lnTo>
                    <a:pt x="78" y="205"/>
                  </a:lnTo>
                  <a:lnTo>
                    <a:pt x="83" y="224"/>
                  </a:lnTo>
                  <a:lnTo>
                    <a:pt x="67" y="229"/>
                  </a:lnTo>
                  <a:lnTo>
                    <a:pt x="62" y="212"/>
                  </a:lnTo>
                  <a:lnTo>
                    <a:pt x="62" y="212"/>
                  </a:lnTo>
                  <a:close/>
                  <a:moveTo>
                    <a:pt x="81" y="281"/>
                  </a:moveTo>
                  <a:lnTo>
                    <a:pt x="100" y="276"/>
                  </a:lnTo>
                  <a:lnTo>
                    <a:pt x="104" y="293"/>
                  </a:lnTo>
                  <a:lnTo>
                    <a:pt x="85" y="297"/>
                  </a:lnTo>
                  <a:lnTo>
                    <a:pt x="81" y="281"/>
                  </a:lnTo>
                  <a:lnTo>
                    <a:pt x="81" y="281"/>
                  </a:lnTo>
                  <a:close/>
                  <a:moveTo>
                    <a:pt x="102" y="349"/>
                  </a:moveTo>
                  <a:lnTo>
                    <a:pt x="118" y="345"/>
                  </a:lnTo>
                  <a:lnTo>
                    <a:pt x="123" y="361"/>
                  </a:lnTo>
                  <a:lnTo>
                    <a:pt x="107" y="366"/>
                  </a:lnTo>
                  <a:lnTo>
                    <a:pt x="102" y="3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1" name="Freeform 527"/>
            <p:cNvSpPr>
              <a:spLocks noEditPoints="1"/>
            </p:cNvSpPr>
            <p:nvPr/>
          </p:nvSpPr>
          <p:spPr bwMode="auto">
            <a:xfrm>
              <a:off x="3302000" y="1955800"/>
              <a:ext cx="1260475" cy="665163"/>
            </a:xfrm>
            <a:custGeom>
              <a:avLst/>
              <a:gdLst>
                <a:gd name="T0" fmla="*/ 26 w 794"/>
                <a:gd name="T1" fmla="*/ 409 h 419"/>
                <a:gd name="T2" fmla="*/ 0 w 794"/>
                <a:gd name="T3" fmla="*/ 402 h 419"/>
                <a:gd name="T4" fmla="*/ 17 w 794"/>
                <a:gd name="T5" fmla="*/ 395 h 419"/>
                <a:gd name="T6" fmla="*/ 794 w 794"/>
                <a:gd name="T7" fmla="*/ 17 h 419"/>
                <a:gd name="T8" fmla="*/ 770 w 794"/>
                <a:gd name="T9" fmla="*/ 10 h 419"/>
                <a:gd name="T10" fmla="*/ 787 w 794"/>
                <a:gd name="T11" fmla="*/ 0 h 419"/>
                <a:gd name="T12" fmla="*/ 730 w 794"/>
                <a:gd name="T13" fmla="*/ 50 h 419"/>
                <a:gd name="T14" fmla="*/ 707 w 794"/>
                <a:gd name="T15" fmla="*/ 41 h 419"/>
                <a:gd name="T16" fmla="*/ 723 w 794"/>
                <a:gd name="T17" fmla="*/ 34 h 419"/>
                <a:gd name="T18" fmla="*/ 666 w 794"/>
                <a:gd name="T19" fmla="*/ 83 h 419"/>
                <a:gd name="T20" fmla="*/ 643 w 794"/>
                <a:gd name="T21" fmla="*/ 74 h 419"/>
                <a:gd name="T22" fmla="*/ 657 w 794"/>
                <a:gd name="T23" fmla="*/ 67 h 419"/>
                <a:gd name="T24" fmla="*/ 603 w 794"/>
                <a:gd name="T25" fmla="*/ 116 h 419"/>
                <a:gd name="T26" fmla="*/ 579 w 794"/>
                <a:gd name="T27" fmla="*/ 107 h 419"/>
                <a:gd name="T28" fmla="*/ 593 w 794"/>
                <a:gd name="T29" fmla="*/ 100 h 419"/>
                <a:gd name="T30" fmla="*/ 539 w 794"/>
                <a:gd name="T31" fmla="*/ 147 h 419"/>
                <a:gd name="T32" fmla="*/ 513 w 794"/>
                <a:gd name="T33" fmla="*/ 140 h 419"/>
                <a:gd name="T34" fmla="*/ 529 w 794"/>
                <a:gd name="T35" fmla="*/ 133 h 419"/>
                <a:gd name="T36" fmla="*/ 473 w 794"/>
                <a:gd name="T37" fmla="*/ 180 h 419"/>
                <a:gd name="T38" fmla="*/ 449 w 794"/>
                <a:gd name="T39" fmla="*/ 173 h 419"/>
                <a:gd name="T40" fmla="*/ 466 w 794"/>
                <a:gd name="T41" fmla="*/ 166 h 419"/>
                <a:gd name="T42" fmla="*/ 409 w 794"/>
                <a:gd name="T43" fmla="*/ 213 h 419"/>
                <a:gd name="T44" fmla="*/ 385 w 794"/>
                <a:gd name="T45" fmla="*/ 206 h 419"/>
                <a:gd name="T46" fmla="*/ 402 w 794"/>
                <a:gd name="T47" fmla="*/ 197 h 419"/>
                <a:gd name="T48" fmla="*/ 345 w 794"/>
                <a:gd name="T49" fmla="*/ 246 h 419"/>
                <a:gd name="T50" fmla="*/ 322 w 794"/>
                <a:gd name="T51" fmla="*/ 239 h 419"/>
                <a:gd name="T52" fmla="*/ 338 w 794"/>
                <a:gd name="T53" fmla="*/ 230 h 419"/>
                <a:gd name="T54" fmla="*/ 281 w 794"/>
                <a:gd name="T55" fmla="*/ 279 h 419"/>
                <a:gd name="T56" fmla="*/ 258 w 794"/>
                <a:gd name="T57" fmla="*/ 272 h 419"/>
                <a:gd name="T58" fmla="*/ 274 w 794"/>
                <a:gd name="T59" fmla="*/ 263 h 419"/>
                <a:gd name="T60" fmla="*/ 218 w 794"/>
                <a:gd name="T61" fmla="*/ 312 h 419"/>
                <a:gd name="T62" fmla="*/ 194 w 794"/>
                <a:gd name="T63" fmla="*/ 305 h 419"/>
                <a:gd name="T64" fmla="*/ 211 w 794"/>
                <a:gd name="T65" fmla="*/ 296 h 419"/>
                <a:gd name="T66" fmla="*/ 154 w 794"/>
                <a:gd name="T67" fmla="*/ 345 h 419"/>
                <a:gd name="T68" fmla="*/ 130 w 794"/>
                <a:gd name="T69" fmla="*/ 336 h 419"/>
                <a:gd name="T70" fmla="*/ 144 w 794"/>
                <a:gd name="T71" fmla="*/ 329 h 419"/>
                <a:gd name="T72" fmla="*/ 90 w 794"/>
                <a:gd name="T73" fmla="*/ 378 h 419"/>
                <a:gd name="T74" fmla="*/ 64 w 794"/>
                <a:gd name="T75" fmla="*/ 36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4" h="419">
                  <a:moveTo>
                    <a:pt x="17" y="395"/>
                  </a:moveTo>
                  <a:lnTo>
                    <a:pt x="26" y="409"/>
                  </a:lnTo>
                  <a:lnTo>
                    <a:pt x="10" y="419"/>
                  </a:lnTo>
                  <a:lnTo>
                    <a:pt x="0" y="402"/>
                  </a:lnTo>
                  <a:lnTo>
                    <a:pt x="17" y="395"/>
                  </a:lnTo>
                  <a:lnTo>
                    <a:pt x="17" y="395"/>
                  </a:lnTo>
                  <a:close/>
                  <a:moveTo>
                    <a:pt x="787" y="0"/>
                  </a:moveTo>
                  <a:lnTo>
                    <a:pt x="794" y="17"/>
                  </a:lnTo>
                  <a:lnTo>
                    <a:pt x="777" y="24"/>
                  </a:lnTo>
                  <a:lnTo>
                    <a:pt x="770" y="10"/>
                  </a:lnTo>
                  <a:lnTo>
                    <a:pt x="787" y="0"/>
                  </a:lnTo>
                  <a:lnTo>
                    <a:pt x="787" y="0"/>
                  </a:lnTo>
                  <a:close/>
                  <a:moveTo>
                    <a:pt x="723" y="34"/>
                  </a:moveTo>
                  <a:lnTo>
                    <a:pt x="730" y="50"/>
                  </a:lnTo>
                  <a:lnTo>
                    <a:pt x="714" y="57"/>
                  </a:lnTo>
                  <a:lnTo>
                    <a:pt x="707" y="41"/>
                  </a:lnTo>
                  <a:lnTo>
                    <a:pt x="723" y="34"/>
                  </a:lnTo>
                  <a:lnTo>
                    <a:pt x="723" y="34"/>
                  </a:lnTo>
                  <a:close/>
                  <a:moveTo>
                    <a:pt x="657" y="67"/>
                  </a:moveTo>
                  <a:lnTo>
                    <a:pt x="666" y="83"/>
                  </a:lnTo>
                  <a:lnTo>
                    <a:pt x="650" y="90"/>
                  </a:lnTo>
                  <a:lnTo>
                    <a:pt x="643" y="74"/>
                  </a:lnTo>
                  <a:lnTo>
                    <a:pt x="657" y="67"/>
                  </a:lnTo>
                  <a:lnTo>
                    <a:pt x="657" y="67"/>
                  </a:lnTo>
                  <a:close/>
                  <a:moveTo>
                    <a:pt x="593" y="100"/>
                  </a:moveTo>
                  <a:lnTo>
                    <a:pt x="603" y="116"/>
                  </a:lnTo>
                  <a:lnTo>
                    <a:pt x="586" y="123"/>
                  </a:lnTo>
                  <a:lnTo>
                    <a:pt x="579" y="107"/>
                  </a:lnTo>
                  <a:lnTo>
                    <a:pt x="593" y="100"/>
                  </a:lnTo>
                  <a:lnTo>
                    <a:pt x="593" y="100"/>
                  </a:lnTo>
                  <a:close/>
                  <a:moveTo>
                    <a:pt x="529" y="133"/>
                  </a:moveTo>
                  <a:lnTo>
                    <a:pt x="539" y="147"/>
                  </a:lnTo>
                  <a:lnTo>
                    <a:pt x="522" y="156"/>
                  </a:lnTo>
                  <a:lnTo>
                    <a:pt x="513" y="140"/>
                  </a:lnTo>
                  <a:lnTo>
                    <a:pt x="529" y="133"/>
                  </a:lnTo>
                  <a:lnTo>
                    <a:pt x="529" y="133"/>
                  </a:lnTo>
                  <a:close/>
                  <a:moveTo>
                    <a:pt x="466" y="166"/>
                  </a:moveTo>
                  <a:lnTo>
                    <a:pt x="473" y="180"/>
                  </a:lnTo>
                  <a:lnTo>
                    <a:pt x="459" y="189"/>
                  </a:lnTo>
                  <a:lnTo>
                    <a:pt x="449" y="173"/>
                  </a:lnTo>
                  <a:lnTo>
                    <a:pt x="466" y="166"/>
                  </a:lnTo>
                  <a:lnTo>
                    <a:pt x="466" y="166"/>
                  </a:lnTo>
                  <a:close/>
                  <a:moveTo>
                    <a:pt x="402" y="197"/>
                  </a:moveTo>
                  <a:lnTo>
                    <a:pt x="409" y="213"/>
                  </a:lnTo>
                  <a:lnTo>
                    <a:pt x="395" y="223"/>
                  </a:lnTo>
                  <a:lnTo>
                    <a:pt x="385" y="206"/>
                  </a:lnTo>
                  <a:lnTo>
                    <a:pt x="402" y="197"/>
                  </a:lnTo>
                  <a:lnTo>
                    <a:pt x="402" y="197"/>
                  </a:lnTo>
                  <a:close/>
                  <a:moveTo>
                    <a:pt x="338" y="230"/>
                  </a:moveTo>
                  <a:lnTo>
                    <a:pt x="345" y="246"/>
                  </a:lnTo>
                  <a:lnTo>
                    <a:pt x="329" y="256"/>
                  </a:lnTo>
                  <a:lnTo>
                    <a:pt x="322" y="239"/>
                  </a:lnTo>
                  <a:lnTo>
                    <a:pt x="338" y="230"/>
                  </a:lnTo>
                  <a:lnTo>
                    <a:pt x="338" y="230"/>
                  </a:lnTo>
                  <a:close/>
                  <a:moveTo>
                    <a:pt x="274" y="263"/>
                  </a:moveTo>
                  <a:lnTo>
                    <a:pt x="281" y="279"/>
                  </a:lnTo>
                  <a:lnTo>
                    <a:pt x="265" y="286"/>
                  </a:lnTo>
                  <a:lnTo>
                    <a:pt x="258" y="272"/>
                  </a:lnTo>
                  <a:lnTo>
                    <a:pt x="274" y="263"/>
                  </a:lnTo>
                  <a:lnTo>
                    <a:pt x="274" y="263"/>
                  </a:lnTo>
                  <a:close/>
                  <a:moveTo>
                    <a:pt x="211" y="296"/>
                  </a:moveTo>
                  <a:lnTo>
                    <a:pt x="218" y="312"/>
                  </a:lnTo>
                  <a:lnTo>
                    <a:pt x="201" y="319"/>
                  </a:lnTo>
                  <a:lnTo>
                    <a:pt x="194" y="305"/>
                  </a:lnTo>
                  <a:lnTo>
                    <a:pt x="211" y="296"/>
                  </a:lnTo>
                  <a:lnTo>
                    <a:pt x="211" y="296"/>
                  </a:lnTo>
                  <a:close/>
                  <a:moveTo>
                    <a:pt x="144" y="329"/>
                  </a:moveTo>
                  <a:lnTo>
                    <a:pt x="154" y="345"/>
                  </a:lnTo>
                  <a:lnTo>
                    <a:pt x="137" y="352"/>
                  </a:lnTo>
                  <a:lnTo>
                    <a:pt x="130" y="336"/>
                  </a:lnTo>
                  <a:lnTo>
                    <a:pt x="144" y="329"/>
                  </a:lnTo>
                  <a:lnTo>
                    <a:pt x="144" y="329"/>
                  </a:lnTo>
                  <a:close/>
                  <a:moveTo>
                    <a:pt x="81" y="362"/>
                  </a:moveTo>
                  <a:lnTo>
                    <a:pt x="90" y="378"/>
                  </a:lnTo>
                  <a:lnTo>
                    <a:pt x="74" y="386"/>
                  </a:lnTo>
                  <a:lnTo>
                    <a:pt x="64" y="369"/>
                  </a:lnTo>
                  <a:lnTo>
                    <a:pt x="81" y="36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2" name="Freeform 528"/>
            <p:cNvSpPr>
              <a:spLocks noEditPoints="1"/>
            </p:cNvSpPr>
            <p:nvPr/>
          </p:nvSpPr>
          <p:spPr bwMode="auto">
            <a:xfrm>
              <a:off x="4505325" y="2084388"/>
              <a:ext cx="225425" cy="1387475"/>
            </a:xfrm>
            <a:custGeom>
              <a:avLst/>
              <a:gdLst>
                <a:gd name="T0" fmla="*/ 22 w 142"/>
                <a:gd name="T1" fmla="*/ 857 h 874"/>
                <a:gd name="T2" fmla="*/ 0 w 142"/>
                <a:gd name="T3" fmla="*/ 871 h 874"/>
                <a:gd name="T4" fmla="*/ 3 w 142"/>
                <a:gd name="T5" fmla="*/ 855 h 874"/>
                <a:gd name="T6" fmla="*/ 142 w 142"/>
                <a:gd name="T7" fmla="*/ 2 h 874"/>
                <a:gd name="T8" fmla="*/ 123 w 142"/>
                <a:gd name="T9" fmla="*/ 16 h 874"/>
                <a:gd name="T10" fmla="*/ 126 w 142"/>
                <a:gd name="T11" fmla="*/ 0 h 874"/>
                <a:gd name="T12" fmla="*/ 133 w 142"/>
                <a:gd name="T13" fmla="*/ 73 h 874"/>
                <a:gd name="T14" fmla="*/ 112 w 142"/>
                <a:gd name="T15" fmla="*/ 87 h 874"/>
                <a:gd name="T16" fmla="*/ 114 w 142"/>
                <a:gd name="T17" fmla="*/ 71 h 874"/>
                <a:gd name="T18" fmla="*/ 123 w 142"/>
                <a:gd name="T19" fmla="*/ 144 h 874"/>
                <a:gd name="T20" fmla="*/ 102 w 142"/>
                <a:gd name="T21" fmla="*/ 158 h 874"/>
                <a:gd name="T22" fmla="*/ 104 w 142"/>
                <a:gd name="T23" fmla="*/ 142 h 874"/>
                <a:gd name="T24" fmla="*/ 112 w 142"/>
                <a:gd name="T25" fmla="*/ 215 h 874"/>
                <a:gd name="T26" fmla="*/ 93 w 142"/>
                <a:gd name="T27" fmla="*/ 231 h 874"/>
                <a:gd name="T28" fmla="*/ 95 w 142"/>
                <a:gd name="T29" fmla="*/ 212 h 874"/>
                <a:gd name="T30" fmla="*/ 102 w 142"/>
                <a:gd name="T31" fmla="*/ 286 h 874"/>
                <a:gd name="T32" fmla="*/ 83 w 142"/>
                <a:gd name="T33" fmla="*/ 302 h 874"/>
                <a:gd name="T34" fmla="*/ 86 w 142"/>
                <a:gd name="T35" fmla="*/ 283 h 874"/>
                <a:gd name="T36" fmla="*/ 93 w 142"/>
                <a:gd name="T37" fmla="*/ 359 h 874"/>
                <a:gd name="T38" fmla="*/ 71 w 142"/>
                <a:gd name="T39" fmla="*/ 373 h 874"/>
                <a:gd name="T40" fmla="*/ 74 w 142"/>
                <a:gd name="T41" fmla="*/ 354 h 874"/>
                <a:gd name="T42" fmla="*/ 83 w 142"/>
                <a:gd name="T43" fmla="*/ 430 h 874"/>
                <a:gd name="T44" fmla="*/ 62 w 142"/>
                <a:gd name="T45" fmla="*/ 444 h 874"/>
                <a:gd name="T46" fmla="*/ 64 w 142"/>
                <a:gd name="T47" fmla="*/ 427 h 874"/>
                <a:gd name="T48" fmla="*/ 71 w 142"/>
                <a:gd name="T49" fmla="*/ 501 h 874"/>
                <a:gd name="T50" fmla="*/ 52 w 142"/>
                <a:gd name="T51" fmla="*/ 515 h 874"/>
                <a:gd name="T52" fmla="*/ 55 w 142"/>
                <a:gd name="T53" fmla="*/ 498 h 874"/>
                <a:gd name="T54" fmla="*/ 62 w 142"/>
                <a:gd name="T55" fmla="*/ 571 h 874"/>
                <a:gd name="T56" fmla="*/ 41 w 142"/>
                <a:gd name="T57" fmla="*/ 588 h 874"/>
                <a:gd name="T58" fmla="*/ 45 w 142"/>
                <a:gd name="T59" fmla="*/ 569 h 874"/>
                <a:gd name="T60" fmla="*/ 52 w 142"/>
                <a:gd name="T61" fmla="*/ 642 h 874"/>
                <a:gd name="T62" fmla="*/ 31 w 142"/>
                <a:gd name="T63" fmla="*/ 659 h 874"/>
                <a:gd name="T64" fmla="*/ 34 w 142"/>
                <a:gd name="T65" fmla="*/ 640 h 874"/>
                <a:gd name="T66" fmla="*/ 43 w 142"/>
                <a:gd name="T67" fmla="*/ 713 h 874"/>
                <a:gd name="T68" fmla="*/ 22 w 142"/>
                <a:gd name="T69" fmla="*/ 730 h 874"/>
                <a:gd name="T70" fmla="*/ 24 w 142"/>
                <a:gd name="T71" fmla="*/ 711 h 874"/>
                <a:gd name="T72" fmla="*/ 31 w 142"/>
                <a:gd name="T73" fmla="*/ 786 h 874"/>
                <a:gd name="T74" fmla="*/ 12 w 142"/>
                <a:gd name="T75" fmla="*/ 801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874">
                  <a:moveTo>
                    <a:pt x="3" y="855"/>
                  </a:moveTo>
                  <a:lnTo>
                    <a:pt x="22" y="857"/>
                  </a:lnTo>
                  <a:lnTo>
                    <a:pt x="19" y="874"/>
                  </a:lnTo>
                  <a:lnTo>
                    <a:pt x="0" y="871"/>
                  </a:lnTo>
                  <a:lnTo>
                    <a:pt x="3" y="855"/>
                  </a:lnTo>
                  <a:lnTo>
                    <a:pt x="3" y="855"/>
                  </a:lnTo>
                  <a:close/>
                  <a:moveTo>
                    <a:pt x="126" y="0"/>
                  </a:moveTo>
                  <a:lnTo>
                    <a:pt x="142" y="2"/>
                  </a:lnTo>
                  <a:lnTo>
                    <a:pt x="140" y="19"/>
                  </a:lnTo>
                  <a:lnTo>
                    <a:pt x="123" y="16"/>
                  </a:lnTo>
                  <a:lnTo>
                    <a:pt x="126" y="0"/>
                  </a:lnTo>
                  <a:lnTo>
                    <a:pt x="126" y="0"/>
                  </a:lnTo>
                  <a:close/>
                  <a:moveTo>
                    <a:pt x="114" y="71"/>
                  </a:moveTo>
                  <a:lnTo>
                    <a:pt x="133" y="73"/>
                  </a:lnTo>
                  <a:lnTo>
                    <a:pt x="130" y="90"/>
                  </a:lnTo>
                  <a:lnTo>
                    <a:pt x="112" y="87"/>
                  </a:lnTo>
                  <a:lnTo>
                    <a:pt x="114" y="71"/>
                  </a:lnTo>
                  <a:lnTo>
                    <a:pt x="114" y="71"/>
                  </a:lnTo>
                  <a:close/>
                  <a:moveTo>
                    <a:pt x="104" y="142"/>
                  </a:moveTo>
                  <a:lnTo>
                    <a:pt x="123" y="144"/>
                  </a:lnTo>
                  <a:lnTo>
                    <a:pt x="121" y="163"/>
                  </a:lnTo>
                  <a:lnTo>
                    <a:pt x="102" y="158"/>
                  </a:lnTo>
                  <a:lnTo>
                    <a:pt x="104" y="142"/>
                  </a:lnTo>
                  <a:lnTo>
                    <a:pt x="104" y="142"/>
                  </a:lnTo>
                  <a:close/>
                  <a:moveTo>
                    <a:pt x="95" y="212"/>
                  </a:moveTo>
                  <a:lnTo>
                    <a:pt x="112" y="215"/>
                  </a:lnTo>
                  <a:lnTo>
                    <a:pt x="109" y="234"/>
                  </a:lnTo>
                  <a:lnTo>
                    <a:pt x="93" y="231"/>
                  </a:lnTo>
                  <a:lnTo>
                    <a:pt x="95" y="212"/>
                  </a:lnTo>
                  <a:lnTo>
                    <a:pt x="95" y="212"/>
                  </a:lnTo>
                  <a:close/>
                  <a:moveTo>
                    <a:pt x="86" y="283"/>
                  </a:moveTo>
                  <a:lnTo>
                    <a:pt x="102" y="286"/>
                  </a:lnTo>
                  <a:lnTo>
                    <a:pt x="100" y="305"/>
                  </a:lnTo>
                  <a:lnTo>
                    <a:pt x="83" y="302"/>
                  </a:lnTo>
                  <a:lnTo>
                    <a:pt x="86" y="283"/>
                  </a:lnTo>
                  <a:lnTo>
                    <a:pt x="86" y="283"/>
                  </a:lnTo>
                  <a:close/>
                  <a:moveTo>
                    <a:pt x="74" y="354"/>
                  </a:moveTo>
                  <a:lnTo>
                    <a:pt x="93" y="359"/>
                  </a:lnTo>
                  <a:lnTo>
                    <a:pt x="90" y="375"/>
                  </a:lnTo>
                  <a:lnTo>
                    <a:pt x="71" y="373"/>
                  </a:lnTo>
                  <a:lnTo>
                    <a:pt x="74" y="354"/>
                  </a:lnTo>
                  <a:lnTo>
                    <a:pt x="74" y="354"/>
                  </a:lnTo>
                  <a:close/>
                  <a:moveTo>
                    <a:pt x="64" y="427"/>
                  </a:moveTo>
                  <a:lnTo>
                    <a:pt x="83" y="430"/>
                  </a:lnTo>
                  <a:lnTo>
                    <a:pt x="81" y="446"/>
                  </a:lnTo>
                  <a:lnTo>
                    <a:pt x="62" y="444"/>
                  </a:lnTo>
                  <a:lnTo>
                    <a:pt x="64" y="427"/>
                  </a:lnTo>
                  <a:lnTo>
                    <a:pt x="64" y="427"/>
                  </a:lnTo>
                  <a:close/>
                  <a:moveTo>
                    <a:pt x="55" y="498"/>
                  </a:moveTo>
                  <a:lnTo>
                    <a:pt x="71" y="501"/>
                  </a:lnTo>
                  <a:lnTo>
                    <a:pt x="69" y="517"/>
                  </a:lnTo>
                  <a:lnTo>
                    <a:pt x="52" y="515"/>
                  </a:lnTo>
                  <a:lnTo>
                    <a:pt x="55" y="498"/>
                  </a:lnTo>
                  <a:lnTo>
                    <a:pt x="55" y="498"/>
                  </a:lnTo>
                  <a:close/>
                  <a:moveTo>
                    <a:pt x="45" y="569"/>
                  </a:moveTo>
                  <a:lnTo>
                    <a:pt x="62" y="571"/>
                  </a:lnTo>
                  <a:lnTo>
                    <a:pt x="60" y="590"/>
                  </a:lnTo>
                  <a:lnTo>
                    <a:pt x="41" y="588"/>
                  </a:lnTo>
                  <a:lnTo>
                    <a:pt x="45" y="569"/>
                  </a:lnTo>
                  <a:lnTo>
                    <a:pt x="45" y="569"/>
                  </a:lnTo>
                  <a:close/>
                  <a:moveTo>
                    <a:pt x="34" y="640"/>
                  </a:moveTo>
                  <a:lnTo>
                    <a:pt x="52" y="642"/>
                  </a:lnTo>
                  <a:lnTo>
                    <a:pt x="50" y="661"/>
                  </a:lnTo>
                  <a:lnTo>
                    <a:pt x="31" y="659"/>
                  </a:lnTo>
                  <a:lnTo>
                    <a:pt x="34" y="640"/>
                  </a:lnTo>
                  <a:lnTo>
                    <a:pt x="34" y="640"/>
                  </a:lnTo>
                  <a:close/>
                  <a:moveTo>
                    <a:pt x="24" y="711"/>
                  </a:moveTo>
                  <a:lnTo>
                    <a:pt x="43" y="713"/>
                  </a:lnTo>
                  <a:lnTo>
                    <a:pt x="38" y="732"/>
                  </a:lnTo>
                  <a:lnTo>
                    <a:pt x="22" y="730"/>
                  </a:lnTo>
                  <a:lnTo>
                    <a:pt x="24" y="711"/>
                  </a:lnTo>
                  <a:lnTo>
                    <a:pt x="24" y="711"/>
                  </a:lnTo>
                  <a:close/>
                  <a:moveTo>
                    <a:pt x="15" y="784"/>
                  </a:moveTo>
                  <a:lnTo>
                    <a:pt x="31" y="786"/>
                  </a:lnTo>
                  <a:lnTo>
                    <a:pt x="29" y="803"/>
                  </a:lnTo>
                  <a:lnTo>
                    <a:pt x="12" y="801"/>
                  </a:lnTo>
                  <a:lnTo>
                    <a:pt x="15" y="78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3" name="Freeform 529"/>
            <p:cNvSpPr>
              <a:spLocks noEditPoints="1"/>
            </p:cNvSpPr>
            <p:nvPr/>
          </p:nvSpPr>
          <p:spPr bwMode="auto">
            <a:xfrm>
              <a:off x="4487863" y="1093788"/>
              <a:ext cx="209550" cy="577850"/>
            </a:xfrm>
            <a:custGeom>
              <a:avLst/>
              <a:gdLst>
                <a:gd name="T0" fmla="*/ 21 w 132"/>
                <a:gd name="T1" fmla="*/ 17 h 364"/>
                <a:gd name="T2" fmla="*/ 4 w 132"/>
                <a:gd name="T3" fmla="*/ 21 h 364"/>
                <a:gd name="T4" fmla="*/ 0 w 132"/>
                <a:gd name="T5" fmla="*/ 5 h 364"/>
                <a:gd name="T6" fmla="*/ 16 w 132"/>
                <a:gd name="T7" fmla="*/ 0 h 364"/>
                <a:gd name="T8" fmla="*/ 21 w 132"/>
                <a:gd name="T9" fmla="*/ 17 h 364"/>
                <a:gd name="T10" fmla="*/ 21 w 132"/>
                <a:gd name="T11" fmla="*/ 17 h 364"/>
                <a:gd name="T12" fmla="*/ 132 w 132"/>
                <a:gd name="T13" fmla="*/ 359 h 364"/>
                <a:gd name="T14" fmla="*/ 115 w 132"/>
                <a:gd name="T15" fmla="*/ 364 h 364"/>
                <a:gd name="T16" fmla="*/ 108 w 132"/>
                <a:gd name="T17" fmla="*/ 347 h 364"/>
                <a:gd name="T18" fmla="*/ 127 w 132"/>
                <a:gd name="T19" fmla="*/ 343 h 364"/>
                <a:gd name="T20" fmla="*/ 132 w 132"/>
                <a:gd name="T21" fmla="*/ 359 h 364"/>
                <a:gd name="T22" fmla="*/ 132 w 132"/>
                <a:gd name="T23" fmla="*/ 359 h 364"/>
                <a:gd name="T24" fmla="*/ 111 w 132"/>
                <a:gd name="T25" fmla="*/ 291 h 364"/>
                <a:gd name="T26" fmla="*/ 92 w 132"/>
                <a:gd name="T27" fmla="*/ 295 h 364"/>
                <a:gd name="T28" fmla="*/ 87 w 132"/>
                <a:gd name="T29" fmla="*/ 279 h 364"/>
                <a:gd name="T30" fmla="*/ 104 w 132"/>
                <a:gd name="T31" fmla="*/ 274 h 364"/>
                <a:gd name="T32" fmla="*/ 111 w 132"/>
                <a:gd name="T33" fmla="*/ 291 h 364"/>
                <a:gd name="T34" fmla="*/ 111 w 132"/>
                <a:gd name="T35" fmla="*/ 291 h 364"/>
                <a:gd name="T36" fmla="*/ 87 w 132"/>
                <a:gd name="T37" fmla="*/ 222 h 364"/>
                <a:gd name="T38" fmla="*/ 71 w 132"/>
                <a:gd name="T39" fmla="*/ 227 h 364"/>
                <a:gd name="T40" fmla="*/ 66 w 132"/>
                <a:gd name="T41" fmla="*/ 210 h 364"/>
                <a:gd name="T42" fmla="*/ 82 w 132"/>
                <a:gd name="T43" fmla="*/ 206 h 364"/>
                <a:gd name="T44" fmla="*/ 87 w 132"/>
                <a:gd name="T45" fmla="*/ 222 h 364"/>
                <a:gd name="T46" fmla="*/ 87 w 132"/>
                <a:gd name="T47" fmla="*/ 222 h 364"/>
                <a:gd name="T48" fmla="*/ 66 w 132"/>
                <a:gd name="T49" fmla="*/ 154 h 364"/>
                <a:gd name="T50" fmla="*/ 49 w 132"/>
                <a:gd name="T51" fmla="*/ 158 h 364"/>
                <a:gd name="T52" fmla="*/ 42 w 132"/>
                <a:gd name="T53" fmla="*/ 142 h 364"/>
                <a:gd name="T54" fmla="*/ 61 w 132"/>
                <a:gd name="T55" fmla="*/ 137 h 364"/>
                <a:gd name="T56" fmla="*/ 66 w 132"/>
                <a:gd name="T57" fmla="*/ 154 h 364"/>
                <a:gd name="T58" fmla="*/ 66 w 132"/>
                <a:gd name="T59" fmla="*/ 154 h 364"/>
                <a:gd name="T60" fmla="*/ 45 w 132"/>
                <a:gd name="T61" fmla="*/ 85 h 364"/>
                <a:gd name="T62" fmla="*/ 26 w 132"/>
                <a:gd name="T63" fmla="*/ 90 h 364"/>
                <a:gd name="T64" fmla="*/ 21 w 132"/>
                <a:gd name="T65" fmla="*/ 73 h 364"/>
                <a:gd name="T66" fmla="*/ 37 w 132"/>
                <a:gd name="T67" fmla="*/ 69 h 364"/>
                <a:gd name="T68" fmla="*/ 45 w 132"/>
                <a:gd name="T69" fmla="*/ 85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2" h="364">
                  <a:moveTo>
                    <a:pt x="21" y="17"/>
                  </a:moveTo>
                  <a:lnTo>
                    <a:pt x="4" y="21"/>
                  </a:lnTo>
                  <a:lnTo>
                    <a:pt x="0" y="5"/>
                  </a:lnTo>
                  <a:lnTo>
                    <a:pt x="16" y="0"/>
                  </a:lnTo>
                  <a:lnTo>
                    <a:pt x="21" y="17"/>
                  </a:lnTo>
                  <a:lnTo>
                    <a:pt x="21" y="17"/>
                  </a:lnTo>
                  <a:close/>
                  <a:moveTo>
                    <a:pt x="132" y="359"/>
                  </a:moveTo>
                  <a:lnTo>
                    <a:pt x="115" y="364"/>
                  </a:lnTo>
                  <a:lnTo>
                    <a:pt x="108" y="347"/>
                  </a:lnTo>
                  <a:lnTo>
                    <a:pt x="127" y="343"/>
                  </a:lnTo>
                  <a:lnTo>
                    <a:pt x="132" y="359"/>
                  </a:lnTo>
                  <a:lnTo>
                    <a:pt x="132" y="359"/>
                  </a:lnTo>
                  <a:close/>
                  <a:moveTo>
                    <a:pt x="111" y="291"/>
                  </a:moveTo>
                  <a:lnTo>
                    <a:pt x="92" y="295"/>
                  </a:lnTo>
                  <a:lnTo>
                    <a:pt x="87" y="279"/>
                  </a:lnTo>
                  <a:lnTo>
                    <a:pt x="104" y="274"/>
                  </a:lnTo>
                  <a:lnTo>
                    <a:pt x="111" y="291"/>
                  </a:lnTo>
                  <a:lnTo>
                    <a:pt x="111" y="291"/>
                  </a:lnTo>
                  <a:close/>
                  <a:moveTo>
                    <a:pt x="87" y="222"/>
                  </a:moveTo>
                  <a:lnTo>
                    <a:pt x="71" y="227"/>
                  </a:lnTo>
                  <a:lnTo>
                    <a:pt x="66" y="210"/>
                  </a:lnTo>
                  <a:lnTo>
                    <a:pt x="82" y="206"/>
                  </a:lnTo>
                  <a:lnTo>
                    <a:pt x="87" y="222"/>
                  </a:lnTo>
                  <a:lnTo>
                    <a:pt x="87" y="222"/>
                  </a:lnTo>
                  <a:close/>
                  <a:moveTo>
                    <a:pt x="66" y="154"/>
                  </a:moveTo>
                  <a:lnTo>
                    <a:pt x="49" y="158"/>
                  </a:lnTo>
                  <a:lnTo>
                    <a:pt x="42" y="142"/>
                  </a:lnTo>
                  <a:lnTo>
                    <a:pt x="61" y="137"/>
                  </a:lnTo>
                  <a:lnTo>
                    <a:pt x="66" y="154"/>
                  </a:lnTo>
                  <a:lnTo>
                    <a:pt x="66" y="154"/>
                  </a:lnTo>
                  <a:close/>
                  <a:moveTo>
                    <a:pt x="45" y="85"/>
                  </a:moveTo>
                  <a:lnTo>
                    <a:pt x="26" y="90"/>
                  </a:lnTo>
                  <a:lnTo>
                    <a:pt x="21" y="73"/>
                  </a:lnTo>
                  <a:lnTo>
                    <a:pt x="37" y="69"/>
                  </a:lnTo>
                  <a:lnTo>
                    <a:pt x="45" y="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4" name="Freeform 530"/>
            <p:cNvSpPr>
              <a:spLocks noEditPoints="1"/>
            </p:cNvSpPr>
            <p:nvPr/>
          </p:nvSpPr>
          <p:spPr bwMode="auto">
            <a:xfrm>
              <a:off x="2489200" y="2597150"/>
              <a:ext cx="831850" cy="698500"/>
            </a:xfrm>
            <a:custGeom>
              <a:avLst/>
              <a:gdLst>
                <a:gd name="T0" fmla="*/ 510 w 524"/>
                <a:gd name="T1" fmla="*/ 24 h 440"/>
                <a:gd name="T2" fmla="*/ 498 w 524"/>
                <a:gd name="T3" fmla="*/ 12 h 440"/>
                <a:gd name="T4" fmla="*/ 512 w 524"/>
                <a:gd name="T5" fmla="*/ 0 h 440"/>
                <a:gd name="T6" fmla="*/ 524 w 524"/>
                <a:gd name="T7" fmla="*/ 15 h 440"/>
                <a:gd name="T8" fmla="*/ 510 w 524"/>
                <a:gd name="T9" fmla="*/ 24 h 440"/>
                <a:gd name="T10" fmla="*/ 510 w 524"/>
                <a:gd name="T11" fmla="*/ 24 h 440"/>
                <a:gd name="T12" fmla="*/ 12 w 524"/>
                <a:gd name="T13" fmla="*/ 440 h 440"/>
                <a:gd name="T14" fmla="*/ 0 w 524"/>
                <a:gd name="T15" fmla="*/ 426 h 440"/>
                <a:gd name="T16" fmla="*/ 14 w 524"/>
                <a:gd name="T17" fmla="*/ 414 h 440"/>
                <a:gd name="T18" fmla="*/ 26 w 524"/>
                <a:gd name="T19" fmla="*/ 428 h 440"/>
                <a:gd name="T20" fmla="*/ 12 w 524"/>
                <a:gd name="T21" fmla="*/ 440 h 440"/>
                <a:gd name="T22" fmla="*/ 12 w 524"/>
                <a:gd name="T23" fmla="*/ 440 h 440"/>
                <a:gd name="T24" fmla="*/ 66 w 524"/>
                <a:gd name="T25" fmla="*/ 393 h 440"/>
                <a:gd name="T26" fmla="*/ 54 w 524"/>
                <a:gd name="T27" fmla="*/ 378 h 440"/>
                <a:gd name="T28" fmla="*/ 68 w 524"/>
                <a:gd name="T29" fmla="*/ 369 h 440"/>
                <a:gd name="T30" fmla="*/ 80 w 524"/>
                <a:gd name="T31" fmla="*/ 381 h 440"/>
                <a:gd name="T32" fmla="*/ 66 w 524"/>
                <a:gd name="T33" fmla="*/ 393 h 440"/>
                <a:gd name="T34" fmla="*/ 66 w 524"/>
                <a:gd name="T35" fmla="*/ 393 h 440"/>
                <a:gd name="T36" fmla="*/ 123 w 524"/>
                <a:gd name="T37" fmla="*/ 348 h 440"/>
                <a:gd name="T38" fmla="*/ 111 w 524"/>
                <a:gd name="T39" fmla="*/ 333 h 440"/>
                <a:gd name="T40" fmla="*/ 125 w 524"/>
                <a:gd name="T41" fmla="*/ 322 h 440"/>
                <a:gd name="T42" fmla="*/ 134 w 524"/>
                <a:gd name="T43" fmla="*/ 336 h 440"/>
                <a:gd name="T44" fmla="*/ 123 w 524"/>
                <a:gd name="T45" fmla="*/ 348 h 440"/>
                <a:gd name="T46" fmla="*/ 123 w 524"/>
                <a:gd name="T47" fmla="*/ 348 h 440"/>
                <a:gd name="T48" fmla="*/ 177 w 524"/>
                <a:gd name="T49" fmla="*/ 300 h 440"/>
                <a:gd name="T50" fmla="*/ 165 w 524"/>
                <a:gd name="T51" fmla="*/ 286 h 440"/>
                <a:gd name="T52" fmla="*/ 179 w 524"/>
                <a:gd name="T53" fmla="*/ 277 h 440"/>
                <a:gd name="T54" fmla="*/ 191 w 524"/>
                <a:gd name="T55" fmla="*/ 289 h 440"/>
                <a:gd name="T56" fmla="*/ 177 w 524"/>
                <a:gd name="T57" fmla="*/ 300 h 440"/>
                <a:gd name="T58" fmla="*/ 177 w 524"/>
                <a:gd name="T59" fmla="*/ 300 h 440"/>
                <a:gd name="T60" fmla="*/ 231 w 524"/>
                <a:gd name="T61" fmla="*/ 256 h 440"/>
                <a:gd name="T62" fmla="*/ 222 w 524"/>
                <a:gd name="T63" fmla="*/ 241 h 440"/>
                <a:gd name="T64" fmla="*/ 234 w 524"/>
                <a:gd name="T65" fmla="*/ 230 h 440"/>
                <a:gd name="T66" fmla="*/ 245 w 524"/>
                <a:gd name="T67" fmla="*/ 244 h 440"/>
                <a:gd name="T68" fmla="*/ 231 w 524"/>
                <a:gd name="T69" fmla="*/ 256 h 440"/>
                <a:gd name="T70" fmla="*/ 231 w 524"/>
                <a:gd name="T71" fmla="*/ 256 h 440"/>
                <a:gd name="T72" fmla="*/ 288 w 524"/>
                <a:gd name="T73" fmla="*/ 208 h 440"/>
                <a:gd name="T74" fmla="*/ 276 w 524"/>
                <a:gd name="T75" fmla="*/ 194 h 440"/>
                <a:gd name="T76" fmla="*/ 290 w 524"/>
                <a:gd name="T77" fmla="*/ 185 h 440"/>
                <a:gd name="T78" fmla="*/ 302 w 524"/>
                <a:gd name="T79" fmla="*/ 196 h 440"/>
                <a:gd name="T80" fmla="*/ 288 w 524"/>
                <a:gd name="T81" fmla="*/ 208 h 440"/>
                <a:gd name="T82" fmla="*/ 288 w 524"/>
                <a:gd name="T83" fmla="*/ 208 h 440"/>
                <a:gd name="T84" fmla="*/ 342 w 524"/>
                <a:gd name="T85" fmla="*/ 163 h 440"/>
                <a:gd name="T86" fmla="*/ 330 w 524"/>
                <a:gd name="T87" fmla="*/ 149 h 440"/>
                <a:gd name="T88" fmla="*/ 345 w 524"/>
                <a:gd name="T89" fmla="*/ 137 h 440"/>
                <a:gd name="T90" fmla="*/ 356 w 524"/>
                <a:gd name="T91" fmla="*/ 152 h 440"/>
                <a:gd name="T92" fmla="*/ 342 w 524"/>
                <a:gd name="T93" fmla="*/ 163 h 440"/>
                <a:gd name="T94" fmla="*/ 342 w 524"/>
                <a:gd name="T95" fmla="*/ 163 h 440"/>
                <a:gd name="T96" fmla="*/ 399 w 524"/>
                <a:gd name="T97" fmla="*/ 116 h 440"/>
                <a:gd name="T98" fmla="*/ 387 w 524"/>
                <a:gd name="T99" fmla="*/ 102 h 440"/>
                <a:gd name="T100" fmla="*/ 401 w 524"/>
                <a:gd name="T101" fmla="*/ 93 h 440"/>
                <a:gd name="T102" fmla="*/ 413 w 524"/>
                <a:gd name="T103" fmla="*/ 104 h 440"/>
                <a:gd name="T104" fmla="*/ 399 w 524"/>
                <a:gd name="T105" fmla="*/ 116 h 440"/>
                <a:gd name="T106" fmla="*/ 399 w 524"/>
                <a:gd name="T107" fmla="*/ 116 h 440"/>
                <a:gd name="T108" fmla="*/ 453 w 524"/>
                <a:gd name="T109" fmla="*/ 71 h 440"/>
                <a:gd name="T110" fmla="*/ 441 w 524"/>
                <a:gd name="T111" fmla="*/ 57 h 440"/>
                <a:gd name="T112" fmla="*/ 456 w 524"/>
                <a:gd name="T113" fmla="*/ 45 h 440"/>
                <a:gd name="T114" fmla="*/ 467 w 524"/>
                <a:gd name="T115" fmla="*/ 59 h 440"/>
                <a:gd name="T116" fmla="*/ 453 w 524"/>
                <a:gd name="T117" fmla="*/ 7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4" h="440">
                  <a:moveTo>
                    <a:pt x="510" y="24"/>
                  </a:moveTo>
                  <a:lnTo>
                    <a:pt x="498" y="12"/>
                  </a:lnTo>
                  <a:lnTo>
                    <a:pt x="512" y="0"/>
                  </a:lnTo>
                  <a:lnTo>
                    <a:pt x="524" y="15"/>
                  </a:lnTo>
                  <a:lnTo>
                    <a:pt x="510" y="24"/>
                  </a:lnTo>
                  <a:lnTo>
                    <a:pt x="510" y="24"/>
                  </a:lnTo>
                  <a:close/>
                  <a:moveTo>
                    <a:pt x="12" y="440"/>
                  </a:moveTo>
                  <a:lnTo>
                    <a:pt x="0" y="426"/>
                  </a:lnTo>
                  <a:lnTo>
                    <a:pt x="14" y="414"/>
                  </a:lnTo>
                  <a:lnTo>
                    <a:pt x="26" y="428"/>
                  </a:lnTo>
                  <a:lnTo>
                    <a:pt x="12" y="440"/>
                  </a:lnTo>
                  <a:lnTo>
                    <a:pt x="12" y="440"/>
                  </a:lnTo>
                  <a:close/>
                  <a:moveTo>
                    <a:pt x="66" y="393"/>
                  </a:moveTo>
                  <a:lnTo>
                    <a:pt x="54" y="378"/>
                  </a:lnTo>
                  <a:lnTo>
                    <a:pt x="68" y="369"/>
                  </a:lnTo>
                  <a:lnTo>
                    <a:pt x="80" y="381"/>
                  </a:lnTo>
                  <a:lnTo>
                    <a:pt x="66" y="393"/>
                  </a:lnTo>
                  <a:lnTo>
                    <a:pt x="66" y="393"/>
                  </a:lnTo>
                  <a:close/>
                  <a:moveTo>
                    <a:pt x="123" y="348"/>
                  </a:moveTo>
                  <a:lnTo>
                    <a:pt x="111" y="333"/>
                  </a:lnTo>
                  <a:lnTo>
                    <a:pt x="125" y="322"/>
                  </a:lnTo>
                  <a:lnTo>
                    <a:pt x="134" y="336"/>
                  </a:lnTo>
                  <a:lnTo>
                    <a:pt x="123" y="348"/>
                  </a:lnTo>
                  <a:lnTo>
                    <a:pt x="123" y="348"/>
                  </a:lnTo>
                  <a:close/>
                  <a:moveTo>
                    <a:pt x="177" y="300"/>
                  </a:moveTo>
                  <a:lnTo>
                    <a:pt x="165" y="286"/>
                  </a:lnTo>
                  <a:lnTo>
                    <a:pt x="179" y="277"/>
                  </a:lnTo>
                  <a:lnTo>
                    <a:pt x="191" y="289"/>
                  </a:lnTo>
                  <a:lnTo>
                    <a:pt x="177" y="300"/>
                  </a:lnTo>
                  <a:lnTo>
                    <a:pt x="177" y="300"/>
                  </a:lnTo>
                  <a:close/>
                  <a:moveTo>
                    <a:pt x="231" y="256"/>
                  </a:moveTo>
                  <a:lnTo>
                    <a:pt x="222" y="241"/>
                  </a:lnTo>
                  <a:lnTo>
                    <a:pt x="234" y="230"/>
                  </a:lnTo>
                  <a:lnTo>
                    <a:pt x="245" y="244"/>
                  </a:lnTo>
                  <a:lnTo>
                    <a:pt x="231" y="256"/>
                  </a:lnTo>
                  <a:lnTo>
                    <a:pt x="231" y="256"/>
                  </a:lnTo>
                  <a:close/>
                  <a:moveTo>
                    <a:pt x="288" y="208"/>
                  </a:moveTo>
                  <a:lnTo>
                    <a:pt x="276" y="194"/>
                  </a:lnTo>
                  <a:lnTo>
                    <a:pt x="290" y="185"/>
                  </a:lnTo>
                  <a:lnTo>
                    <a:pt x="302" y="196"/>
                  </a:lnTo>
                  <a:lnTo>
                    <a:pt x="288" y="208"/>
                  </a:lnTo>
                  <a:lnTo>
                    <a:pt x="288" y="208"/>
                  </a:lnTo>
                  <a:close/>
                  <a:moveTo>
                    <a:pt x="342" y="163"/>
                  </a:moveTo>
                  <a:lnTo>
                    <a:pt x="330" y="149"/>
                  </a:lnTo>
                  <a:lnTo>
                    <a:pt x="345" y="137"/>
                  </a:lnTo>
                  <a:lnTo>
                    <a:pt x="356" y="152"/>
                  </a:lnTo>
                  <a:lnTo>
                    <a:pt x="342" y="163"/>
                  </a:lnTo>
                  <a:lnTo>
                    <a:pt x="342" y="163"/>
                  </a:lnTo>
                  <a:close/>
                  <a:moveTo>
                    <a:pt x="399" y="116"/>
                  </a:moveTo>
                  <a:lnTo>
                    <a:pt x="387" y="102"/>
                  </a:lnTo>
                  <a:lnTo>
                    <a:pt x="401" y="93"/>
                  </a:lnTo>
                  <a:lnTo>
                    <a:pt x="413" y="104"/>
                  </a:lnTo>
                  <a:lnTo>
                    <a:pt x="399" y="116"/>
                  </a:lnTo>
                  <a:lnTo>
                    <a:pt x="399" y="116"/>
                  </a:lnTo>
                  <a:close/>
                  <a:moveTo>
                    <a:pt x="453" y="71"/>
                  </a:moveTo>
                  <a:lnTo>
                    <a:pt x="441" y="57"/>
                  </a:lnTo>
                  <a:lnTo>
                    <a:pt x="456" y="45"/>
                  </a:lnTo>
                  <a:lnTo>
                    <a:pt x="467" y="59"/>
                  </a:lnTo>
                  <a:lnTo>
                    <a:pt x="453" y="7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5" name="Freeform 531"/>
            <p:cNvSpPr>
              <a:spLocks noEditPoints="1"/>
            </p:cNvSpPr>
            <p:nvPr/>
          </p:nvSpPr>
          <p:spPr bwMode="auto">
            <a:xfrm>
              <a:off x="7599363" y="3284538"/>
              <a:ext cx="1090613" cy="479425"/>
            </a:xfrm>
            <a:custGeom>
              <a:avLst/>
              <a:gdLst>
                <a:gd name="T0" fmla="*/ 17 w 687"/>
                <a:gd name="T1" fmla="*/ 23 h 302"/>
                <a:gd name="T2" fmla="*/ 7 w 687"/>
                <a:gd name="T3" fmla="*/ 0 h 302"/>
                <a:gd name="T4" fmla="*/ 24 w 687"/>
                <a:gd name="T5" fmla="*/ 7 h 302"/>
                <a:gd name="T6" fmla="*/ 680 w 687"/>
                <a:gd name="T7" fmla="*/ 302 h 302"/>
                <a:gd name="T8" fmla="*/ 671 w 687"/>
                <a:gd name="T9" fmla="*/ 278 h 302"/>
                <a:gd name="T10" fmla="*/ 687 w 687"/>
                <a:gd name="T11" fmla="*/ 286 h 302"/>
                <a:gd name="T12" fmla="*/ 614 w 687"/>
                <a:gd name="T13" fmla="*/ 274 h 302"/>
                <a:gd name="T14" fmla="*/ 605 w 687"/>
                <a:gd name="T15" fmla="*/ 250 h 302"/>
                <a:gd name="T16" fmla="*/ 621 w 687"/>
                <a:gd name="T17" fmla="*/ 257 h 302"/>
                <a:gd name="T18" fmla="*/ 548 w 687"/>
                <a:gd name="T19" fmla="*/ 245 h 302"/>
                <a:gd name="T20" fmla="*/ 539 w 687"/>
                <a:gd name="T21" fmla="*/ 222 h 302"/>
                <a:gd name="T22" fmla="*/ 555 w 687"/>
                <a:gd name="T23" fmla="*/ 229 h 302"/>
                <a:gd name="T24" fmla="*/ 482 w 687"/>
                <a:gd name="T25" fmla="*/ 217 h 302"/>
                <a:gd name="T26" fmla="*/ 473 w 687"/>
                <a:gd name="T27" fmla="*/ 193 h 302"/>
                <a:gd name="T28" fmla="*/ 489 w 687"/>
                <a:gd name="T29" fmla="*/ 200 h 302"/>
                <a:gd name="T30" fmla="*/ 416 w 687"/>
                <a:gd name="T31" fmla="*/ 191 h 302"/>
                <a:gd name="T32" fmla="*/ 406 w 687"/>
                <a:gd name="T33" fmla="*/ 167 h 302"/>
                <a:gd name="T34" fmla="*/ 423 w 687"/>
                <a:gd name="T35" fmla="*/ 174 h 302"/>
                <a:gd name="T36" fmla="*/ 350 w 687"/>
                <a:gd name="T37" fmla="*/ 163 h 302"/>
                <a:gd name="T38" fmla="*/ 340 w 687"/>
                <a:gd name="T39" fmla="*/ 139 h 302"/>
                <a:gd name="T40" fmla="*/ 357 w 687"/>
                <a:gd name="T41" fmla="*/ 146 h 302"/>
                <a:gd name="T42" fmla="*/ 284 w 687"/>
                <a:gd name="T43" fmla="*/ 134 h 302"/>
                <a:gd name="T44" fmla="*/ 274 w 687"/>
                <a:gd name="T45" fmla="*/ 111 h 302"/>
                <a:gd name="T46" fmla="*/ 291 w 687"/>
                <a:gd name="T47" fmla="*/ 118 h 302"/>
                <a:gd name="T48" fmla="*/ 217 w 687"/>
                <a:gd name="T49" fmla="*/ 106 h 302"/>
                <a:gd name="T50" fmla="*/ 208 w 687"/>
                <a:gd name="T51" fmla="*/ 82 h 302"/>
                <a:gd name="T52" fmla="*/ 225 w 687"/>
                <a:gd name="T53" fmla="*/ 89 h 302"/>
                <a:gd name="T54" fmla="*/ 149 w 687"/>
                <a:gd name="T55" fmla="*/ 78 h 302"/>
                <a:gd name="T56" fmla="*/ 139 w 687"/>
                <a:gd name="T57" fmla="*/ 54 h 302"/>
                <a:gd name="T58" fmla="*/ 156 w 687"/>
                <a:gd name="T59" fmla="*/ 61 h 302"/>
                <a:gd name="T60" fmla="*/ 83 w 687"/>
                <a:gd name="T61" fmla="*/ 52 h 302"/>
                <a:gd name="T62" fmla="*/ 73 w 687"/>
                <a:gd name="T63" fmla="*/ 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7" h="302">
                  <a:moveTo>
                    <a:pt x="24" y="7"/>
                  </a:moveTo>
                  <a:lnTo>
                    <a:pt x="17" y="23"/>
                  </a:lnTo>
                  <a:lnTo>
                    <a:pt x="0" y="16"/>
                  </a:lnTo>
                  <a:lnTo>
                    <a:pt x="7" y="0"/>
                  </a:lnTo>
                  <a:lnTo>
                    <a:pt x="24" y="7"/>
                  </a:lnTo>
                  <a:lnTo>
                    <a:pt x="24" y="7"/>
                  </a:lnTo>
                  <a:close/>
                  <a:moveTo>
                    <a:pt x="687" y="286"/>
                  </a:moveTo>
                  <a:lnTo>
                    <a:pt x="680" y="302"/>
                  </a:lnTo>
                  <a:lnTo>
                    <a:pt x="664" y="295"/>
                  </a:lnTo>
                  <a:lnTo>
                    <a:pt x="671" y="278"/>
                  </a:lnTo>
                  <a:lnTo>
                    <a:pt x="687" y="286"/>
                  </a:lnTo>
                  <a:lnTo>
                    <a:pt x="687" y="286"/>
                  </a:lnTo>
                  <a:close/>
                  <a:moveTo>
                    <a:pt x="621" y="257"/>
                  </a:moveTo>
                  <a:lnTo>
                    <a:pt x="614" y="274"/>
                  </a:lnTo>
                  <a:lnTo>
                    <a:pt x="598" y="267"/>
                  </a:lnTo>
                  <a:lnTo>
                    <a:pt x="605" y="250"/>
                  </a:lnTo>
                  <a:lnTo>
                    <a:pt x="621" y="257"/>
                  </a:lnTo>
                  <a:lnTo>
                    <a:pt x="621" y="257"/>
                  </a:lnTo>
                  <a:close/>
                  <a:moveTo>
                    <a:pt x="555" y="229"/>
                  </a:moveTo>
                  <a:lnTo>
                    <a:pt x="548" y="245"/>
                  </a:lnTo>
                  <a:lnTo>
                    <a:pt x="532" y="238"/>
                  </a:lnTo>
                  <a:lnTo>
                    <a:pt x="539" y="222"/>
                  </a:lnTo>
                  <a:lnTo>
                    <a:pt x="555" y="229"/>
                  </a:lnTo>
                  <a:lnTo>
                    <a:pt x="555" y="229"/>
                  </a:lnTo>
                  <a:close/>
                  <a:moveTo>
                    <a:pt x="489" y="200"/>
                  </a:moveTo>
                  <a:lnTo>
                    <a:pt x="482" y="217"/>
                  </a:lnTo>
                  <a:lnTo>
                    <a:pt x="465" y="212"/>
                  </a:lnTo>
                  <a:lnTo>
                    <a:pt x="473" y="193"/>
                  </a:lnTo>
                  <a:lnTo>
                    <a:pt x="489" y="200"/>
                  </a:lnTo>
                  <a:lnTo>
                    <a:pt x="489" y="200"/>
                  </a:lnTo>
                  <a:close/>
                  <a:moveTo>
                    <a:pt x="423" y="174"/>
                  </a:moveTo>
                  <a:lnTo>
                    <a:pt x="416" y="191"/>
                  </a:lnTo>
                  <a:lnTo>
                    <a:pt x="399" y="184"/>
                  </a:lnTo>
                  <a:lnTo>
                    <a:pt x="406" y="167"/>
                  </a:lnTo>
                  <a:lnTo>
                    <a:pt x="423" y="174"/>
                  </a:lnTo>
                  <a:lnTo>
                    <a:pt x="423" y="174"/>
                  </a:lnTo>
                  <a:close/>
                  <a:moveTo>
                    <a:pt x="357" y="146"/>
                  </a:moveTo>
                  <a:lnTo>
                    <a:pt x="350" y="163"/>
                  </a:lnTo>
                  <a:lnTo>
                    <a:pt x="333" y="156"/>
                  </a:lnTo>
                  <a:lnTo>
                    <a:pt x="340" y="139"/>
                  </a:lnTo>
                  <a:lnTo>
                    <a:pt x="357" y="146"/>
                  </a:lnTo>
                  <a:lnTo>
                    <a:pt x="357" y="146"/>
                  </a:lnTo>
                  <a:close/>
                  <a:moveTo>
                    <a:pt x="291" y="118"/>
                  </a:moveTo>
                  <a:lnTo>
                    <a:pt x="284" y="134"/>
                  </a:lnTo>
                  <a:lnTo>
                    <a:pt x="267" y="127"/>
                  </a:lnTo>
                  <a:lnTo>
                    <a:pt x="274" y="111"/>
                  </a:lnTo>
                  <a:lnTo>
                    <a:pt x="291" y="118"/>
                  </a:lnTo>
                  <a:lnTo>
                    <a:pt x="291" y="118"/>
                  </a:lnTo>
                  <a:close/>
                  <a:moveTo>
                    <a:pt x="225" y="89"/>
                  </a:moveTo>
                  <a:lnTo>
                    <a:pt x="217" y="106"/>
                  </a:lnTo>
                  <a:lnTo>
                    <a:pt x="201" y="99"/>
                  </a:lnTo>
                  <a:lnTo>
                    <a:pt x="208" y="82"/>
                  </a:lnTo>
                  <a:lnTo>
                    <a:pt x="225" y="89"/>
                  </a:lnTo>
                  <a:lnTo>
                    <a:pt x="225" y="89"/>
                  </a:lnTo>
                  <a:close/>
                  <a:moveTo>
                    <a:pt x="156" y="61"/>
                  </a:moveTo>
                  <a:lnTo>
                    <a:pt x="149" y="78"/>
                  </a:lnTo>
                  <a:lnTo>
                    <a:pt x="132" y="73"/>
                  </a:lnTo>
                  <a:lnTo>
                    <a:pt x="139" y="54"/>
                  </a:lnTo>
                  <a:lnTo>
                    <a:pt x="156" y="61"/>
                  </a:lnTo>
                  <a:lnTo>
                    <a:pt x="156" y="61"/>
                  </a:lnTo>
                  <a:close/>
                  <a:moveTo>
                    <a:pt x="90" y="35"/>
                  </a:moveTo>
                  <a:lnTo>
                    <a:pt x="83" y="52"/>
                  </a:lnTo>
                  <a:lnTo>
                    <a:pt x="66" y="45"/>
                  </a:lnTo>
                  <a:lnTo>
                    <a:pt x="73" y="28"/>
                  </a:lnTo>
                  <a:lnTo>
                    <a:pt x="90" y="3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6" name="Freeform 532"/>
            <p:cNvSpPr>
              <a:spLocks noEditPoints="1"/>
            </p:cNvSpPr>
            <p:nvPr/>
          </p:nvSpPr>
          <p:spPr bwMode="auto">
            <a:xfrm>
              <a:off x="8750300" y="2946400"/>
              <a:ext cx="539750" cy="803275"/>
            </a:xfrm>
            <a:custGeom>
              <a:avLst/>
              <a:gdLst>
                <a:gd name="T0" fmla="*/ 331 w 340"/>
                <a:gd name="T1" fmla="*/ 24 h 506"/>
                <a:gd name="T2" fmla="*/ 317 w 340"/>
                <a:gd name="T3" fmla="*/ 14 h 506"/>
                <a:gd name="T4" fmla="*/ 326 w 340"/>
                <a:gd name="T5" fmla="*/ 0 h 506"/>
                <a:gd name="T6" fmla="*/ 340 w 340"/>
                <a:gd name="T7" fmla="*/ 10 h 506"/>
                <a:gd name="T8" fmla="*/ 331 w 340"/>
                <a:gd name="T9" fmla="*/ 24 h 506"/>
                <a:gd name="T10" fmla="*/ 331 w 340"/>
                <a:gd name="T11" fmla="*/ 24 h 506"/>
                <a:gd name="T12" fmla="*/ 14 w 340"/>
                <a:gd name="T13" fmla="*/ 506 h 506"/>
                <a:gd name="T14" fmla="*/ 0 w 340"/>
                <a:gd name="T15" fmla="*/ 496 h 506"/>
                <a:gd name="T16" fmla="*/ 10 w 340"/>
                <a:gd name="T17" fmla="*/ 482 h 506"/>
                <a:gd name="T18" fmla="*/ 24 w 340"/>
                <a:gd name="T19" fmla="*/ 491 h 506"/>
                <a:gd name="T20" fmla="*/ 14 w 340"/>
                <a:gd name="T21" fmla="*/ 506 h 506"/>
                <a:gd name="T22" fmla="*/ 14 w 340"/>
                <a:gd name="T23" fmla="*/ 506 h 506"/>
                <a:gd name="T24" fmla="*/ 55 w 340"/>
                <a:gd name="T25" fmla="*/ 447 h 506"/>
                <a:gd name="T26" fmla="*/ 40 w 340"/>
                <a:gd name="T27" fmla="*/ 435 h 506"/>
                <a:gd name="T28" fmla="*/ 50 w 340"/>
                <a:gd name="T29" fmla="*/ 421 h 506"/>
                <a:gd name="T30" fmla="*/ 64 w 340"/>
                <a:gd name="T31" fmla="*/ 430 h 506"/>
                <a:gd name="T32" fmla="*/ 55 w 340"/>
                <a:gd name="T33" fmla="*/ 447 h 506"/>
                <a:gd name="T34" fmla="*/ 55 w 340"/>
                <a:gd name="T35" fmla="*/ 447 h 506"/>
                <a:gd name="T36" fmla="*/ 95 w 340"/>
                <a:gd name="T37" fmla="*/ 385 h 506"/>
                <a:gd name="T38" fmla="*/ 78 w 340"/>
                <a:gd name="T39" fmla="*/ 376 h 506"/>
                <a:gd name="T40" fmla="*/ 88 w 340"/>
                <a:gd name="T41" fmla="*/ 361 h 506"/>
                <a:gd name="T42" fmla="*/ 104 w 340"/>
                <a:gd name="T43" fmla="*/ 371 h 506"/>
                <a:gd name="T44" fmla="*/ 95 w 340"/>
                <a:gd name="T45" fmla="*/ 385 h 506"/>
                <a:gd name="T46" fmla="*/ 95 w 340"/>
                <a:gd name="T47" fmla="*/ 385 h 506"/>
                <a:gd name="T48" fmla="*/ 133 w 340"/>
                <a:gd name="T49" fmla="*/ 326 h 506"/>
                <a:gd name="T50" fmla="*/ 118 w 340"/>
                <a:gd name="T51" fmla="*/ 314 h 506"/>
                <a:gd name="T52" fmla="*/ 128 w 340"/>
                <a:gd name="T53" fmla="*/ 300 h 506"/>
                <a:gd name="T54" fmla="*/ 144 w 340"/>
                <a:gd name="T55" fmla="*/ 310 h 506"/>
                <a:gd name="T56" fmla="*/ 133 w 340"/>
                <a:gd name="T57" fmla="*/ 326 h 506"/>
                <a:gd name="T58" fmla="*/ 133 w 340"/>
                <a:gd name="T59" fmla="*/ 326 h 506"/>
                <a:gd name="T60" fmla="*/ 173 w 340"/>
                <a:gd name="T61" fmla="*/ 265 h 506"/>
                <a:gd name="T62" fmla="*/ 158 w 340"/>
                <a:gd name="T63" fmla="*/ 255 h 506"/>
                <a:gd name="T64" fmla="*/ 168 w 340"/>
                <a:gd name="T65" fmla="*/ 241 h 506"/>
                <a:gd name="T66" fmla="*/ 182 w 340"/>
                <a:gd name="T67" fmla="*/ 250 h 506"/>
                <a:gd name="T68" fmla="*/ 173 w 340"/>
                <a:gd name="T69" fmla="*/ 265 h 506"/>
                <a:gd name="T70" fmla="*/ 173 w 340"/>
                <a:gd name="T71" fmla="*/ 265 h 506"/>
                <a:gd name="T72" fmla="*/ 213 w 340"/>
                <a:gd name="T73" fmla="*/ 206 h 506"/>
                <a:gd name="T74" fmla="*/ 196 w 340"/>
                <a:gd name="T75" fmla="*/ 196 h 506"/>
                <a:gd name="T76" fmla="*/ 208 w 340"/>
                <a:gd name="T77" fmla="*/ 180 h 506"/>
                <a:gd name="T78" fmla="*/ 222 w 340"/>
                <a:gd name="T79" fmla="*/ 189 h 506"/>
                <a:gd name="T80" fmla="*/ 213 w 340"/>
                <a:gd name="T81" fmla="*/ 206 h 506"/>
                <a:gd name="T82" fmla="*/ 213 w 340"/>
                <a:gd name="T83" fmla="*/ 206 h 506"/>
                <a:gd name="T84" fmla="*/ 253 w 340"/>
                <a:gd name="T85" fmla="*/ 144 h 506"/>
                <a:gd name="T86" fmla="*/ 236 w 340"/>
                <a:gd name="T87" fmla="*/ 135 h 506"/>
                <a:gd name="T88" fmla="*/ 246 w 340"/>
                <a:gd name="T89" fmla="*/ 121 h 506"/>
                <a:gd name="T90" fmla="*/ 262 w 340"/>
                <a:gd name="T91" fmla="*/ 130 h 506"/>
                <a:gd name="T92" fmla="*/ 253 w 340"/>
                <a:gd name="T93" fmla="*/ 144 h 506"/>
                <a:gd name="T94" fmla="*/ 253 w 340"/>
                <a:gd name="T95" fmla="*/ 144 h 506"/>
                <a:gd name="T96" fmla="*/ 291 w 340"/>
                <a:gd name="T97" fmla="*/ 85 h 506"/>
                <a:gd name="T98" fmla="*/ 277 w 340"/>
                <a:gd name="T99" fmla="*/ 76 h 506"/>
                <a:gd name="T100" fmla="*/ 286 w 340"/>
                <a:gd name="T101" fmla="*/ 59 h 506"/>
                <a:gd name="T102" fmla="*/ 300 w 340"/>
                <a:gd name="T103" fmla="*/ 69 h 506"/>
                <a:gd name="T104" fmla="*/ 291 w 340"/>
                <a:gd name="T105" fmla="*/ 8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0" h="506">
                  <a:moveTo>
                    <a:pt x="331" y="24"/>
                  </a:moveTo>
                  <a:lnTo>
                    <a:pt x="317" y="14"/>
                  </a:lnTo>
                  <a:lnTo>
                    <a:pt x="326" y="0"/>
                  </a:lnTo>
                  <a:lnTo>
                    <a:pt x="340" y="10"/>
                  </a:lnTo>
                  <a:lnTo>
                    <a:pt x="331" y="24"/>
                  </a:lnTo>
                  <a:lnTo>
                    <a:pt x="331" y="24"/>
                  </a:lnTo>
                  <a:close/>
                  <a:moveTo>
                    <a:pt x="14" y="506"/>
                  </a:moveTo>
                  <a:lnTo>
                    <a:pt x="0" y="496"/>
                  </a:lnTo>
                  <a:lnTo>
                    <a:pt x="10" y="482"/>
                  </a:lnTo>
                  <a:lnTo>
                    <a:pt x="24" y="491"/>
                  </a:lnTo>
                  <a:lnTo>
                    <a:pt x="14" y="506"/>
                  </a:lnTo>
                  <a:lnTo>
                    <a:pt x="14" y="506"/>
                  </a:lnTo>
                  <a:close/>
                  <a:moveTo>
                    <a:pt x="55" y="447"/>
                  </a:moveTo>
                  <a:lnTo>
                    <a:pt x="40" y="435"/>
                  </a:lnTo>
                  <a:lnTo>
                    <a:pt x="50" y="421"/>
                  </a:lnTo>
                  <a:lnTo>
                    <a:pt x="64" y="430"/>
                  </a:lnTo>
                  <a:lnTo>
                    <a:pt x="55" y="447"/>
                  </a:lnTo>
                  <a:lnTo>
                    <a:pt x="55" y="447"/>
                  </a:lnTo>
                  <a:close/>
                  <a:moveTo>
                    <a:pt x="95" y="385"/>
                  </a:moveTo>
                  <a:lnTo>
                    <a:pt x="78" y="376"/>
                  </a:lnTo>
                  <a:lnTo>
                    <a:pt x="88" y="361"/>
                  </a:lnTo>
                  <a:lnTo>
                    <a:pt x="104" y="371"/>
                  </a:lnTo>
                  <a:lnTo>
                    <a:pt x="95" y="385"/>
                  </a:lnTo>
                  <a:lnTo>
                    <a:pt x="95" y="385"/>
                  </a:lnTo>
                  <a:close/>
                  <a:moveTo>
                    <a:pt x="133" y="326"/>
                  </a:moveTo>
                  <a:lnTo>
                    <a:pt x="118" y="314"/>
                  </a:lnTo>
                  <a:lnTo>
                    <a:pt x="128" y="300"/>
                  </a:lnTo>
                  <a:lnTo>
                    <a:pt x="144" y="310"/>
                  </a:lnTo>
                  <a:lnTo>
                    <a:pt x="133" y="326"/>
                  </a:lnTo>
                  <a:lnTo>
                    <a:pt x="133" y="326"/>
                  </a:lnTo>
                  <a:close/>
                  <a:moveTo>
                    <a:pt x="173" y="265"/>
                  </a:moveTo>
                  <a:lnTo>
                    <a:pt x="158" y="255"/>
                  </a:lnTo>
                  <a:lnTo>
                    <a:pt x="168" y="241"/>
                  </a:lnTo>
                  <a:lnTo>
                    <a:pt x="182" y="250"/>
                  </a:lnTo>
                  <a:lnTo>
                    <a:pt x="173" y="265"/>
                  </a:lnTo>
                  <a:lnTo>
                    <a:pt x="173" y="265"/>
                  </a:lnTo>
                  <a:close/>
                  <a:moveTo>
                    <a:pt x="213" y="206"/>
                  </a:moveTo>
                  <a:lnTo>
                    <a:pt x="196" y="196"/>
                  </a:lnTo>
                  <a:lnTo>
                    <a:pt x="208" y="180"/>
                  </a:lnTo>
                  <a:lnTo>
                    <a:pt x="222" y="189"/>
                  </a:lnTo>
                  <a:lnTo>
                    <a:pt x="213" y="206"/>
                  </a:lnTo>
                  <a:lnTo>
                    <a:pt x="213" y="206"/>
                  </a:lnTo>
                  <a:close/>
                  <a:moveTo>
                    <a:pt x="253" y="144"/>
                  </a:moveTo>
                  <a:lnTo>
                    <a:pt x="236" y="135"/>
                  </a:lnTo>
                  <a:lnTo>
                    <a:pt x="246" y="121"/>
                  </a:lnTo>
                  <a:lnTo>
                    <a:pt x="262" y="130"/>
                  </a:lnTo>
                  <a:lnTo>
                    <a:pt x="253" y="144"/>
                  </a:lnTo>
                  <a:lnTo>
                    <a:pt x="253" y="144"/>
                  </a:lnTo>
                  <a:close/>
                  <a:moveTo>
                    <a:pt x="291" y="85"/>
                  </a:moveTo>
                  <a:lnTo>
                    <a:pt x="277" y="76"/>
                  </a:lnTo>
                  <a:lnTo>
                    <a:pt x="286" y="59"/>
                  </a:lnTo>
                  <a:lnTo>
                    <a:pt x="300" y="69"/>
                  </a:lnTo>
                  <a:lnTo>
                    <a:pt x="291" y="8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7" name="Freeform 533"/>
            <p:cNvSpPr>
              <a:spLocks noEditPoints="1"/>
            </p:cNvSpPr>
            <p:nvPr/>
          </p:nvSpPr>
          <p:spPr bwMode="auto">
            <a:xfrm>
              <a:off x="8521700" y="2332038"/>
              <a:ext cx="738188" cy="630238"/>
            </a:xfrm>
            <a:custGeom>
              <a:avLst/>
              <a:gdLst>
                <a:gd name="T0" fmla="*/ 439 w 465"/>
                <a:gd name="T1" fmla="*/ 385 h 397"/>
                <a:gd name="T2" fmla="*/ 451 w 465"/>
                <a:gd name="T3" fmla="*/ 373 h 397"/>
                <a:gd name="T4" fmla="*/ 465 w 465"/>
                <a:gd name="T5" fmla="*/ 382 h 397"/>
                <a:gd name="T6" fmla="*/ 454 w 465"/>
                <a:gd name="T7" fmla="*/ 397 h 397"/>
                <a:gd name="T8" fmla="*/ 439 w 465"/>
                <a:gd name="T9" fmla="*/ 385 h 397"/>
                <a:gd name="T10" fmla="*/ 439 w 465"/>
                <a:gd name="T11" fmla="*/ 385 h 397"/>
                <a:gd name="T12" fmla="*/ 0 w 465"/>
                <a:gd name="T13" fmla="*/ 14 h 397"/>
                <a:gd name="T14" fmla="*/ 12 w 465"/>
                <a:gd name="T15" fmla="*/ 0 h 397"/>
                <a:gd name="T16" fmla="*/ 26 w 465"/>
                <a:gd name="T17" fmla="*/ 12 h 397"/>
                <a:gd name="T18" fmla="*/ 14 w 465"/>
                <a:gd name="T19" fmla="*/ 26 h 397"/>
                <a:gd name="T20" fmla="*/ 0 w 465"/>
                <a:gd name="T21" fmla="*/ 14 h 397"/>
                <a:gd name="T22" fmla="*/ 0 w 465"/>
                <a:gd name="T23" fmla="*/ 14 h 397"/>
                <a:gd name="T24" fmla="*/ 57 w 465"/>
                <a:gd name="T25" fmla="*/ 59 h 397"/>
                <a:gd name="T26" fmla="*/ 69 w 465"/>
                <a:gd name="T27" fmla="*/ 47 h 397"/>
                <a:gd name="T28" fmla="*/ 80 w 465"/>
                <a:gd name="T29" fmla="*/ 59 h 397"/>
                <a:gd name="T30" fmla="*/ 69 w 465"/>
                <a:gd name="T31" fmla="*/ 71 h 397"/>
                <a:gd name="T32" fmla="*/ 57 w 465"/>
                <a:gd name="T33" fmla="*/ 59 h 397"/>
                <a:gd name="T34" fmla="*/ 57 w 465"/>
                <a:gd name="T35" fmla="*/ 59 h 397"/>
                <a:gd name="T36" fmla="*/ 111 w 465"/>
                <a:gd name="T37" fmla="*/ 106 h 397"/>
                <a:gd name="T38" fmla="*/ 123 w 465"/>
                <a:gd name="T39" fmla="*/ 92 h 397"/>
                <a:gd name="T40" fmla="*/ 137 w 465"/>
                <a:gd name="T41" fmla="*/ 104 h 397"/>
                <a:gd name="T42" fmla="*/ 125 w 465"/>
                <a:gd name="T43" fmla="*/ 118 h 397"/>
                <a:gd name="T44" fmla="*/ 111 w 465"/>
                <a:gd name="T45" fmla="*/ 106 h 397"/>
                <a:gd name="T46" fmla="*/ 111 w 465"/>
                <a:gd name="T47" fmla="*/ 106 h 397"/>
                <a:gd name="T48" fmla="*/ 165 w 465"/>
                <a:gd name="T49" fmla="*/ 153 h 397"/>
                <a:gd name="T50" fmla="*/ 177 w 465"/>
                <a:gd name="T51" fmla="*/ 139 h 397"/>
                <a:gd name="T52" fmla="*/ 191 w 465"/>
                <a:gd name="T53" fmla="*/ 151 h 397"/>
                <a:gd name="T54" fmla="*/ 180 w 465"/>
                <a:gd name="T55" fmla="*/ 165 h 397"/>
                <a:gd name="T56" fmla="*/ 165 w 465"/>
                <a:gd name="T57" fmla="*/ 153 h 397"/>
                <a:gd name="T58" fmla="*/ 165 w 465"/>
                <a:gd name="T59" fmla="*/ 153 h 397"/>
                <a:gd name="T60" fmla="*/ 220 w 465"/>
                <a:gd name="T61" fmla="*/ 200 h 397"/>
                <a:gd name="T62" fmla="*/ 232 w 465"/>
                <a:gd name="T63" fmla="*/ 186 h 397"/>
                <a:gd name="T64" fmla="*/ 246 w 465"/>
                <a:gd name="T65" fmla="*/ 198 h 397"/>
                <a:gd name="T66" fmla="*/ 234 w 465"/>
                <a:gd name="T67" fmla="*/ 210 h 397"/>
                <a:gd name="T68" fmla="*/ 220 w 465"/>
                <a:gd name="T69" fmla="*/ 200 h 397"/>
                <a:gd name="T70" fmla="*/ 220 w 465"/>
                <a:gd name="T71" fmla="*/ 200 h 397"/>
                <a:gd name="T72" fmla="*/ 277 w 465"/>
                <a:gd name="T73" fmla="*/ 245 h 397"/>
                <a:gd name="T74" fmla="*/ 288 w 465"/>
                <a:gd name="T75" fmla="*/ 231 h 397"/>
                <a:gd name="T76" fmla="*/ 300 w 465"/>
                <a:gd name="T77" fmla="*/ 243 h 397"/>
                <a:gd name="T78" fmla="*/ 288 w 465"/>
                <a:gd name="T79" fmla="*/ 257 h 397"/>
                <a:gd name="T80" fmla="*/ 277 w 465"/>
                <a:gd name="T81" fmla="*/ 245 h 397"/>
                <a:gd name="T82" fmla="*/ 277 w 465"/>
                <a:gd name="T83" fmla="*/ 245 h 397"/>
                <a:gd name="T84" fmla="*/ 331 w 465"/>
                <a:gd name="T85" fmla="*/ 293 h 397"/>
                <a:gd name="T86" fmla="*/ 343 w 465"/>
                <a:gd name="T87" fmla="*/ 278 h 397"/>
                <a:gd name="T88" fmla="*/ 357 w 465"/>
                <a:gd name="T89" fmla="*/ 290 h 397"/>
                <a:gd name="T90" fmla="*/ 345 w 465"/>
                <a:gd name="T91" fmla="*/ 304 h 397"/>
                <a:gd name="T92" fmla="*/ 331 w 465"/>
                <a:gd name="T93" fmla="*/ 293 h 397"/>
                <a:gd name="T94" fmla="*/ 331 w 465"/>
                <a:gd name="T95" fmla="*/ 293 h 397"/>
                <a:gd name="T96" fmla="*/ 385 w 465"/>
                <a:gd name="T97" fmla="*/ 340 h 397"/>
                <a:gd name="T98" fmla="*/ 397 w 465"/>
                <a:gd name="T99" fmla="*/ 326 h 397"/>
                <a:gd name="T100" fmla="*/ 411 w 465"/>
                <a:gd name="T101" fmla="*/ 337 h 397"/>
                <a:gd name="T102" fmla="*/ 399 w 465"/>
                <a:gd name="T103" fmla="*/ 352 h 397"/>
                <a:gd name="T104" fmla="*/ 385 w 465"/>
                <a:gd name="T105" fmla="*/ 34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5" h="397">
                  <a:moveTo>
                    <a:pt x="439" y="385"/>
                  </a:moveTo>
                  <a:lnTo>
                    <a:pt x="451" y="373"/>
                  </a:lnTo>
                  <a:lnTo>
                    <a:pt x="465" y="382"/>
                  </a:lnTo>
                  <a:lnTo>
                    <a:pt x="454" y="397"/>
                  </a:lnTo>
                  <a:lnTo>
                    <a:pt x="439" y="385"/>
                  </a:lnTo>
                  <a:lnTo>
                    <a:pt x="439" y="385"/>
                  </a:lnTo>
                  <a:close/>
                  <a:moveTo>
                    <a:pt x="0" y="14"/>
                  </a:moveTo>
                  <a:lnTo>
                    <a:pt x="12" y="0"/>
                  </a:lnTo>
                  <a:lnTo>
                    <a:pt x="26" y="12"/>
                  </a:lnTo>
                  <a:lnTo>
                    <a:pt x="14" y="26"/>
                  </a:lnTo>
                  <a:lnTo>
                    <a:pt x="0" y="14"/>
                  </a:lnTo>
                  <a:lnTo>
                    <a:pt x="0" y="14"/>
                  </a:lnTo>
                  <a:close/>
                  <a:moveTo>
                    <a:pt x="57" y="59"/>
                  </a:moveTo>
                  <a:lnTo>
                    <a:pt x="69" y="47"/>
                  </a:lnTo>
                  <a:lnTo>
                    <a:pt x="80" y="59"/>
                  </a:lnTo>
                  <a:lnTo>
                    <a:pt x="69" y="71"/>
                  </a:lnTo>
                  <a:lnTo>
                    <a:pt x="57" y="59"/>
                  </a:lnTo>
                  <a:lnTo>
                    <a:pt x="57" y="59"/>
                  </a:lnTo>
                  <a:close/>
                  <a:moveTo>
                    <a:pt x="111" y="106"/>
                  </a:moveTo>
                  <a:lnTo>
                    <a:pt x="123" y="92"/>
                  </a:lnTo>
                  <a:lnTo>
                    <a:pt x="137" y="104"/>
                  </a:lnTo>
                  <a:lnTo>
                    <a:pt x="125" y="118"/>
                  </a:lnTo>
                  <a:lnTo>
                    <a:pt x="111" y="106"/>
                  </a:lnTo>
                  <a:lnTo>
                    <a:pt x="111" y="106"/>
                  </a:lnTo>
                  <a:close/>
                  <a:moveTo>
                    <a:pt x="165" y="153"/>
                  </a:moveTo>
                  <a:lnTo>
                    <a:pt x="177" y="139"/>
                  </a:lnTo>
                  <a:lnTo>
                    <a:pt x="191" y="151"/>
                  </a:lnTo>
                  <a:lnTo>
                    <a:pt x="180" y="165"/>
                  </a:lnTo>
                  <a:lnTo>
                    <a:pt x="165" y="153"/>
                  </a:lnTo>
                  <a:lnTo>
                    <a:pt x="165" y="153"/>
                  </a:lnTo>
                  <a:close/>
                  <a:moveTo>
                    <a:pt x="220" y="200"/>
                  </a:moveTo>
                  <a:lnTo>
                    <a:pt x="232" y="186"/>
                  </a:lnTo>
                  <a:lnTo>
                    <a:pt x="246" y="198"/>
                  </a:lnTo>
                  <a:lnTo>
                    <a:pt x="234" y="210"/>
                  </a:lnTo>
                  <a:lnTo>
                    <a:pt x="220" y="200"/>
                  </a:lnTo>
                  <a:lnTo>
                    <a:pt x="220" y="200"/>
                  </a:lnTo>
                  <a:close/>
                  <a:moveTo>
                    <a:pt x="277" y="245"/>
                  </a:moveTo>
                  <a:lnTo>
                    <a:pt x="288" y="231"/>
                  </a:lnTo>
                  <a:lnTo>
                    <a:pt x="300" y="243"/>
                  </a:lnTo>
                  <a:lnTo>
                    <a:pt x="288" y="257"/>
                  </a:lnTo>
                  <a:lnTo>
                    <a:pt x="277" y="245"/>
                  </a:lnTo>
                  <a:lnTo>
                    <a:pt x="277" y="245"/>
                  </a:lnTo>
                  <a:close/>
                  <a:moveTo>
                    <a:pt x="331" y="293"/>
                  </a:moveTo>
                  <a:lnTo>
                    <a:pt x="343" y="278"/>
                  </a:lnTo>
                  <a:lnTo>
                    <a:pt x="357" y="290"/>
                  </a:lnTo>
                  <a:lnTo>
                    <a:pt x="345" y="304"/>
                  </a:lnTo>
                  <a:lnTo>
                    <a:pt x="331" y="293"/>
                  </a:lnTo>
                  <a:lnTo>
                    <a:pt x="331" y="293"/>
                  </a:lnTo>
                  <a:close/>
                  <a:moveTo>
                    <a:pt x="385" y="340"/>
                  </a:moveTo>
                  <a:lnTo>
                    <a:pt x="397" y="326"/>
                  </a:lnTo>
                  <a:lnTo>
                    <a:pt x="411" y="337"/>
                  </a:lnTo>
                  <a:lnTo>
                    <a:pt x="399" y="352"/>
                  </a:lnTo>
                  <a:lnTo>
                    <a:pt x="385" y="34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8" name="Freeform 534"/>
            <p:cNvSpPr>
              <a:spLocks noEditPoints="1"/>
            </p:cNvSpPr>
            <p:nvPr/>
          </p:nvSpPr>
          <p:spPr bwMode="auto">
            <a:xfrm>
              <a:off x="7045325" y="2065338"/>
              <a:ext cx="1390650" cy="198438"/>
            </a:xfrm>
            <a:custGeom>
              <a:avLst/>
              <a:gdLst>
                <a:gd name="T0" fmla="*/ 16 w 876"/>
                <a:gd name="T1" fmla="*/ 19 h 125"/>
                <a:gd name="T2" fmla="*/ 0 w 876"/>
                <a:gd name="T3" fmla="*/ 0 h 125"/>
                <a:gd name="T4" fmla="*/ 18 w 876"/>
                <a:gd name="T5" fmla="*/ 2 h 125"/>
                <a:gd name="T6" fmla="*/ 873 w 876"/>
                <a:gd name="T7" fmla="*/ 125 h 125"/>
                <a:gd name="T8" fmla="*/ 857 w 876"/>
                <a:gd name="T9" fmla="*/ 106 h 125"/>
                <a:gd name="T10" fmla="*/ 876 w 876"/>
                <a:gd name="T11" fmla="*/ 106 h 125"/>
                <a:gd name="T12" fmla="*/ 803 w 876"/>
                <a:gd name="T13" fmla="*/ 116 h 125"/>
                <a:gd name="T14" fmla="*/ 786 w 876"/>
                <a:gd name="T15" fmla="*/ 97 h 125"/>
                <a:gd name="T16" fmla="*/ 805 w 876"/>
                <a:gd name="T17" fmla="*/ 99 h 125"/>
                <a:gd name="T18" fmla="*/ 732 w 876"/>
                <a:gd name="T19" fmla="*/ 109 h 125"/>
                <a:gd name="T20" fmla="*/ 715 w 876"/>
                <a:gd name="T21" fmla="*/ 87 h 125"/>
                <a:gd name="T22" fmla="*/ 734 w 876"/>
                <a:gd name="T23" fmla="*/ 90 h 125"/>
                <a:gd name="T24" fmla="*/ 659 w 876"/>
                <a:gd name="T25" fmla="*/ 99 h 125"/>
                <a:gd name="T26" fmla="*/ 644 w 876"/>
                <a:gd name="T27" fmla="*/ 78 h 125"/>
                <a:gd name="T28" fmla="*/ 661 w 876"/>
                <a:gd name="T29" fmla="*/ 80 h 125"/>
                <a:gd name="T30" fmla="*/ 588 w 876"/>
                <a:gd name="T31" fmla="*/ 90 h 125"/>
                <a:gd name="T32" fmla="*/ 571 w 876"/>
                <a:gd name="T33" fmla="*/ 71 h 125"/>
                <a:gd name="T34" fmla="*/ 590 w 876"/>
                <a:gd name="T35" fmla="*/ 73 h 125"/>
                <a:gd name="T36" fmla="*/ 517 w 876"/>
                <a:gd name="T37" fmla="*/ 80 h 125"/>
                <a:gd name="T38" fmla="*/ 500 w 876"/>
                <a:gd name="T39" fmla="*/ 61 h 125"/>
                <a:gd name="T40" fmla="*/ 519 w 876"/>
                <a:gd name="T41" fmla="*/ 64 h 125"/>
                <a:gd name="T42" fmla="*/ 446 w 876"/>
                <a:gd name="T43" fmla="*/ 73 h 125"/>
                <a:gd name="T44" fmla="*/ 429 w 876"/>
                <a:gd name="T45" fmla="*/ 52 h 125"/>
                <a:gd name="T46" fmla="*/ 448 w 876"/>
                <a:gd name="T47" fmla="*/ 54 h 125"/>
                <a:gd name="T48" fmla="*/ 373 w 876"/>
                <a:gd name="T49" fmla="*/ 64 h 125"/>
                <a:gd name="T50" fmla="*/ 359 w 876"/>
                <a:gd name="T51" fmla="*/ 43 h 125"/>
                <a:gd name="T52" fmla="*/ 375 w 876"/>
                <a:gd name="T53" fmla="*/ 45 h 125"/>
                <a:gd name="T54" fmla="*/ 302 w 876"/>
                <a:gd name="T55" fmla="*/ 54 h 125"/>
                <a:gd name="T56" fmla="*/ 285 w 876"/>
                <a:gd name="T57" fmla="*/ 35 h 125"/>
                <a:gd name="T58" fmla="*/ 304 w 876"/>
                <a:gd name="T59" fmla="*/ 38 h 125"/>
                <a:gd name="T60" fmla="*/ 231 w 876"/>
                <a:gd name="T61" fmla="*/ 47 h 125"/>
                <a:gd name="T62" fmla="*/ 214 w 876"/>
                <a:gd name="T63" fmla="*/ 26 h 125"/>
                <a:gd name="T64" fmla="*/ 233 w 876"/>
                <a:gd name="T65" fmla="*/ 28 h 125"/>
                <a:gd name="T66" fmla="*/ 160 w 876"/>
                <a:gd name="T67" fmla="*/ 38 h 125"/>
                <a:gd name="T68" fmla="*/ 144 w 876"/>
                <a:gd name="T69" fmla="*/ 17 h 125"/>
                <a:gd name="T70" fmla="*/ 163 w 876"/>
                <a:gd name="T71" fmla="*/ 19 h 125"/>
                <a:gd name="T72" fmla="*/ 87 w 876"/>
                <a:gd name="T73" fmla="*/ 28 h 125"/>
                <a:gd name="T74" fmla="*/ 73 w 876"/>
                <a:gd name="T75" fmla="*/ 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6" h="125">
                  <a:moveTo>
                    <a:pt x="18" y="2"/>
                  </a:moveTo>
                  <a:lnTo>
                    <a:pt x="16" y="19"/>
                  </a:lnTo>
                  <a:lnTo>
                    <a:pt x="0" y="17"/>
                  </a:lnTo>
                  <a:lnTo>
                    <a:pt x="0" y="0"/>
                  </a:lnTo>
                  <a:lnTo>
                    <a:pt x="18" y="2"/>
                  </a:lnTo>
                  <a:lnTo>
                    <a:pt x="18" y="2"/>
                  </a:lnTo>
                  <a:close/>
                  <a:moveTo>
                    <a:pt x="876" y="106"/>
                  </a:moveTo>
                  <a:lnTo>
                    <a:pt x="873" y="125"/>
                  </a:lnTo>
                  <a:lnTo>
                    <a:pt x="857" y="123"/>
                  </a:lnTo>
                  <a:lnTo>
                    <a:pt x="857" y="106"/>
                  </a:lnTo>
                  <a:lnTo>
                    <a:pt x="876" y="106"/>
                  </a:lnTo>
                  <a:lnTo>
                    <a:pt x="876" y="106"/>
                  </a:lnTo>
                  <a:close/>
                  <a:moveTo>
                    <a:pt x="805" y="99"/>
                  </a:moveTo>
                  <a:lnTo>
                    <a:pt x="803" y="116"/>
                  </a:lnTo>
                  <a:lnTo>
                    <a:pt x="784" y="113"/>
                  </a:lnTo>
                  <a:lnTo>
                    <a:pt x="786" y="97"/>
                  </a:lnTo>
                  <a:lnTo>
                    <a:pt x="805" y="99"/>
                  </a:lnTo>
                  <a:lnTo>
                    <a:pt x="805" y="99"/>
                  </a:lnTo>
                  <a:close/>
                  <a:moveTo>
                    <a:pt x="734" y="90"/>
                  </a:moveTo>
                  <a:lnTo>
                    <a:pt x="732" y="109"/>
                  </a:lnTo>
                  <a:lnTo>
                    <a:pt x="713" y="106"/>
                  </a:lnTo>
                  <a:lnTo>
                    <a:pt x="715" y="87"/>
                  </a:lnTo>
                  <a:lnTo>
                    <a:pt x="734" y="90"/>
                  </a:lnTo>
                  <a:lnTo>
                    <a:pt x="734" y="90"/>
                  </a:lnTo>
                  <a:close/>
                  <a:moveTo>
                    <a:pt x="661" y="80"/>
                  </a:moveTo>
                  <a:lnTo>
                    <a:pt x="659" y="99"/>
                  </a:lnTo>
                  <a:lnTo>
                    <a:pt x="642" y="97"/>
                  </a:lnTo>
                  <a:lnTo>
                    <a:pt x="644" y="78"/>
                  </a:lnTo>
                  <a:lnTo>
                    <a:pt x="661" y="80"/>
                  </a:lnTo>
                  <a:lnTo>
                    <a:pt x="661" y="80"/>
                  </a:lnTo>
                  <a:close/>
                  <a:moveTo>
                    <a:pt x="590" y="73"/>
                  </a:moveTo>
                  <a:lnTo>
                    <a:pt x="588" y="90"/>
                  </a:lnTo>
                  <a:lnTo>
                    <a:pt x="571" y="87"/>
                  </a:lnTo>
                  <a:lnTo>
                    <a:pt x="571" y="71"/>
                  </a:lnTo>
                  <a:lnTo>
                    <a:pt x="590" y="73"/>
                  </a:lnTo>
                  <a:lnTo>
                    <a:pt x="590" y="73"/>
                  </a:lnTo>
                  <a:close/>
                  <a:moveTo>
                    <a:pt x="519" y="64"/>
                  </a:moveTo>
                  <a:lnTo>
                    <a:pt x="517" y="80"/>
                  </a:lnTo>
                  <a:lnTo>
                    <a:pt x="498" y="78"/>
                  </a:lnTo>
                  <a:lnTo>
                    <a:pt x="500" y="61"/>
                  </a:lnTo>
                  <a:lnTo>
                    <a:pt x="519" y="64"/>
                  </a:lnTo>
                  <a:lnTo>
                    <a:pt x="519" y="64"/>
                  </a:lnTo>
                  <a:close/>
                  <a:moveTo>
                    <a:pt x="448" y="54"/>
                  </a:moveTo>
                  <a:lnTo>
                    <a:pt x="446" y="73"/>
                  </a:lnTo>
                  <a:lnTo>
                    <a:pt x="427" y="71"/>
                  </a:lnTo>
                  <a:lnTo>
                    <a:pt x="429" y="52"/>
                  </a:lnTo>
                  <a:lnTo>
                    <a:pt x="448" y="54"/>
                  </a:lnTo>
                  <a:lnTo>
                    <a:pt x="448" y="54"/>
                  </a:lnTo>
                  <a:close/>
                  <a:moveTo>
                    <a:pt x="375" y="45"/>
                  </a:moveTo>
                  <a:lnTo>
                    <a:pt x="373" y="64"/>
                  </a:lnTo>
                  <a:lnTo>
                    <a:pt x="356" y="61"/>
                  </a:lnTo>
                  <a:lnTo>
                    <a:pt x="359" y="43"/>
                  </a:lnTo>
                  <a:lnTo>
                    <a:pt x="375" y="45"/>
                  </a:lnTo>
                  <a:lnTo>
                    <a:pt x="375" y="45"/>
                  </a:lnTo>
                  <a:close/>
                  <a:moveTo>
                    <a:pt x="304" y="38"/>
                  </a:moveTo>
                  <a:lnTo>
                    <a:pt x="302" y="54"/>
                  </a:lnTo>
                  <a:lnTo>
                    <a:pt x="285" y="52"/>
                  </a:lnTo>
                  <a:lnTo>
                    <a:pt x="285" y="35"/>
                  </a:lnTo>
                  <a:lnTo>
                    <a:pt x="304" y="38"/>
                  </a:lnTo>
                  <a:lnTo>
                    <a:pt x="304" y="38"/>
                  </a:lnTo>
                  <a:close/>
                  <a:moveTo>
                    <a:pt x="233" y="28"/>
                  </a:moveTo>
                  <a:lnTo>
                    <a:pt x="231" y="47"/>
                  </a:lnTo>
                  <a:lnTo>
                    <a:pt x="212" y="45"/>
                  </a:lnTo>
                  <a:lnTo>
                    <a:pt x="214" y="26"/>
                  </a:lnTo>
                  <a:lnTo>
                    <a:pt x="233" y="28"/>
                  </a:lnTo>
                  <a:lnTo>
                    <a:pt x="233" y="28"/>
                  </a:lnTo>
                  <a:close/>
                  <a:moveTo>
                    <a:pt x="163" y="19"/>
                  </a:moveTo>
                  <a:lnTo>
                    <a:pt x="160" y="38"/>
                  </a:lnTo>
                  <a:lnTo>
                    <a:pt x="141" y="35"/>
                  </a:lnTo>
                  <a:lnTo>
                    <a:pt x="144" y="17"/>
                  </a:lnTo>
                  <a:lnTo>
                    <a:pt x="163" y="19"/>
                  </a:lnTo>
                  <a:lnTo>
                    <a:pt x="163" y="19"/>
                  </a:lnTo>
                  <a:close/>
                  <a:moveTo>
                    <a:pt x="89" y="12"/>
                  </a:moveTo>
                  <a:lnTo>
                    <a:pt x="87" y="28"/>
                  </a:lnTo>
                  <a:lnTo>
                    <a:pt x="70" y="26"/>
                  </a:lnTo>
                  <a:lnTo>
                    <a:pt x="73" y="9"/>
                  </a:lnTo>
                  <a:lnTo>
                    <a:pt x="89" y="1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19" name="Freeform 535"/>
            <p:cNvSpPr>
              <a:spLocks noEditPoints="1"/>
            </p:cNvSpPr>
            <p:nvPr/>
          </p:nvSpPr>
          <p:spPr bwMode="auto">
            <a:xfrm>
              <a:off x="6126163" y="2098675"/>
              <a:ext cx="892175" cy="1114425"/>
            </a:xfrm>
            <a:custGeom>
              <a:avLst/>
              <a:gdLst>
                <a:gd name="T0" fmla="*/ 538 w 562"/>
                <a:gd name="T1" fmla="*/ 14 h 702"/>
                <a:gd name="T2" fmla="*/ 562 w 562"/>
                <a:gd name="T3" fmla="*/ 12 h 702"/>
                <a:gd name="T4" fmla="*/ 553 w 562"/>
                <a:gd name="T5" fmla="*/ 26 h 702"/>
                <a:gd name="T6" fmla="*/ 0 w 562"/>
                <a:gd name="T7" fmla="*/ 690 h 702"/>
                <a:gd name="T8" fmla="*/ 26 w 562"/>
                <a:gd name="T9" fmla="*/ 688 h 702"/>
                <a:gd name="T10" fmla="*/ 14 w 562"/>
                <a:gd name="T11" fmla="*/ 702 h 702"/>
                <a:gd name="T12" fmla="*/ 45 w 562"/>
                <a:gd name="T13" fmla="*/ 633 h 702"/>
                <a:gd name="T14" fmla="*/ 71 w 562"/>
                <a:gd name="T15" fmla="*/ 631 h 702"/>
                <a:gd name="T16" fmla="*/ 59 w 562"/>
                <a:gd name="T17" fmla="*/ 645 h 702"/>
                <a:gd name="T18" fmla="*/ 90 w 562"/>
                <a:gd name="T19" fmla="*/ 577 h 702"/>
                <a:gd name="T20" fmla="*/ 116 w 562"/>
                <a:gd name="T21" fmla="*/ 574 h 702"/>
                <a:gd name="T22" fmla="*/ 104 w 562"/>
                <a:gd name="T23" fmla="*/ 588 h 702"/>
                <a:gd name="T24" fmla="*/ 134 w 562"/>
                <a:gd name="T25" fmla="*/ 522 h 702"/>
                <a:gd name="T26" fmla="*/ 160 w 562"/>
                <a:gd name="T27" fmla="*/ 518 h 702"/>
                <a:gd name="T28" fmla="*/ 149 w 562"/>
                <a:gd name="T29" fmla="*/ 532 h 702"/>
                <a:gd name="T30" fmla="*/ 179 w 562"/>
                <a:gd name="T31" fmla="*/ 466 h 702"/>
                <a:gd name="T32" fmla="*/ 203 w 562"/>
                <a:gd name="T33" fmla="*/ 463 h 702"/>
                <a:gd name="T34" fmla="*/ 194 w 562"/>
                <a:gd name="T35" fmla="*/ 477 h 702"/>
                <a:gd name="T36" fmla="*/ 224 w 562"/>
                <a:gd name="T37" fmla="*/ 409 h 702"/>
                <a:gd name="T38" fmla="*/ 248 w 562"/>
                <a:gd name="T39" fmla="*/ 407 h 702"/>
                <a:gd name="T40" fmla="*/ 238 w 562"/>
                <a:gd name="T41" fmla="*/ 421 h 702"/>
                <a:gd name="T42" fmla="*/ 269 w 562"/>
                <a:gd name="T43" fmla="*/ 352 h 702"/>
                <a:gd name="T44" fmla="*/ 293 w 562"/>
                <a:gd name="T45" fmla="*/ 350 h 702"/>
                <a:gd name="T46" fmla="*/ 283 w 562"/>
                <a:gd name="T47" fmla="*/ 364 h 702"/>
                <a:gd name="T48" fmla="*/ 314 w 562"/>
                <a:gd name="T49" fmla="*/ 296 h 702"/>
                <a:gd name="T50" fmla="*/ 338 w 562"/>
                <a:gd name="T51" fmla="*/ 293 h 702"/>
                <a:gd name="T52" fmla="*/ 328 w 562"/>
                <a:gd name="T53" fmla="*/ 307 h 702"/>
                <a:gd name="T54" fmla="*/ 359 w 562"/>
                <a:gd name="T55" fmla="*/ 239 h 702"/>
                <a:gd name="T56" fmla="*/ 383 w 562"/>
                <a:gd name="T57" fmla="*/ 236 h 702"/>
                <a:gd name="T58" fmla="*/ 373 w 562"/>
                <a:gd name="T59" fmla="*/ 251 h 702"/>
                <a:gd name="T60" fmla="*/ 404 w 562"/>
                <a:gd name="T61" fmla="*/ 184 h 702"/>
                <a:gd name="T62" fmla="*/ 427 w 562"/>
                <a:gd name="T63" fmla="*/ 180 h 702"/>
                <a:gd name="T64" fmla="*/ 418 w 562"/>
                <a:gd name="T65" fmla="*/ 194 h 702"/>
                <a:gd name="T66" fmla="*/ 449 w 562"/>
                <a:gd name="T67" fmla="*/ 128 h 702"/>
                <a:gd name="T68" fmla="*/ 472 w 562"/>
                <a:gd name="T69" fmla="*/ 123 h 702"/>
                <a:gd name="T70" fmla="*/ 463 w 562"/>
                <a:gd name="T71" fmla="*/ 137 h 702"/>
                <a:gd name="T72" fmla="*/ 494 w 562"/>
                <a:gd name="T73" fmla="*/ 71 h 702"/>
                <a:gd name="T74" fmla="*/ 517 w 562"/>
                <a:gd name="T75" fmla="*/ 69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2" h="702">
                  <a:moveTo>
                    <a:pt x="553" y="26"/>
                  </a:moveTo>
                  <a:lnTo>
                    <a:pt x="538" y="14"/>
                  </a:lnTo>
                  <a:lnTo>
                    <a:pt x="548" y="0"/>
                  </a:lnTo>
                  <a:lnTo>
                    <a:pt x="562" y="12"/>
                  </a:lnTo>
                  <a:lnTo>
                    <a:pt x="553" y="26"/>
                  </a:lnTo>
                  <a:lnTo>
                    <a:pt x="553" y="26"/>
                  </a:lnTo>
                  <a:close/>
                  <a:moveTo>
                    <a:pt x="14" y="702"/>
                  </a:moveTo>
                  <a:lnTo>
                    <a:pt x="0" y="690"/>
                  </a:lnTo>
                  <a:lnTo>
                    <a:pt x="12" y="676"/>
                  </a:lnTo>
                  <a:lnTo>
                    <a:pt x="26" y="688"/>
                  </a:lnTo>
                  <a:lnTo>
                    <a:pt x="14" y="702"/>
                  </a:lnTo>
                  <a:lnTo>
                    <a:pt x="14" y="702"/>
                  </a:lnTo>
                  <a:close/>
                  <a:moveTo>
                    <a:pt x="59" y="645"/>
                  </a:moveTo>
                  <a:lnTo>
                    <a:pt x="45" y="633"/>
                  </a:lnTo>
                  <a:lnTo>
                    <a:pt x="57" y="619"/>
                  </a:lnTo>
                  <a:lnTo>
                    <a:pt x="71" y="631"/>
                  </a:lnTo>
                  <a:lnTo>
                    <a:pt x="59" y="645"/>
                  </a:lnTo>
                  <a:lnTo>
                    <a:pt x="59" y="645"/>
                  </a:lnTo>
                  <a:close/>
                  <a:moveTo>
                    <a:pt x="104" y="588"/>
                  </a:moveTo>
                  <a:lnTo>
                    <a:pt x="90" y="577"/>
                  </a:lnTo>
                  <a:lnTo>
                    <a:pt x="101" y="565"/>
                  </a:lnTo>
                  <a:lnTo>
                    <a:pt x="116" y="574"/>
                  </a:lnTo>
                  <a:lnTo>
                    <a:pt x="104" y="588"/>
                  </a:lnTo>
                  <a:lnTo>
                    <a:pt x="104" y="588"/>
                  </a:lnTo>
                  <a:close/>
                  <a:moveTo>
                    <a:pt x="149" y="532"/>
                  </a:moveTo>
                  <a:lnTo>
                    <a:pt x="134" y="522"/>
                  </a:lnTo>
                  <a:lnTo>
                    <a:pt x="146" y="508"/>
                  </a:lnTo>
                  <a:lnTo>
                    <a:pt x="160" y="518"/>
                  </a:lnTo>
                  <a:lnTo>
                    <a:pt x="149" y="532"/>
                  </a:lnTo>
                  <a:lnTo>
                    <a:pt x="149" y="532"/>
                  </a:lnTo>
                  <a:close/>
                  <a:moveTo>
                    <a:pt x="194" y="477"/>
                  </a:moveTo>
                  <a:lnTo>
                    <a:pt x="179" y="466"/>
                  </a:lnTo>
                  <a:lnTo>
                    <a:pt x="191" y="451"/>
                  </a:lnTo>
                  <a:lnTo>
                    <a:pt x="203" y="463"/>
                  </a:lnTo>
                  <a:lnTo>
                    <a:pt x="194" y="477"/>
                  </a:lnTo>
                  <a:lnTo>
                    <a:pt x="194" y="477"/>
                  </a:lnTo>
                  <a:close/>
                  <a:moveTo>
                    <a:pt x="238" y="421"/>
                  </a:moveTo>
                  <a:lnTo>
                    <a:pt x="224" y="409"/>
                  </a:lnTo>
                  <a:lnTo>
                    <a:pt x="236" y="395"/>
                  </a:lnTo>
                  <a:lnTo>
                    <a:pt x="248" y="407"/>
                  </a:lnTo>
                  <a:lnTo>
                    <a:pt x="238" y="421"/>
                  </a:lnTo>
                  <a:lnTo>
                    <a:pt x="238" y="421"/>
                  </a:lnTo>
                  <a:close/>
                  <a:moveTo>
                    <a:pt x="283" y="364"/>
                  </a:moveTo>
                  <a:lnTo>
                    <a:pt x="269" y="352"/>
                  </a:lnTo>
                  <a:lnTo>
                    <a:pt x="279" y="338"/>
                  </a:lnTo>
                  <a:lnTo>
                    <a:pt x="293" y="350"/>
                  </a:lnTo>
                  <a:lnTo>
                    <a:pt x="283" y="364"/>
                  </a:lnTo>
                  <a:lnTo>
                    <a:pt x="283" y="364"/>
                  </a:lnTo>
                  <a:close/>
                  <a:moveTo>
                    <a:pt x="328" y="307"/>
                  </a:moveTo>
                  <a:lnTo>
                    <a:pt x="314" y="296"/>
                  </a:lnTo>
                  <a:lnTo>
                    <a:pt x="323" y="281"/>
                  </a:lnTo>
                  <a:lnTo>
                    <a:pt x="338" y="293"/>
                  </a:lnTo>
                  <a:lnTo>
                    <a:pt x="328" y="307"/>
                  </a:lnTo>
                  <a:lnTo>
                    <a:pt x="328" y="307"/>
                  </a:lnTo>
                  <a:close/>
                  <a:moveTo>
                    <a:pt x="373" y="251"/>
                  </a:moveTo>
                  <a:lnTo>
                    <a:pt x="359" y="239"/>
                  </a:lnTo>
                  <a:lnTo>
                    <a:pt x="368" y="225"/>
                  </a:lnTo>
                  <a:lnTo>
                    <a:pt x="383" y="236"/>
                  </a:lnTo>
                  <a:lnTo>
                    <a:pt x="373" y="251"/>
                  </a:lnTo>
                  <a:lnTo>
                    <a:pt x="373" y="251"/>
                  </a:lnTo>
                  <a:close/>
                  <a:moveTo>
                    <a:pt x="418" y="194"/>
                  </a:moveTo>
                  <a:lnTo>
                    <a:pt x="404" y="184"/>
                  </a:lnTo>
                  <a:lnTo>
                    <a:pt x="413" y="170"/>
                  </a:lnTo>
                  <a:lnTo>
                    <a:pt x="427" y="180"/>
                  </a:lnTo>
                  <a:lnTo>
                    <a:pt x="418" y="194"/>
                  </a:lnTo>
                  <a:lnTo>
                    <a:pt x="418" y="194"/>
                  </a:lnTo>
                  <a:close/>
                  <a:moveTo>
                    <a:pt x="463" y="137"/>
                  </a:moveTo>
                  <a:lnTo>
                    <a:pt x="449" y="128"/>
                  </a:lnTo>
                  <a:lnTo>
                    <a:pt x="458" y="114"/>
                  </a:lnTo>
                  <a:lnTo>
                    <a:pt x="472" y="123"/>
                  </a:lnTo>
                  <a:lnTo>
                    <a:pt x="463" y="137"/>
                  </a:lnTo>
                  <a:lnTo>
                    <a:pt x="463" y="137"/>
                  </a:lnTo>
                  <a:close/>
                  <a:moveTo>
                    <a:pt x="508" y="83"/>
                  </a:moveTo>
                  <a:lnTo>
                    <a:pt x="494" y="71"/>
                  </a:lnTo>
                  <a:lnTo>
                    <a:pt x="503" y="57"/>
                  </a:lnTo>
                  <a:lnTo>
                    <a:pt x="517" y="69"/>
                  </a:lnTo>
                  <a:lnTo>
                    <a:pt x="508" y="8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0" name="Freeform 536"/>
            <p:cNvSpPr>
              <a:spLocks noEditPoints="1"/>
            </p:cNvSpPr>
            <p:nvPr/>
          </p:nvSpPr>
          <p:spPr bwMode="auto">
            <a:xfrm>
              <a:off x="6230938" y="1341438"/>
              <a:ext cx="773113" cy="738188"/>
            </a:xfrm>
            <a:custGeom>
              <a:avLst/>
              <a:gdLst>
                <a:gd name="T0" fmla="*/ 463 w 487"/>
                <a:gd name="T1" fmla="*/ 454 h 465"/>
                <a:gd name="T2" fmla="*/ 475 w 487"/>
                <a:gd name="T3" fmla="*/ 439 h 465"/>
                <a:gd name="T4" fmla="*/ 487 w 487"/>
                <a:gd name="T5" fmla="*/ 454 h 465"/>
                <a:gd name="T6" fmla="*/ 475 w 487"/>
                <a:gd name="T7" fmla="*/ 465 h 465"/>
                <a:gd name="T8" fmla="*/ 463 w 487"/>
                <a:gd name="T9" fmla="*/ 454 h 465"/>
                <a:gd name="T10" fmla="*/ 463 w 487"/>
                <a:gd name="T11" fmla="*/ 454 h 465"/>
                <a:gd name="T12" fmla="*/ 0 w 487"/>
                <a:gd name="T13" fmla="*/ 14 h 465"/>
                <a:gd name="T14" fmla="*/ 5 w 487"/>
                <a:gd name="T15" fmla="*/ 19 h 465"/>
                <a:gd name="T16" fmla="*/ 19 w 487"/>
                <a:gd name="T17" fmla="*/ 7 h 465"/>
                <a:gd name="T18" fmla="*/ 14 w 487"/>
                <a:gd name="T19" fmla="*/ 0 h 465"/>
                <a:gd name="T20" fmla="*/ 0 w 487"/>
                <a:gd name="T21" fmla="*/ 14 h 465"/>
                <a:gd name="T22" fmla="*/ 0 w 487"/>
                <a:gd name="T23" fmla="*/ 14 h 465"/>
                <a:gd name="T24" fmla="*/ 45 w 487"/>
                <a:gd name="T25" fmla="*/ 57 h 465"/>
                <a:gd name="T26" fmla="*/ 57 w 487"/>
                <a:gd name="T27" fmla="*/ 43 h 465"/>
                <a:gd name="T28" fmla="*/ 71 w 487"/>
                <a:gd name="T29" fmla="*/ 57 h 465"/>
                <a:gd name="T30" fmla="*/ 59 w 487"/>
                <a:gd name="T31" fmla="*/ 69 h 465"/>
                <a:gd name="T32" fmla="*/ 45 w 487"/>
                <a:gd name="T33" fmla="*/ 57 h 465"/>
                <a:gd name="T34" fmla="*/ 45 w 487"/>
                <a:gd name="T35" fmla="*/ 57 h 465"/>
                <a:gd name="T36" fmla="*/ 97 w 487"/>
                <a:gd name="T37" fmla="*/ 106 h 465"/>
                <a:gd name="T38" fmla="*/ 109 w 487"/>
                <a:gd name="T39" fmla="*/ 92 h 465"/>
                <a:gd name="T40" fmla="*/ 123 w 487"/>
                <a:gd name="T41" fmla="*/ 106 h 465"/>
                <a:gd name="T42" fmla="*/ 111 w 487"/>
                <a:gd name="T43" fmla="*/ 118 h 465"/>
                <a:gd name="T44" fmla="*/ 97 w 487"/>
                <a:gd name="T45" fmla="*/ 106 h 465"/>
                <a:gd name="T46" fmla="*/ 97 w 487"/>
                <a:gd name="T47" fmla="*/ 106 h 465"/>
                <a:gd name="T48" fmla="*/ 149 w 487"/>
                <a:gd name="T49" fmla="*/ 156 h 465"/>
                <a:gd name="T50" fmla="*/ 161 w 487"/>
                <a:gd name="T51" fmla="*/ 142 h 465"/>
                <a:gd name="T52" fmla="*/ 175 w 487"/>
                <a:gd name="T53" fmla="*/ 156 h 465"/>
                <a:gd name="T54" fmla="*/ 163 w 487"/>
                <a:gd name="T55" fmla="*/ 168 h 465"/>
                <a:gd name="T56" fmla="*/ 149 w 487"/>
                <a:gd name="T57" fmla="*/ 156 h 465"/>
                <a:gd name="T58" fmla="*/ 149 w 487"/>
                <a:gd name="T59" fmla="*/ 156 h 465"/>
                <a:gd name="T60" fmla="*/ 201 w 487"/>
                <a:gd name="T61" fmla="*/ 206 h 465"/>
                <a:gd name="T62" fmla="*/ 213 w 487"/>
                <a:gd name="T63" fmla="*/ 191 h 465"/>
                <a:gd name="T64" fmla="*/ 227 w 487"/>
                <a:gd name="T65" fmla="*/ 206 h 465"/>
                <a:gd name="T66" fmla="*/ 215 w 487"/>
                <a:gd name="T67" fmla="*/ 217 h 465"/>
                <a:gd name="T68" fmla="*/ 201 w 487"/>
                <a:gd name="T69" fmla="*/ 206 h 465"/>
                <a:gd name="T70" fmla="*/ 201 w 487"/>
                <a:gd name="T71" fmla="*/ 206 h 465"/>
                <a:gd name="T72" fmla="*/ 253 w 487"/>
                <a:gd name="T73" fmla="*/ 255 h 465"/>
                <a:gd name="T74" fmla="*/ 267 w 487"/>
                <a:gd name="T75" fmla="*/ 241 h 465"/>
                <a:gd name="T76" fmla="*/ 279 w 487"/>
                <a:gd name="T77" fmla="*/ 255 h 465"/>
                <a:gd name="T78" fmla="*/ 267 w 487"/>
                <a:gd name="T79" fmla="*/ 267 h 465"/>
                <a:gd name="T80" fmla="*/ 253 w 487"/>
                <a:gd name="T81" fmla="*/ 255 h 465"/>
                <a:gd name="T82" fmla="*/ 253 w 487"/>
                <a:gd name="T83" fmla="*/ 255 h 465"/>
                <a:gd name="T84" fmla="*/ 305 w 487"/>
                <a:gd name="T85" fmla="*/ 305 h 465"/>
                <a:gd name="T86" fmla="*/ 319 w 487"/>
                <a:gd name="T87" fmla="*/ 291 h 465"/>
                <a:gd name="T88" fmla="*/ 331 w 487"/>
                <a:gd name="T89" fmla="*/ 305 h 465"/>
                <a:gd name="T90" fmla="*/ 319 w 487"/>
                <a:gd name="T91" fmla="*/ 317 h 465"/>
                <a:gd name="T92" fmla="*/ 305 w 487"/>
                <a:gd name="T93" fmla="*/ 305 h 465"/>
                <a:gd name="T94" fmla="*/ 305 w 487"/>
                <a:gd name="T95" fmla="*/ 305 h 465"/>
                <a:gd name="T96" fmla="*/ 357 w 487"/>
                <a:gd name="T97" fmla="*/ 354 h 465"/>
                <a:gd name="T98" fmla="*/ 371 w 487"/>
                <a:gd name="T99" fmla="*/ 340 h 465"/>
                <a:gd name="T100" fmla="*/ 383 w 487"/>
                <a:gd name="T101" fmla="*/ 354 h 465"/>
                <a:gd name="T102" fmla="*/ 371 w 487"/>
                <a:gd name="T103" fmla="*/ 366 h 465"/>
                <a:gd name="T104" fmla="*/ 357 w 487"/>
                <a:gd name="T105" fmla="*/ 354 h 465"/>
                <a:gd name="T106" fmla="*/ 357 w 487"/>
                <a:gd name="T107" fmla="*/ 354 h 465"/>
                <a:gd name="T108" fmla="*/ 409 w 487"/>
                <a:gd name="T109" fmla="*/ 404 h 465"/>
                <a:gd name="T110" fmla="*/ 423 w 487"/>
                <a:gd name="T111" fmla="*/ 390 h 465"/>
                <a:gd name="T112" fmla="*/ 435 w 487"/>
                <a:gd name="T113" fmla="*/ 404 h 465"/>
                <a:gd name="T114" fmla="*/ 423 w 487"/>
                <a:gd name="T115" fmla="*/ 416 h 465"/>
                <a:gd name="T116" fmla="*/ 409 w 487"/>
                <a:gd name="T117" fmla="*/ 404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7" h="465">
                  <a:moveTo>
                    <a:pt x="463" y="454"/>
                  </a:moveTo>
                  <a:lnTo>
                    <a:pt x="475" y="439"/>
                  </a:lnTo>
                  <a:lnTo>
                    <a:pt x="487" y="454"/>
                  </a:lnTo>
                  <a:lnTo>
                    <a:pt x="475" y="465"/>
                  </a:lnTo>
                  <a:lnTo>
                    <a:pt x="463" y="454"/>
                  </a:lnTo>
                  <a:lnTo>
                    <a:pt x="463" y="454"/>
                  </a:lnTo>
                  <a:close/>
                  <a:moveTo>
                    <a:pt x="0" y="14"/>
                  </a:moveTo>
                  <a:lnTo>
                    <a:pt x="5" y="19"/>
                  </a:lnTo>
                  <a:lnTo>
                    <a:pt x="19" y="7"/>
                  </a:lnTo>
                  <a:lnTo>
                    <a:pt x="14" y="0"/>
                  </a:lnTo>
                  <a:lnTo>
                    <a:pt x="0" y="14"/>
                  </a:lnTo>
                  <a:lnTo>
                    <a:pt x="0" y="14"/>
                  </a:lnTo>
                  <a:close/>
                  <a:moveTo>
                    <a:pt x="45" y="57"/>
                  </a:moveTo>
                  <a:lnTo>
                    <a:pt x="57" y="43"/>
                  </a:lnTo>
                  <a:lnTo>
                    <a:pt x="71" y="57"/>
                  </a:lnTo>
                  <a:lnTo>
                    <a:pt x="59" y="69"/>
                  </a:lnTo>
                  <a:lnTo>
                    <a:pt x="45" y="57"/>
                  </a:lnTo>
                  <a:lnTo>
                    <a:pt x="45" y="57"/>
                  </a:lnTo>
                  <a:close/>
                  <a:moveTo>
                    <a:pt x="97" y="106"/>
                  </a:moveTo>
                  <a:lnTo>
                    <a:pt x="109" y="92"/>
                  </a:lnTo>
                  <a:lnTo>
                    <a:pt x="123" y="106"/>
                  </a:lnTo>
                  <a:lnTo>
                    <a:pt x="111" y="118"/>
                  </a:lnTo>
                  <a:lnTo>
                    <a:pt x="97" y="106"/>
                  </a:lnTo>
                  <a:lnTo>
                    <a:pt x="97" y="106"/>
                  </a:lnTo>
                  <a:close/>
                  <a:moveTo>
                    <a:pt x="149" y="156"/>
                  </a:moveTo>
                  <a:lnTo>
                    <a:pt x="161" y="142"/>
                  </a:lnTo>
                  <a:lnTo>
                    <a:pt x="175" y="156"/>
                  </a:lnTo>
                  <a:lnTo>
                    <a:pt x="163" y="168"/>
                  </a:lnTo>
                  <a:lnTo>
                    <a:pt x="149" y="156"/>
                  </a:lnTo>
                  <a:lnTo>
                    <a:pt x="149" y="156"/>
                  </a:lnTo>
                  <a:close/>
                  <a:moveTo>
                    <a:pt x="201" y="206"/>
                  </a:moveTo>
                  <a:lnTo>
                    <a:pt x="213" y="191"/>
                  </a:lnTo>
                  <a:lnTo>
                    <a:pt x="227" y="206"/>
                  </a:lnTo>
                  <a:lnTo>
                    <a:pt x="215" y="217"/>
                  </a:lnTo>
                  <a:lnTo>
                    <a:pt x="201" y="206"/>
                  </a:lnTo>
                  <a:lnTo>
                    <a:pt x="201" y="206"/>
                  </a:lnTo>
                  <a:close/>
                  <a:moveTo>
                    <a:pt x="253" y="255"/>
                  </a:moveTo>
                  <a:lnTo>
                    <a:pt x="267" y="241"/>
                  </a:lnTo>
                  <a:lnTo>
                    <a:pt x="279" y="255"/>
                  </a:lnTo>
                  <a:lnTo>
                    <a:pt x="267" y="267"/>
                  </a:lnTo>
                  <a:lnTo>
                    <a:pt x="253" y="255"/>
                  </a:lnTo>
                  <a:lnTo>
                    <a:pt x="253" y="255"/>
                  </a:lnTo>
                  <a:close/>
                  <a:moveTo>
                    <a:pt x="305" y="305"/>
                  </a:moveTo>
                  <a:lnTo>
                    <a:pt x="319" y="291"/>
                  </a:lnTo>
                  <a:lnTo>
                    <a:pt x="331" y="305"/>
                  </a:lnTo>
                  <a:lnTo>
                    <a:pt x="319" y="317"/>
                  </a:lnTo>
                  <a:lnTo>
                    <a:pt x="305" y="305"/>
                  </a:lnTo>
                  <a:lnTo>
                    <a:pt x="305" y="305"/>
                  </a:lnTo>
                  <a:close/>
                  <a:moveTo>
                    <a:pt x="357" y="354"/>
                  </a:moveTo>
                  <a:lnTo>
                    <a:pt x="371" y="340"/>
                  </a:lnTo>
                  <a:lnTo>
                    <a:pt x="383" y="354"/>
                  </a:lnTo>
                  <a:lnTo>
                    <a:pt x="371" y="366"/>
                  </a:lnTo>
                  <a:lnTo>
                    <a:pt x="357" y="354"/>
                  </a:lnTo>
                  <a:lnTo>
                    <a:pt x="357" y="354"/>
                  </a:lnTo>
                  <a:close/>
                  <a:moveTo>
                    <a:pt x="409" y="404"/>
                  </a:moveTo>
                  <a:lnTo>
                    <a:pt x="423" y="390"/>
                  </a:lnTo>
                  <a:lnTo>
                    <a:pt x="435" y="404"/>
                  </a:lnTo>
                  <a:lnTo>
                    <a:pt x="423" y="416"/>
                  </a:lnTo>
                  <a:lnTo>
                    <a:pt x="409" y="40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1" name="Freeform 537"/>
            <p:cNvSpPr>
              <a:spLocks noEditPoints="1"/>
            </p:cNvSpPr>
            <p:nvPr/>
          </p:nvSpPr>
          <p:spPr bwMode="auto">
            <a:xfrm>
              <a:off x="5259388" y="1341438"/>
              <a:ext cx="985838" cy="385763"/>
            </a:xfrm>
            <a:custGeom>
              <a:avLst/>
              <a:gdLst>
                <a:gd name="T0" fmla="*/ 17 w 621"/>
                <a:gd name="T1" fmla="*/ 220 h 243"/>
                <a:gd name="T2" fmla="*/ 24 w 621"/>
                <a:gd name="T3" fmla="*/ 236 h 243"/>
                <a:gd name="T4" fmla="*/ 7 w 621"/>
                <a:gd name="T5" fmla="*/ 243 h 243"/>
                <a:gd name="T6" fmla="*/ 0 w 621"/>
                <a:gd name="T7" fmla="*/ 224 h 243"/>
                <a:gd name="T8" fmla="*/ 17 w 621"/>
                <a:gd name="T9" fmla="*/ 220 h 243"/>
                <a:gd name="T10" fmla="*/ 17 w 621"/>
                <a:gd name="T11" fmla="*/ 220 h 243"/>
                <a:gd name="T12" fmla="*/ 617 w 621"/>
                <a:gd name="T13" fmla="*/ 0 h 243"/>
                <a:gd name="T14" fmla="*/ 610 w 621"/>
                <a:gd name="T15" fmla="*/ 2 h 243"/>
                <a:gd name="T16" fmla="*/ 614 w 621"/>
                <a:gd name="T17" fmla="*/ 19 h 243"/>
                <a:gd name="T18" fmla="*/ 621 w 621"/>
                <a:gd name="T19" fmla="*/ 17 h 243"/>
                <a:gd name="T20" fmla="*/ 617 w 621"/>
                <a:gd name="T21" fmla="*/ 0 h 243"/>
                <a:gd name="T22" fmla="*/ 617 w 621"/>
                <a:gd name="T23" fmla="*/ 0 h 243"/>
                <a:gd name="T24" fmla="*/ 558 w 621"/>
                <a:gd name="T25" fmla="*/ 21 h 243"/>
                <a:gd name="T26" fmla="*/ 565 w 621"/>
                <a:gd name="T27" fmla="*/ 38 h 243"/>
                <a:gd name="T28" fmla="*/ 548 w 621"/>
                <a:gd name="T29" fmla="*/ 43 h 243"/>
                <a:gd name="T30" fmla="*/ 541 w 621"/>
                <a:gd name="T31" fmla="*/ 26 h 243"/>
                <a:gd name="T32" fmla="*/ 558 w 621"/>
                <a:gd name="T33" fmla="*/ 21 h 243"/>
                <a:gd name="T34" fmla="*/ 558 w 621"/>
                <a:gd name="T35" fmla="*/ 21 h 243"/>
                <a:gd name="T36" fmla="*/ 492 w 621"/>
                <a:gd name="T37" fmla="*/ 45 h 243"/>
                <a:gd name="T38" fmla="*/ 496 w 621"/>
                <a:gd name="T39" fmla="*/ 62 h 243"/>
                <a:gd name="T40" fmla="*/ 480 w 621"/>
                <a:gd name="T41" fmla="*/ 69 h 243"/>
                <a:gd name="T42" fmla="*/ 475 w 621"/>
                <a:gd name="T43" fmla="*/ 52 h 243"/>
                <a:gd name="T44" fmla="*/ 492 w 621"/>
                <a:gd name="T45" fmla="*/ 45 h 243"/>
                <a:gd name="T46" fmla="*/ 492 w 621"/>
                <a:gd name="T47" fmla="*/ 45 h 243"/>
                <a:gd name="T48" fmla="*/ 423 w 621"/>
                <a:gd name="T49" fmla="*/ 71 h 243"/>
                <a:gd name="T50" fmla="*/ 430 w 621"/>
                <a:gd name="T51" fmla="*/ 87 h 243"/>
                <a:gd name="T52" fmla="*/ 414 w 621"/>
                <a:gd name="T53" fmla="*/ 92 h 243"/>
                <a:gd name="T54" fmla="*/ 407 w 621"/>
                <a:gd name="T55" fmla="*/ 76 h 243"/>
                <a:gd name="T56" fmla="*/ 423 w 621"/>
                <a:gd name="T57" fmla="*/ 71 h 243"/>
                <a:gd name="T58" fmla="*/ 423 w 621"/>
                <a:gd name="T59" fmla="*/ 71 h 243"/>
                <a:gd name="T60" fmla="*/ 355 w 621"/>
                <a:gd name="T61" fmla="*/ 95 h 243"/>
                <a:gd name="T62" fmla="*/ 362 w 621"/>
                <a:gd name="T63" fmla="*/ 111 h 243"/>
                <a:gd name="T64" fmla="*/ 345 w 621"/>
                <a:gd name="T65" fmla="*/ 118 h 243"/>
                <a:gd name="T66" fmla="*/ 338 w 621"/>
                <a:gd name="T67" fmla="*/ 102 h 243"/>
                <a:gd name="T68" fmla="*/ 355 w 621"/>
                <a:gd name="T69" fmla="*/ 95 h 243"/>
                <a:gd name="T70" fmla="*/ 355 w 621"/>
                <a:gd name="T71" fmla="*/ 95 h 243"/>
                <a:gd name="T72" fmla="*/ 288 w 621"/>
                <a:gd name="T73" fmla="*/ 121 h 243"/>
                <a:gd name="T74" fmla="*/ 293 w 621"/>
                <a:gd name="T75" fmla="*/ 137 h 243"/>
                <a:gd name="T76" fmla="*/ 277 w 621"/>
                <a:gd name="T77" fmla="*/ 142 h 243"/>
                <a:gd name="T78" fmla="*/ 272 w 621"/>
                <a:gd name="T79" fmla="*/ 125 h 243"/>
                <a:gd name="T80" fmla="*/ 288 w 621"/>
                <a:gd name="T81" fmla="*/ 121 h 243"/>
                <a:gd name="T82" fmla="*/ 288 w 621"/>
                <a:gd name="T83" fmla="*/ 121 h 243"/>
                <a:gd name="T84" fmla="*/ 220 w 621"/>
                <a:gd name="T85" fmla="*/ 144 h 243"/>
                <a:gd name="T86" fmla="*/ 227 w 621"/>
                <a:gd name="T87" fmla="*/ 161 h 243"/>
                <a:gd name="T88" fmla="*/ 210 w 621"/>
                <a:gd name="T89" fmla="*/ 168 h 243"/>
                <a:gd name="T90" fmla="*/ 203 w 621"/>
                <a:gd name="T91" fmla="*/ 151 h 243"/>
                <a:gd name="T92" fmla="*/ 220 w 621"/>
                <a:gd name="T93" fmla="*/ 144 h 243"/>
                <a:gd name="T94" fmla="*/ 220 w 621"/>
                <a:gd name="T95" fmla="*/ 144 h 243"/>
                <a:gd name="T96" fmla="*/ 154 w 621"/>
                <a:gd name="T97" fmla="*/ 170 h 243"/>
                <a:gd name="T98" fmla="*/ 159 w 621"/>
                <a:gd name="T99" fmla="*/ 187 h 243"/>
                <a:gd name="T100" fmla="*/ 142 w 621"/>
                <a:gd name="T101" fmla="*/ 194 h 243"/>
                <a:gd name="T102" fmla="*/ 137 w 621"/>
                <a:gd name="T103" fmla="*/ 175 h 243"/>
                <a:gd name="T104" fmla="*/ 154 w 621"/>
                <a:gd name="T105" fmla="*/ 170 h 243"/>
                <a:gd name="T106" fmla="*/ 154 w 621"/>
                <a:gd name="T107" fmla="*/ 170 h 243"/>
                <a:gd name="T108" fmla="*/ 85 w 621"/>
                <a:gd name="T109" fmla="*/ 194 h 243"/>
                <a:gd name="T110" fmla="*/ 92 w 621"/>
                <a:gd name="T111" fmla="*/ 210 h 243"/>
                <a:gd name="T112" fmla="*/ 76 w 621"/>
                <a:gd name="T113" fmla="*/ 217 h 243"/>
                <a:gd name="T114" fmla="*/ 69 w 621"/>
                <a:gd name="T115" fmla="*/ 201 h 243"/>
                <a:gd name="T116" fmla="*/ 85 w 621"/>
                <a:gd name="T117" fmla="*/ 194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1" h="243">
                  <a:moveTo>
                    <a:pt x="17" y="220"/>
                  </a:moveTo>
                  <a:lnTo>
                    <a:pt x="24" y="236"/>
                  </a:lnTo>
                  <a:lnTo>
                    <a:pt x="7" y="243"/>
                  </a:lnTo>
                  <a:lnTo>
                    <a:pt x="0" y="224"/>
                  </a:lnTo>
                  <a:lnTo>
                    <a:pt x="17" y="220"/>
                  </a:lnTo>
                  <a:lnTo>
                    <a:pt x="17" y="220"/>
                  </a:lnTo>
                  <a:close/>
                  <a:moveTo>
                    <a:pt x="617" y="0"/>
                  </a:moveTo>
                  <a:lnTo>
                    <a:pt x="610" y="2"/>
                  </a:lnTo>
                  <a:lnTo>
                    <a:pt x="614" y="19"/>
                  </a:lnTo>
                  <a:lnTo>
                    <a:pt x="621" y="17"/>
                  </a:lnTo>
                  <a:lnTo>
                    <a:pt x="617" y="0"/>
                  </a:lnTo>
                  <a:lnTo>
                    <a:pt x="617" y="0"/>
                  </a:lnTo>
                  <a:close/>
                  <a:moveTo>
                    <a:pt x="558" y="21"/>
                  </a:moveTo>
                  <a:lnTo>
                    <a:pt x="565" y="38"/>
                  </a:lnTo>
                  <a:lnTo>
                    <a:pt x="548" y="43"/>
                  </a:lnTo>
                  <a:lnTo>
                    <a:pt x="541" y="26"/>
                  </a:lnTo>
                  <a:lnTo>
                    <a:pt x="558" y="21"/>
                  </a:lnTo>
                  <a:lnTo>
                    <a:pt x="558" y="21"/>
                  </a:lnTo>
                  <a:close/>
                  <a:moveTo>
                    <a:pt x="492" y="45"/>
                  </a:moveTo>
                  <a:lnTo>
                    <a:pt x="496" y="62"/>
                  </a:lnTo>
                  <a:lnTo>
                    <a:pt x="480" y="69"/>
                  </a:lnTo>
                  <a:lnTo>
                    <a:pt x="475" y="52"/>
                  </a:lnTo>
                  <a:lnTo>
                    <a:pt x="492" y="45"/>
                  </a:lnTo>
                  <a:lnTo>
                    <a:pt x="492" y="45"/>
                  </a:lnTo>
                  <a:close/>
                  <a:moveTo>
                    <a:pt x="423" y="71"/>
                  </a:moveTo>
                  <a:lnTo>
                    <a:pt x="430" y="87"/>
                  </a:lnTo>
                  <a:lnTo>
                    <a:pt x="414" y="92"/>
                  </a:lnTo>
                  <a:lnTo>
                    <a:pt x="407" y="76"/>
                  </a:lnTo>
                  <a:lnTo>
                    <a:pt x="423" y="71"/>
                  </a:lnTo>
                  <a:lnTo>
                    <a:pt x="423" y="71"/>
                  </a:lnTo>
                  <a:close/>
                  <a:moveTo>
                    <a:pt x="355" y="95"/>
                  </a:moveTo>
                  <a:lnTo>
                    <a:pt x="362" y="111"/>
                  </a:lnTo>
                  <a:lnTo>
                    <a:pt x="345" y="118"/>
                  </a:lnTo>
                  <a:lnTo>
                    <a:pt x="338" y="102"/>
                  </a:lnTo>
                  <a:lnTo>
                    <a:pt x="355" y="95"/>
                  </a:lnTo>
                  <a:lnTo>
                    <a:pt x="355" y="95"/>
                  </a:lnTo>
                  <a:close/>
                  <a:moveTo>
                    <a:pt x="288" y="121"/>
                  </a:moveTo>
                  <a:lnTo>
                    <a:pt x="293" y="137"/>
                  </a:lnTo>
                  <a:lnTo>
                    <a:pt x="277" y="142"/>
                  </a:lnTo>
                  <a:lnTo>
                    <a:pt x="272" y="125"/>
                  </a:lnTo>
                  <a:lnTo>
                    <a:pt x="288" y="121"/>
                  </a:lnTo>
                  <a:lnTo>
                    <a:pt x="288" y="121"/>
                  </a:lnTo>
                  <a:close/>
                  <a:moveTo>
                    <a:pt x="220" y="144"/>
                  </a:moveTo>
                  <a:lnTo>
                    <a:pt x="227" y="161"/>
                  </a:lnTo>
                  <a:lnTo>
                    <a:pt x="210" y="168"/>
                  </a:lnTo>
                  <a:lnTo>
                    <a:pt x="203" y="151"/>
                  </a:lnTo>
                  <a:lnTo>
                    <a:pt x="220" y="144"/>
                  </a:lnTo>
                  <a:lnTo>
                    <a:pt x="220" y="144"/>
                  </a:lnTo>
                  <a:close/>
                  <a:moveTo>
                    <a:pt x="154" y="170"/>
                  </a:moveTo>
                  <a:lnTo>
                    <a:pt x="159" y="187"/>
                  </a:lnTo>
                  <a:lnTo>
                    <a:pt x="142" y="194"/>
                  </a:lnTo>
                  <a:lnTo>
                    <a:pt x="137" y="175"/>
                  </a:lnTo>
                  <a:lnTo>
                    <a:pt x="154" y="170"/>
                  </a:lnTo>
                  <a:lnTo>
                    <a:pt x="154" y="170"/>
                  </a:lnTo>
                  <a:close/>
                  <a:moveTo>
                    <a:pt x="85" y="194"/>
                  </a:moveTo>
                  <a:lnTo>
                    <a:pt x="92" y="210"/>
                  </a:lnTo>
                  <a:lnTo>
                    <a:pt x="76" y="217"/>
                  </a:lnTo>
                  <a:lnTo>
                    <a:pt x="69" y="201"/>
                  </a:lnTo>
                  <a:lnTo>
                    <a:pt x="85" y="19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2" name="Freeform 538"/>
            <p:cNvSpPr>
              <a:spLocks noEditPoints="1"/>
            </p:cNvSpPr>
            <p:nvPr/>
          </p:nvSpPr>
          <p:spPr bwMode="auto">
            <a:xfrm>
              <a:off x="6316663" y="1082675"/>
              <a:ext cx="1384300" cy="269875"/>
            </a:xfrm>
            <a:custGeom>
              <a:avLst/>
              <a:gdLst>
                <a:gd name="T0" fmla="*/ 851 w 872"/>
                <a:gd name="T1" fmla="*/ 2 h 170"/>
                <a:gd name="T2" fmla="*/ 872 w 872"/>
                <a:gd name="T3" fmla="*/ 19 h 170"/>
                <a:gd name="T4" fmla="*/ 853 w 872"/>
                <a:gd name="T5" fmla="*/ 21 h 170"/>
                <a:gd name="T6" fmla="*/ 0 w 872"/>
                <a:gd name="T7" fmla="*/ 154 h 170"/>
                <a:gd name="T8" fmla="*/ 22 w 872"/>
                <a:gd name="T9" fmla="*/ 168 h 170"/>
                <a:gd name="T10" fmla="*/ 3 w 872"/>
                <a:gd name="T11" fmla="*/ 170 h 170"/>
                <a:gd name="T12" fmla="*/ 71 w 872"/>
                <a:gd name="T13" fmla="*/ 142 h 170"/>
                <a:gd name="T14" fmla="*/ 92 w 872"/>
                <a:gd name="T15" fmla="*/ 156 h 170"/>
                <a:gd name="T16" fmla="*/ 74 w 872"/>
                <a:gd name="T17" fmla="*/ 158 h 170"/>
                <a:gd name="T18" fmla="*/ 142 w 872"/>
                <a:gd name="T19" fmla="*/ 128 h 170"/>
                <a:gd name="T20" fmla="*/ 163 w 872"/>
                <a:gd name="T21" fmla="*/ 142 h 170"/>
                <a:gd name="T22" fmla="*/ 144 w 872"/>
                <a:gd name="T23" fmla="*/ 147 h 170"/>
                <a:gd name="T24" fmla="*/ 213 w 872"/>
                <a:gd name="T25" fmla="*/ 116 h 170"/>
                <a:gd name="T26" fmla="*/ 234 w 872"/>
                <a:gd name="T27" fmla="*/ 130 h 170"/>
                <a:gd name="T28" fmla="*/ 215 w 872"/>
                <a:gd name="T29" fmla="*/ 132 h 170"/>
                <a:gd name="T30" fmla="*/ 284 w 872"/>
                <a:gd name="T31" fmla="*/ 104 h 170"/>
                <a:gd name="T32" fmla="*/ 305 w 872"/>
                <a:gd name="T33" fmla="*/ 118 h 170"/>
                <a:gd name="T34" fmla="*/ 286 w 872"/>
                <a:gd name="T35" fmla="*/ 121 h 170"/>
                <a:gd name="T36" fmla="*/ 355 w 872"/>
                <a:gd name="T37" fmla="*/ 90 h 170"/>
                <a:gd name="T38" fmla="*/ 376 w 872"/>
                <a:gd name="T39" fmla="*/ 106 h 170"/>
                <a:gd name="T40" fmla="*/ 357 w 872"/>
                <a:gd name="T41" fmla="*/ 109 h 170"/>
                <a:gd name="T42" fmla="*/ 425 w 872"/>
                <a:gd name="T43" fmla="*/ 78 h 170"/>
                <a:gd name="T44" fmla="*/ 447 w 872"/>
                <a:gd name="T45" fmla="*/ 92 h 170"/>
                <a:gd name="T46" fmla="*/ 428 w 872"/>
                <a:gd name="T47" fmla="*/ 97 h 170"/>
                <a:gd name="T48" fmla="*/ 496 w 872"/>
                <a:gd name="T49" fmla="*/ 66 h 170"/>
                <a:gd name="T50" fmla="*/ 518 w 872"/>
                <a:gd name="T51" fmla="*/ 80 h 170"/>
                <a:gd name="T52" fmla="*/ 499 w 872"/>
                <a:gd name="T53" fmla="*/ 83 h 170"/>
                <a:gd name="T54" fmla="*/ 567 w 872"/>
                <a:gd name="T55" fmla="*/ 54 h 170"/>
                <a:gd name="T56" fmla="*/ 588 w 872"/>
                <a:gd name="T57" fmla="*/ 69 h 170"/>
                <a:gd name="T58" fmla="*/ 570 w 872"/>
                <a:gd name="T59" fmla="*/ 71 h 170"/>
                <a:gd name="T60" fmla="*/ 638 w 872"/>
                <a:gd name="T61" fmla="*/ 40 h 170"/>
                <a:gd name="T62" fmla="*/ 659 w 872"/>
                <a:gd name="T63" fmla="*/ 54 h 170"/>
                <a:gd name="T64" fmla="*/ 640 w 872"/>
                <a:gd name="T65" fmla="*/ 59 h 170"/>
                <a:gd name="T66" fmla="*/ 709 w 872"/>
                <a:gd name="T67" fmla="*/ 28 h 170"/>
                <a:gd name="T68" fmla="*/ 730 w 872"/>
                <a:gd name="T69" fmla="*/ 43 h 170"/>
                <a:gd name="T70" fmla="*/ 711 w 872"/>
                <a:gd name="T71" fmla="*/ 47 h 170"/>
                <a:gd name="T72" fmla="*/ 780 w 872"/>
                <a:gd name="T73" fmla="*/ 17 h 170"/>
                <a:gd name="T74" fmla="*/ 801 w 872"/>
                <a:gd name="T75" fmla="*/ 3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2" h="170">
                  <a:moveTo>
                    <a:pt x="853" y="21"/>
                  </a:moveTo>
                  <a:lnTo>
                    <a:pt x="851" y="2"/>
                  </a:lnTo>
                  <a:lnTo>
                    <a:pt x="870" y="0"/>
                  </a:lnTo>
                  <a:lnTo>
                    <a:pt x="872" y="19"/>
                  </a:lnTo>
                  <a:lnTo>
                    <a:pt x="853" y="21"/>
                  </a:lnTo>
                  <a:lnTo>
                    <a:pt x="853" y="21"/>
                  </a:lnTo>
                  <a:close/>
                  <a:moveTo>
                    <a:pt x="3" y="170"/>
                  </a:moveTo>
                  <a:lnTo>
                    <a:pt x="0" y="154"/>
                  </a:lnTo>
                  <a:lnTo>
                    <a:pt x="17" y="149"/>
                  </a:lnTo>
                  <a:lnTo>
                    <a:pt x="22" y="168"/>
                  </a:lnTo>
                  <a:lnTo>
                    <a:pt x="3" y="170"/>
                  </a:lnTo>
                  <a:lnTo>
                    <a:pt x="3" y="170"/>
                  </a:lnTo>
                  <a:close/>
                  <a:moveTo>
                    <a:pt x="74" y="158"/>
                  </a:moveTo>
                  <a:lnTo>
                    <a:pt x="71" y="142"/>
                  </a:lnTo>
                  <a:lnTo>
                    <a:pt x="88" y="137"/>
                  </a:lnTo>
                  <a:lnTo>
                    <a:pt x="92" y="156"/>
                  </a:lnTo>
                  <a:lnTo>
                    <a:pt x="74" y="158"/>
                  </a:lnTo>
                  <a:lnTo>
                    <a:pt x="74" y="158"/>
                  </a:lnTo>
                  <a:close/>
                  <a:moveTo>
                    <a:pt x="144" y="147"/>
                  </a:moveTo>
                  <a:lnTo>
                    <a:pt x="142" y="128"/>
                  </a:lnTo>
                  <a:lnTo>
                    <a:pt x="159" y="125"/>
                  </a:lnTo>
                  <a:lnTo>
                    <a:pt x="163" y="142"/>
                  </a:lnTo>
                  <a:lnTo>
                    <a:pt x="144" y="147"/>
                  </a:lnTo>
                  <a:lnTo>
                    <a:pt x="144" y="147"/>
                  </a:lnTo>
                  <a:close/>
                  <a:moveTo>
                    <a:pt x="215" y="132"/>
                  </a:moveTo>
                  <a:lnTo>
                    <a:pt x="213" y="116"/>
                  </a:lnTo>
                  <a:lnTo>
                    <a:pt x="229" y="113"/>
                  </a:lnTo>
                  <a:lnTo>
                    <a:pt x="234" y="130"/>
                  </a:lnTo>
                  <a:lnTo>
                    <a:pt x="215" y="132"/>
                  </a:lnTo>
                  <a:lnTo>
                    <a:pt x="215" y="132"/>
                  </a:lnTo>
                  <a:close/>
                  <a:moveTo>
                    <a:pt x="286" y="121"/>
                  </a:moveTo>
                  <a:lnTo>
                    <a:pt x="284" y="104"/>
                  </a:lnTo>
                  <a:lnTo>
                    <a:pt x="300" y="99"/>
                  </a:lnTo>
                  <a:lnTo>
                    <a:pt x="305" y="118"/>
                  </a:lnTo>
                  <a:lnTo>
                    <a:pt x="286" y="121"/>
                  </a:lnTo>
                  <a:lnTo>
                    <a:pt x="286" y="121"/>
                  </a:lnTo>
                  <a:close/>
                  <a:moveTo>
                    <a:pt x="357" y="109"/>
                  </a:moveTo>
                  <a:lnTo>
                    <a:pt x="355" y="90"/>
                  </a:lnTo>
                  <a:lnTo>
                    <a:pt x="371" y="87"/>
                  </a:lnTo>
                  <a:lnTo>
                    <a:pt x="376" y="106"/>
                  </a:lnTo>
                  <a:lnTo>
                    <a:pt x="357" y="109"/>
                  </a:lnTo>
                  <a:lnTo>
                    <a:pt x="357" y="109"/>
                  </a:lnTo>
                  <a:close/>
                  <a:moveTo>
                    <a:pt x="428" y="97"/>
                  </a:moveTo>
                  <a:lnTo>
                    <a:pt x="425" y="78"/>
                  </a:lnTo>
                  <a:lnTo>
                    <a:pt x="442" y="76"/>
                  </a:lnTo>
                  <a:lnTo>
                    <a:pt x="447" y="92"/>
                  </a:lnTo>
                  <a:lnTo>
                    <a:pt x="428" y="97"/>
                  </a:lnTo>
                  <a:lnTo>
                    <a:pt x="428" y="97"/>
                  </a:lnTo>
                  <a:close/>
                  <a:moveTo>
                    <a:pt x="499" y="83"/>
                  </a:moveTo>
                  <a:lnTo>
                    <a:pt x="496" y="66"/>
                  </a:lnTo>
                  <a:lnTo>
                    <a:pt x="513" y="64"/>
                  </a:lnTo>
                  <a:lnTo>
                    <a:pt x="518" y="80"/>
                  </a:lnTo>
                  <a:lnTo>
                    <a:pt x="499" y="83"/>
                  </a:lnTo>
                  <a:lnTo>
                    <a:pt x="499" y="83"/>
                  </a:lnTo>
                  <a:close/>
                  <a:moveTo>
                    <a:pt x="570" y="71"/>
                  </a:moveTo>
                  <a:lnTo>
                    <a:pt x="567" y="54"/>
                  </a:lnTo>
                  <a:lnTo>
                    <a:pt x="584" y="50"/>
                  </a:lnTo>
                  <a:lnTo>
                    <a:pt x="588" y="69"/>
                  </a:lnTo>
                  <a:lnTo>
                    <a:pt x="570" y="71"/>
                  </a:lnTo>
                  <a:lnTo>
                    <a:pt x="570" y="71"/>
                  </a:lnTo>
                  <a:close/>
                  <a:moveTo>
                    <a:pt x="640" y="59"/>
                  </a:moveTo>
                  <a:lnTo>
                    <a:pt x="638" y="40"/>
                  </a:lnTo>
                  <a:lnTo>
                    <a:pt x="655" y="38"/>
                  </a:lnTo>
                  <a:lnTo>
                    <a:pt x="659" y="54"/>
                  </a:lnTo>
                  <a:lnTo>
                    <a:pt x="640" y="59"/>
                  </a:lnTo>
                  <a:lnTo>
                    <a:pt x="640" y="59"/>
                  </a:lnTo>
                  <a:close/>
                  <a:moveTo>
                    <a:pt x="711" y="47"/>
                  </a:moveTo>
                  <a:lnTo>
                    <a:pt x="709" y="28"/>
                  </a:lnTo>
                  <a:lnTo>
                    <a:pt x="725" y="26"/>
                  </a:lnTo>
                  <a:lnTo>
                    <a:pt x="730" y="43"/>
                  </a:lnTo>
                  <a:lnTo>
                    <a:pt x="711" y="47"/>
                  </a:lnTo>
                  <a:lnTo>
                    <a:pt x="711" y="47"/>
                  </a:lnTo>
                  <a:close/>
                  <a:moveTo>
                    <a:pt x="782" y="33"/>
                  </a:moveTo>
                  <a:lnTo>
                    <a:pt x="780" y="17"/>
                  </a:lnTo>
                  <a:lnTo>
                    <a:pt x="799" y="12"/>
                  </a:lnTo>
                  <a:lnTo>
                    <a:pt x="801" y="31"/>
                  </a:lnTo>
                  <a:lnTo>
                    <a:pt x="782" y="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3" name="Freeform 539"/>
            <p:cNvSpPr>
              <a:spLocks noEditPoints="1"/>
            </p:cNvSpPr>
            <p:nvPr/>
          </p:nvSpPr>
          <p:spPr bwMode="auto">
            <a:xfrm>
              <a:off x="4498975" y="1082675"/>
              <a:ext cx="1728788" cy="280988"/>
            </a:xfrm>
            <a:custGeom>
              <a:avLst/>
              <a:gdLst>
                <a:gd name="T0" fmla="*/ 16 w 1089"/>
                <a:gd name="T1" fmla="*/ 21 h 177"/>
                <a:gd name="T2" fmla="*/ 2 w 1089"/>
                <a:gd name="T3" fmla="*/ 0 h 177"/>
                <a:gd name="T4" fmla="*/ 21 w 1089"/>
                <a:gd name="T5" fmla="*/ 2 h 177"/>
                <a:gd name="T6" fmla="*/ 1086 w 1089"/>
                <a:gd name="T7" fmla="*/ 177 h 177"/>
                <a:gd name="T8" fmla="*/ 1070 w 1089"/>
                <a:gd name="T9" fmla="*/ 158 h 177"/>
                <a:gd name="T10" fmla="*/ 1089 w 1089"/>
                <a:gd name="T11" fmla="*/ 161 h 177"/>
                <a:gd name="T12" fmla="*/ 1015 w 1089"/>
                <a:gd name="T13" fmla="*/ 168 h 177"/>
                <a:gd name="T14" fmla="*/ 999 w 1089"/>
                <a:gd name="T15" fmla="*/ 147 h 177"/>
                <a:gd name="T16" fmla="*/ 1018 w 1089"/>
                <a:gd name="T17" fmla="*/ 149 h 177"/>
                <a:gd name="T18" fmla="*/ 942 w 1089"/>
                <a:gd name="T19" fmla="*/ 156 h 177"/>
                <a:gd name="T20" fmla="*/ 928 w 1089"/>
                <a:gd name="T21" fmla="*/ 137 h 177"/>
                <a:gd name="T22" fmla="*/ 947 w 1089"/>
                <a:gd name="T23" fmla="*/ 139 h 177"/>
                <a:gd name="T24" fmla="*/ 871 w 1089"/>
                <a:gd name="T25" fmla="*/ 147 h 177"/>
                <a:gd name="T26" fmla="*/ 857 w 1089"/>
                <a:gd name="T27" fmla="*/ 125 h 177"/>
                <a:gd name="T28" fmla="*/ 874 w 1089"/>
                <a:gd name="T29" fmla="*/ 128 h 177"/>
                <a:gd name="T30" fmla="*/ 800 w 1089"/>
                <a:gd name="T31" fmla="*/ 137 h 177"/>
                <a:gd name="T32" fmla="*/ 786 w 1089"/>
                <a:gd name="T33" fmla="*/ 116 h 177"/>
                <a:gd name="T34" fmla="*/ 803 w 1089"/>
                <a:gd name="T35" fmla="*/ 118 h 177"/>
                <a:gd name="T36" fmla="*/ 730 w 1089"/>
                <a:gd name="T37" fmla="*/ 125 h 177"/>
                <a:gd name="T38" fmla="*/ 715 w 1089"/>
                <a:gd name="T39" fmla="*/ 104 h 177"/>
                <a:gd name="T40" fmla="*/ 732 w 1089"/>
                <a:gd name="T41" fmla="*/ 109 h 177"/>
                <a:gd name="T42" fmla="*/ 659 w 1089"/>
                <a:gd name="T43" fmla="*/ 116 h 177"/>
                <a:gd name="T44" fmla="*/ 642 w 1089"/>
                <a:gd name="T45" fmla="*/ 95 h 177"/>
                <a:gd name="T46" fmla="*/ 661 w 1089"/>
                <a:gd name="T47" fmla="*/ 97 h 177"/>
                <a:gd name="T48" fmla="*/ 588 w 1089"/>
                <a:gd name="T49" fmla="*/ 104 h 177"/>
                <a:gd name="T50" fmla="*/ 571 w 1089"/>
                <a:gd name="T51" fmla="*/ 85 h 177"/>
                <a:gd name="T52" fmla="*/ 590 w 1089"/>
                <a:gd name="T53" fmla="*/ 87 h 177"/>
                <a:gd name="T54" fmla="*/ 517 w 1089"/>
                <a:gd name="T55" fmla="*/ 95 h 177"/>
                <a:gd name="T56" fmla="*/ 501 w 1089"/>
                <a:gd name="T57" fmla="*/ 73 h 177"/>
                <a:gd name="T58" fmla="*/ 519 w 1089"/>
                <a:gd name="T59" fmla="*/ 76 h 177"/>
                <a:gd name="T60" fmla="*/ 444 w 1089"/>
                <a:gd name="T61" fmla="*/ 83 h 177"/>
                <a:gd name="T62" fmla="*/ 430 w 1089"/>
                <a:gd name="T63" fmla="*/ 64 h 177"/>
                <a:gd name="T64" fmla="*/ 449 w 1089"/>
                <a:gd name="T65" fmla="*/ 66 h 177"/>
                <a:gd name="T66" fmla="*/ 373 w 1089"/>
                <a:gd name="T67" fmla="*/ 73 h 177"/>
                <a:gd name="T68" fmla="*/ 359 w 1089"/>
                <a:gd name="T69" fmla="*/ 52 h 177"/>
                <a:gd name="T70" fmla="*/ 375 w 1089"/>
                <a:gd name="T71" fmla="*/ 54 h 177"/>
                <a:gd name="T72" fmla="*/ 302 w 1089"/>
                <a:gd name="T73" fmla="*/ 64 h 177"/>
                <a:gd name="T74" fmla="*/ 288 w 1089"/>
                <a:gd name="T75" fmla="*/ 43 h 177"/>
                <a:gd name="T76" fmla="*/ 304 w 1089"/>
                <a:gd name="T77" fmla="*/ 45 h 177"/>
                <a:gd name="T78" fmla="*/ 231 w 1089"/>
                <a:gd name="T79" fmla="*/ 52 h 177"/>
                <a:gd name="T80" fmla="*/ 217 w 1089"/>
                <a:gd name="T81" fmla="*/ 31 h 177"/>
                <a:gd name="T82" fmla="*/ 234 w 1089"/>
                <a:gd name="T83" fmla="*/ 36 h 177"/>
                <a:gd name="T84" fmla="*/ 160 w 1089"/>
                <a:gd name="T85" fmla="*/ 43 h 177"/>
                <a:gd name="T86" fmla="*/ 144 w 1089"/>
                <a:gd name="T87" fmla="*/ 21 h 177"/>
                <a:gd name="T88" fmla="*/ 163 w 1089"/>
                <a:gd name="T89" fmla="*/ 24 h 177"/>
                <a:gd name="T90" fmla="*/ 90 w 1089"/>
                <a:gd name="T91" fmla="*/ 31 h 177"/>
                <a:gd name="T92" fmla="*/ 73 w 1089"/>
                <a:gd name="T93" fmla="*/ 1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89" h="177">
                  <a:moveTo>
                    <a:pt x="21" y="2"/>
                  </a:moveTo>
                  <a:lnTo>
                    <a:pt x="16" y="21"/>
                  </a:lnTo>
                  <a:lnTo>
                    <a:pt x="0" y="19"/>
                  </a:lnTo>
                  <a:lnTo>
                    <a:pt x="2" y="0"/>
                  </a:lnTo>
                  <a:lnTo>
                    <a:pt x="21" y="2"/>
                  </a:lnTo>
                  <a:lnTo>
                    <a:pt x="21" y="2"/>
                  </a:lnTo>
                  <a:close/>
                  <a:moveTo>
                    <a:pt x="1089" y="161"/>
                  </a:moveTo>
                  <a:lnTo>
                    <a:pt x="1086" y="177"/>
                  </a:lnTo>
                  <a:lnTo>
                    <a:pt x="1067" y="175"/>
                  </a:lnTo>
                  <a:lnTo>
                    <a:pt x="1070" y="158"/>
                  </a:lnTo>
                  <a:lnTo>
                    <a:pt x="1089" y="161"/>
                  </a:lnTo>
                  <a:lnTo>
                    <a:pt x="1089" y="161"/>
                  </a:lnTo>
                  <a:close/>
                  <a:moveTo>
                    <a:pt x="1018" y="149"/>
                  </a:moveTo>
                  <a:lnTo>
                    <a:pt x="1015" y="168"/>
                  </a:lnTo>
                  <a:lnTo>
                    <a:pt x="997" y="165"/>
                  </a:lnTo>
                  <a:lnTo>
                    <a:pt x="999" y="147"/>
                  </a:lnTo>
                  <a:lnTo>
                    <a:pt x="1018" y="149"/>
                  </a:lnTo>
                  <a:lnTo>
                    <a:pt x="1018" y="149"/>
                  </a:lnTo>
                  <a:close/>
                  <a:moveTo>
                    <a:pt x="947" y="139"/>
                  </a:moveTo>
                  <a:lnTo>
                    <a:pt x="942" y="156"/>
                  </a:lnTo>
                  <a:lnTo>
                    <a:pt x="926" y="154"/>
                  </a:lnTo>
                  <a:lnTo>
                    <a:pt x="928" y="137"/>
                  </a:lnTo>
                  <a:lnTo>
                    <a:pt x="947" y="139"/>
                  </a:lnTo>
                  <a:lnTo>
                    <a:pt x="947" y="139"/>
                  </a:lnTo>
                  <a:close/>
                  <a:moveTo>
                    <a:pt x="874" y="128"/>
                  </a:moveTo>
                  <a:lnTo>
                    <a:pt x="871" y="147"/>
                  </a:lnTo>
                  <a:lnTo>
                    <a:pt x="855" y="144"/>
                  </a:lnTo>
                  <a:lnTo>
                    <a:pt x="857" y="125"/>
                  </a:lnTo>
                  <a:lnTo>
                    <a:pt x="874" y="128"/>
                  </a:lnTo>
                  <a:lnTo>
                    <a:pt x="874" y="128"/>
                  </a:lnTo>
                  <a:close/>
                  <a:moveTo>
                    <a:pt x="803" y="118"/>
                  </a:moveTo>
                  <a:lnTo>
                    <a:pt x="800" y="137"/>
                  </a:lnTo>
                  <a:lnTo>
                    <a:pt x="784" y="132"/>
                  </a:lnTo>
                  <a:lnTo>
                    <a:pt x="786" y="116"/>
                  </a:lnTo>
                  <a:lnTo>
                    <a:pt x="803" y="118"/>
                  </a:lnTo>
                  <a:lnTo>
                    <a:pt x="803" y="118"/>
                  </a:lnTo>
                  <a:close/>
                  <a:moveTo>
                    <a:pt x="732" y="109"/>
                  </a:moveTo>
                  <a:lnTo>
                    <a:pt x="730" y="125"/>
                  </a:lnTo>
                  <a:lnTo>
                    <a:pt x="711" y="123"/>
                  </a:lnTo>
                  <a:lnTo>
                    <a:pt x="715" y="104"/>
                  </a:lnTo>
                  <a:lnTo>
                    <a:pt x="732" y="109"/>
                  </a:lnTo>
                  <a:lnTo>
                    <a:pt x="732" y="109"/>
                  </a:lnTo>
                  <a:close/>
                  <a:moveTo>
                    <a:pt x="661" y="97"/>
                  </a:moveTo>
                  <a:lnTo>
                    <a:pt x="659" y="116"/>
                  </a:lnTo>
                  <a:lnTo>
                    <a:pt x="640" y="113"/>
                  </a:lnTo>
                  <a:lnTo>
                    <a:pt x="642" y="95"/>
                  </a:lnTo>
                  <a:lnTo>
                    <a:pt x="661" y="97"/>
                  </a:lnTo>
                  <a:lnTo>
                    <a:pt x="661" y="97"/>
                  </a:lnTo>
                  <a:close/>
                  <a:moveTo>
                    <a:pt x="590" y="87"/>
                  </a:moveTo>
                  <a:lnTo>
                    <a:pt x="588" y="104"/>
                  </a:lnTo>
                  <a:lnTo>
                    <a:pt x="569" y="102"/>
                  </a:lnTo>
                  <a:lnTo>
                    <a:pt x="571" y="85"/>
                  </a:lnTo>
                  <a:lnTo>
                    <a:pt x="590" y="87"/>
                  </a:lnTo>
                  <a:lnTo>
                    <a:pt x="590" y="87"/>
                  </a:lnTo>
                  <a:close/>
                  <a:moveTo>
                    <a:pt x="519" y="76"/>
                  </a:moveTo>
                  <a:lnTo>
                    <a:pt x="517" y="95"/>
                  </a:lnTo>
                  <a:lnTo>
                    <a:pt x="498" y="92"/>
                  </a:lnTo>
                  <a:lnTo>
                    <a:pt x="501" y="73"/>
                  </a:lnTo>
                  <a:lnTo>
                    <a:pt x="519" y="76"/>
                  </a:lnTo>
                  <a:lnTo>
                    <a:pt x="519" y="76"/>
                  </a:lnTo>
                  <a:close/>
                  <a:moveTo>
                    <a:pt x="449" y="66"/>
                  </a:moveTo>
                  <a:lnTo>
                    <a:pt x="444" y="83"/>
                  </a:lnTo>
                  <a:lnTo>
                    <a:pt x="427" y="80"/>
                  </a:lnTo>
                  <a:lnTo>
                    <a:pt x="430" y="64"/>
                  </a:lnTo>
                  <a:lnTo>
                    <a:pt x="449" y="66"/>
                  </a:lnTo>
                  <a:lnTo>
                    <a:pt x="449" y="66"/>
                  </a:lnTo>
                  <a:close/>
                  <a:moveTo>
                    <a:pt x="375" y="54"/>
                  </a:moveTo>
                  <a:lnTo>
                    <a:pt x="373" y="73"/>
                  </a:lnTo>
                  <a:lnTo>
                    <a:pt x="356" y="71"/>
                  </a:lnTo>
                  <a:lnTo>
                    <a:pt x="359" y="52"/>
                  </a:lnTo>
                  <a:lnTo>
                    <a:pt x="375" y="54"/>
                  </a:lnTo>
                  <a:lnTo>
                    <a:pt x="375" y="54"/>
                  </a:lnTo>
                  <a:close/>
                  <a:moveTo>
                    <a:pt x="304" y="45"/>
                  </a:moveTo>
                  <a:lnTo>
                    <a:pt x="302" y="64"/>
                  </a:lnTo>
                  <a:lnTo>
                    <a:pt x="286" y="59"/>
                  </a:lnTo>
                  <a:lnTo>
                    <a:pt x="288" y="43"/>
                  </a:lnTo>
                  <a:lnTo>
                    <a:pt x="304" y="45"/>
                  </a:lnTo>
                  <a:lnTo>
                    <a:pt x="304" y="45"/>
                  </a:lnTo>
                  <a:close/>
                  <a:moveTo>
                    <a:pt x="234" y="36"/>
                  </a:moveTo>
                  <a:lnTo>
                    <a:pt x="231" y="52"/>
                  </a:lnTo>
                  <a:lnTo>
                    <a:pt x="212" y="50"/>
                  </a:lnTo>
                  <a:lnTo>
                    <a:pt x="217" y="31"/>
                  </a:lnTo>
                  <a:lnTo>
                    <a:pt x="234" y="36"/>
                  </a:lnTo>
                  <a:lnTo>
                    <a:pt x="234" y="36"/>
                  </a:lnTo>
                  <a:close/>
                  <a:moveTo>
                    <a:pt x="163" y="24"/>
                  </a:moveTo>
                  <a:lnTo>
                    <a:pt x="160" y="43"/>
                  </a:lnTo>
                  <a:lnTo>
                    <a:pt x="141" y="40"/>
                  </a:lnTo>
                  <a:lnTo>
                    <a:pt x="144" y="21"/>
                  </a:lnTo>
                  <a:lnTo>
                    <a:pt x="163" y="24"/>
                  </a:lnTo>
                  <a:lnTo>
                    <a:pt x="163" y="24"/>
                  </a:lnTo>
                  <a:close/>
                  <a:moveTo>
                    <a:pt x="92" y="14"/>
                  </a:moveTo>
                  <a:lnTo>
                    <a:pt x="90" y="31"/>
                  </a:lnTo>
                  <a:lnTo>
                    <a:pt x="71" y="28"/>
                  </a:lnTo>
                  <a:lnTo>
                    <a:pt x="73" y="12"/>
                  </a:lnTo>
                  <a:lnTo>
                    <a:pt x="92" y="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4" name="Freeform 540"/>
            <p:cNvSpPr>
              <a:spLocks noEditPoints="1"/>
            </p:cNvSpPr>
            <p:nvPr/>
          </p:nvSpPr>
          <p:spPr bwMode="auto">
            <a:xfrm>
              <a:off x="7685088" y="1090613"/>
              <a:ext cx="739775" cy="1219200"/>
            </a:xfrm>
            <a:custGeom>
              <a:avLst/>
              <a:gdLst>
                <a:gd name="T0" fmla="*/ 10 w 466"/>
                <a:gd name="T1" fmla="*/ 23 h 768"/>
                <a:gd name="T2" fmla="*/ 15 w 466"/>
                <a:gd name="T3" fmla="*/ 0 h 768"/>
                <a:gd name="T4" fmla="*/ 24 w 466"/>
                <a:gd name="T5" fmla="*/ 16 h 768"/>
                <a:gd name="T6" fmla="*/ 449 w 466"/>
                <a:gd name="T7" fmla="*/ 768 h 768"/>
                <a:gd name="T8" fmla="*/ 456 w 466"/>
                <a:gd name="T9" fmla="*/ 744 h 768"/>
                <a:gd name="T10" fmla="*/ 466 w 466"/>
                <a:gd name="T11" fmla="*/ 758 h 768"/>
                <a:gd name="T12" fmla="*/ 414 w 466"/>
                <a:gd name="T13" fmla="*/ 706 h 768"/>
                <a:gd name="T14" fmla="*/ 419 w 466"/>
                <a:gd name="T15" fmla="*/ 680 h 768"/>
                <a:gd name="T16" fmla="*/ 428 w 466"/>
                <a:gd name="T17" fmla="*/ 697 h 768"/>
                <a:gd name="T18" fmla="*/ 376 w 466"/>
                <a:gd name="T19" fmla="*/ 645 h 768"/>
                <a:gd name="T20" fmla="*/ 383 w 466"/>
                <a:gd name="T21" fmla="*/ 619 h 768"/>
                <a:gd name="T22" fmla="*/ 393 w 466"/>
                <a:gd name="T23" fmla="*/ 635 h 768"/>
                <a:gd name="T24" fmla="*/ 341 w 466"/>
                <a:gd name="T25" fmla="*/ 581 h 768"/>
                <a:gd name="T26" fmla="*/ 345 w 466"/>
                <a:gd name="T27" fmla="*/ 557 h 768"/>
                <a:gd name="T28" fmla="*/ 355 w 466"/>
                <a:gd name="T29" fmla="*/ 571 h 768"/>
                <a:gd name="T30" fmla="*/ 303 w 466"/>
                <a:gd name="T31" fmla="*/ 519 h 768"/>
                <a:gd name="T32" fmla="*/ 310 w 466"/>
                <a:gd name="T33" fmla="*/ 496 h 768"/>
                <a:gd name="T34" fmla="*/ 319 w 466"/>
                <a:gd name="T35" fmla="*/ 510 h 768"/>
                <a:gd name="T36" fmla="*/ 267 w 466"/>
                <a:gd name="T37" fmla="*/ 458 h 768"/>
                <a:gd name="T38" fmla="*/ 272 w 466"/>
                <a:gd name="T39" fmla="*/ 432 h 768"/>
                <a:gd name="T40" fmla="*/ 282 w 466"/>
                <a:gd name="T41" fmla="*/ 449 h 768"/>
                <a:gd name="T42" fmla="*/ 230 w 466"/>
                <a:gd name="T43" fmla="*/ 397 h 768"/>
                <a:gd name="T44" fmla="*/ 237 w 466"/>
                <a:gd name="T45" fmla="*/ 371 h 768"/>
                <a:gd name="T46" fmla="*/ 246 w 466"/>
                <a:gd name="T47" fmla="*/ 387 h 768"/>
                <a:gd name="T48" fmla="*/ 194 w 466"/>
                <a:gd name="T49" fmla="*/ 333 h 768"/>
                <a:gd name="T50" fmla="*/ 199 w 466"/>
                <a:gd name="T51" fmla="*/ 309 h 768"/>
                <a:gd name="T52" fmla="*/ 208 w 466"/>
                <a:gd name="T53" fmla="*/ 326 h 768"/>
                <a:gd name="T54" fmla="*/ 156 w 466"/>
                <a:gd name="T55" fmla="*/ 271 h 768"/>
                <a:gd name="T56" fmla="*/ 163 w 466"/>
                <a:gd name="T57" fmla="*/ 248 h 768"/>
                <a:gd name="T58" fmla="*/ 173 w 466"/>
                <a:gd name="T59" fmla="*/ 262 h 768"/>
                <a:gd name="T60" fmla="*/ 119 w 466"/>
                <a:gd name="T61" fmla="*/ 210 h 768"/>
                <a:gd name="T62" fmla="*/ 126 w 466"/>
                <a:gd name="T63" fmla="*/ 186 h 768"/>
                <a:gd name="T64" fmla="*/ 135 w 466"/>
                <a:gd name="T65" fmla="*/ 201 h 768"/>
                <a:gd name="T66" fmla="*/ 83 w 466"/>
                <a:gd name="T67" fmla="*/ 149 h 768"/>
                <a:gd name="T68" fmla="*/ 90 w 466"/>
                <a:gd name="T69" fmla="*/ 123 h 768"/>
                <a:gd name="T70" fmla="*/ 97 w 466"/>
                <a:gd name="T71" fmla="*/ 139 h 768"/>
                <a:gd name="T72" fmla="*/ 45 w 466"/>
                <a:gd name="T73" fmla="*/ 87 h 768"/>
                <a:gd name="T74" fmla="*/ 52 w 466"/>
                <a:gd name="T75" fmla="*/ 61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6" h="768">
                  <a:moveTo>
                    <a:pt x="24" y="16"/>
                  </a:moveTo>
                  <a:lnTo>
                    <a:pt x="10" y="23"/>
                  </a:lnTo>
                  <a:lnTo>
                    <a:pt x="0" y="9"/>
                  </a:lnTo>
                  <a:lnTo>
                    <a:pt x="15" y="0"/>
                  </a:lnTo>
                  <a:lnTo>
                    <a:pt x="24" y="16"/>
                  </a:lnTo>
                  <a:lnTo>
                    <a:pt x="24" y="16"/>
                  </a:lnTo>
                  <a:close/>
                  <a:moveTo>
                    <a:pt x="466" y="758"/>
                  </a:moveTo>
                  <a:lnTo>
                    <a:pt x="449" y="768"/>
                  </a:lnTo>
                  <a:lnTo>
                    <a:pt x="440" y="751"/>
                  </a:lnTo>
                  <a:lnTo>
                    <a:pt x="456" y="744"/>
                  </a:lnTo>
                  <a:lnTo>
                    <a:pt x="466" y="758"/>
                  </a:lnTo>
                  <a:lnTo>
                    <a:pt x="466" y="758"/>
                  </a:lnTo>
                  <a:close/>
                  <a:moveTo>
                    <a:pt x="428" y="697"/>
                  </a:moveTo>
                  <a:lnTo>
                    <a:pt x="414" y="706"/>
                  </a:lnTo>
                  <a:lnTo>
                    <a:pt x="404" y="690"/>
                  </a:lnTo>
                  <a:lnTo>
                    <a:pt x="419" y="680"/>
                  </a:lnTo>
                  <a:lnTo>
                    <a:pt x="428" y="697"/>
                  </a:lnTo>
                  <a:lnTo>
                    <a:pt x="428" y="697"/>
                  </a:lnTo>
                  <a:close/>
                  <a:moveTo>
                    <a:pt x="393" y="635"/>
                  </a:moveTo>
                  <a:lnTo>
                    <a:pt x="376" y="645"/>
                  </a:lnTo>
                  <a:lnTo>
                    <a:pt x="367" y="628"/>
                  </a:lnTo>
                  <a:lnTo>
                    <a:pt x="383" y="619"/>
                  </a:lnTo>
                  <a:lnTo>
                    <a:pt x="393" y="635"/>
                  </a:lnTo>
                  <a:lnTo>
                    <a:pt x="393" y="635"/>
                  </a:lnTo>
                  <a:close/>
                  <a:moveTo>
                    <a:pt x="355" y="571"/>
                  </a:moveTo>
                  <a:lnTo>
                    <a:pt x="341" y="581"/>
                  </a:lnTo>
                  <a:lnTo>
                    <a:pt x="331" y="567"/>
                  </a:lnTo>
                  <a:lnTo>
                    <a:pt x="345" y="557"/>
                  </a:lnTo>
                  <a:lnTo>
                    <a:pt x="355" y="571"/>
                  </a:lnTo>
                  <a:lnTo>
                    <a:pt x="355" y="571"/>
                  </a:lnTo>
                  <a:close/>
                  <a:moveTo>
                    <a:pt x="319" y="510"/>
                  </a:moveTo>
                  <a:lnTo>
                    <a:pt x="303" y="519"/>
                  </a:lnTo>
                  <a:lnTo>
                    <a:pt x="293" y="505"/>
                  </a:lnTo>
                  <a:lnTo>
                    <a:pt x="310" y="496"/>
                  </a:lnTo>
                  <a:lnTo>
                    <a:pt x="319" y="510"/>
                  </a:lnTo>
                  <a:lnTo>
                    <a:pt x="319" y="510"/>
                  </a:lnTo>
                  <a:close/>
                  <a:moveTo>
                    <a:pt x="282" y="449"/>
                  </a:moveTo>
                  <a:lnTo>
                    <a:pt x="267" y="458"/>
                  </a:lnTo>
                  <a:lnTo>
                    <a:pt x="258" y="442"/>
                  </a:lnTo>
                  <a:lnTo>
                    <a:pt x="272" y="432"/>
                  </a:lnTo>
                  <a:lnTo>
                    <a:pt x="282" y="449"/>
                  </a:lnTo>
                  <a:lnTo>
                    <a:pt x="282" y="449"/>
                  </a:lnTo>
                  <a:close/>
                  <a:moveTo>
                    <a:pt x="246" y="387"/>
                  </a:moveTo>
                  <a:lnTo>
                    <a:pt x="230" y="397"/>
                  </a:lnTo>
                  <a:lnTo>
                    <a:pt x="220" y="380"/>
                  </a:lnTo>
                  <a:lnTo>
                    <a:pt x="237" y="371"/>
                  </a:lnTo>
                  <a:lnTo>
                    <a:pt x="246" y="387"/>
                  </a:lnTo>
                  <a:lnTo>
                    <a:pt x="246" y="387"/>
                  </a:lnTo>
                  <a:close/>
                  <a:moveTo>
                    <a:pt x="208" y="326"/>
                  </a:moveTo>
                  <a:lnTo>
                    <a:pt x="194" y="333"/>
                  </a:lnTo>
                  <a:lnTo>
                    <a:pt x="185" y="319"/>
                  </a:lnTo>
                  <a:lnTo>
                    <a:pt x="199" y="309"/>
                  </a:lnTo>
                  <a:lnTo>
                    <a:pt x="208" y="326"/>
                  </a:lnTo>
                  <a:lnTo>
                    <a:pt x="208" y="326"/>
                  </a:lnTo>
                  <a:close/>
                  <a:moveTo>
                    <a:pt x="173" y="262"/>
                  </a:moveTo>
                  <a:lnTo>
                    <a:pt x="156" y="271"/>
                  </a:lnTo>
                  <a:lnTo>
                    <a:pt x="147" y="257"/>
                  </a:lnTo>
                  <a:lnTo>
                    <a:pt x="163" y="248"/>
                  </a:lnTo>
                  <a:lnTo>
                    <a:pt x="173" y="262"/>
                  </a:lnTo>
                  <a:lnTo>
                    <a:pt x="173" y="262"/>
                  </a:lnTo>
                  <a:close/>
                  <a:moveTo>
                    <a:pt x="135" y="201"/>
                  </a:moveTo>
                  <a:lnTo>
                    <a:pt x="119" y="210"/>
                  </a:lnTo>
                  <a:lnTo>
                    <a:pt x="111" y="194"/>
                  </a:lnTo>
                  <a:lnTo>
                    <a:pt x="126" y="186"/>
                  </a:lnTo>
                  <a:lnTo>
                    <a:pt x="135" y="201"/>
                  </a:lnTo>
                  <a:lnTo>
                    <a:pt x="135" y="201"/>
                  </a:lnTo>
                  <a:close/>
                  <a:moveTo>
                    <a:pt x="97" y="139"/>
                  </a:moveTo>
                  <a:lnTo>
                    <a:pt x="83" y="149"/>
                  </a:lnTo>
                  <a:lnTo>
                    <a:pt x="74" y="132"/>
                  </a:lnTo>
                  <a:lnTo>
                    <a:pt x="90" y="123"/>
                  </a:lnTo>
                  <a:lnTo>
                    <a:pt x="97" y="139"/>
                  </a:lnTo>
                  <a:lnTo>
                    <a:pt x="97" y="139"/>
                  </a:lnTo>
                  <a:close/>
                  <a:moveTo>
                    <a:pt x="62" y="78"/>
                  </a:moveTo>
                  <a:lnTo>
                    <a:pt x="45" y="87"/>
                  </a:lnTo>
                  <a:lnTo>
                    <a:pt x="36" y="71"/>
                  </a:lnTo>
                  <a:lnTo>
                    <a:pt x="52" y="61"/>
                  </a:lnTo>
                  <a:lnTo>
                    <a:pt x="62" y="7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5" name="Freeform 541"/>
            <p:cNvSpPr>
              <a:spLocks noEditPoints="1"/>
            </p:cNvSpPr>
            <p:nvPr/>
          </p:nvSpPr>
          <p:spPr bwMode="auto">
            <a:xfrm>
              <a:off x="9080500" y="1900238"/>
              <a:ext cx="179388" cy="1042988"/>
            </a:xfrm>
            <a:custGeom>
              <a:avLst/>
              <a:gdLst>
                <a:gd name="T0" fmla="*/ 95 w 113"/>
                <a:gd name="T1" fmla="*/ 638 h 657"/>
                <a:gd name="T2" fmla="*/ 111 w 113"/>
                <a:gd name="T3" fmla="*/ 635 h 657"/>
                <a:gd name="T4" fmla="*/ 113 w 113"/>
                <a:gd name="T5" fmla="*/ 654 h 657"/>
                <a:gd name="T6" fmla="*/ 97 w 113"/>
                <a:gd name="T7" fmla="*/ 657 h 657"/>
                <a:gd name="T8" fmla="*/ 95 w 113"/>
                <a:gd name="T9" fmla="*/ 638 h 657"/>
                <a:gd name="T10" fmla="*/ 95 w 113"/>
                <a:gd name="T11" fmla="*/ 638 h 657"/>
                <a:gd name="T12" fmla="*/ 0 w 113"/>
                <a:gd name="T13" fmla="*/ 2 h 657"/>
                <a:gd name="T14" fmla="*/ 0 w 113"/>
                <a:gd name="T15" fmla="*/ 14 h 657"/>
                <a:gd name="T16" fmla="*/ 19 w 113"/>
                <a:gd name="T17" fmla="*/ 12 h 657"/>
                <a:gd name="T18" fmla="*/ 17 w 113"/>
                <a:gd name="T19" fmla="*/ 0 h 657"/>
                <a:gd name="T20" fmla="*/ 0 w 113"/>
                <a:gd name="T21" fmla="*/ 2 h 657"/>
                <a:gd name="T22" fmla="*/ 0 w 113"/>
                <a:gd name="T23" fmla="*/ 2 h 657"/>
                <a:gd name="T24" fmla="*/ 10 w 113"/>
                <a:gd name="T25" fmla="*/ 69 h 657"/>
                <a:gd name="T26" fmla="*/ 26 w 113"/>
                <a:gd name="T27" fmla="*/ 66 h 657"/>
                <a:gd name="T28" fmla="*/ 28 w 113"/>
                <a:gd name="T29" fmla="*/ 83 h 657"/>
                <a:gd name="T30" fmla="*/ 12 w 113"/>
                <a:gd name="T31" fmla="*/ 87 h 657"/>
                <a:gd name="T32" fmla="*/ 10 w 113"/>
                <a:gd name="T33" fmla="*/ 69 h 657"/>
                <a:gd name="T34" fmla="*/ 10 w 113"/>
                <a:gd name="T35" fmla="*/ 69 h 657"/>
                <a:gd name="T36" fmla="*/ 19 w 113"/>
                <a:gd name="T37" fmla="*/ 139 h 657"/>
                <a:gd name="T38" fmla="*/ 38 w 113"/>
                <a:gd name="T39" fmla="*/ 137 h 657"/>
                <a:gd name="T40" fmla="*/ 40 w 113"/>
                <a:gd name="T41" fmla="*/ 156 h 657"/>
                <a:gd name="T42" fmla="*/ 21 w 113"/>
                <a:gd name="T43" fmla="*/ 158 h 657"/>
                <a:gd name="T44" fmla="*/ 19 w 113"/>
                <a:gd name="T45" fmla="*/ 139 h 657"/>
                <a:gd name="T46" fmla="*/ 19 w 113"/>
                <a:gd name="T47" fmla="*/ 139 h 657"/>
                <a:gd name="T48" fmla="*/ 31 w 113"/>
                <a:gd name="T49" fmla="*/ 210 h 657"/>
                <a:gd name="T50" fmla="*/ 47 w 113"/>
                <a:gd name="T51" fmla="*/ 208 h 657"/>
                <a:gd name="T52" fmla="*/ 50 w 113"/>
                <a:gd name="T53" fmla="*/ 227 h 657"/>
                <a:gd name="T54" fmla="*/ 33 w 113"/>
                <a:gd name="T55" fmla="*/ 229 h 657"/>
                <a:gd name="T56" fmla="*/ 31 w 113"/>
                <a:gd name="T57" fmla="*/ 210 h 657"/>
                <a:gd name="T58" fmla="*/ 31 w 113"/>
                <a:gd name="T59" fmla="*/ 210 h 657"/>
                <a:gd name="T60" fmla="*/ 40 w 113"/>
                <a:gd name="T61" fmla="*/ 281 h 657"/>
                <a:gd name="T62" fmla="*/ 59 w 113"/>
                <a:gd name="T63" fmla="*/ 279 h 657"/>
                <a:gd name="T64" fmla="*/ 62 w 113"/>
                <a:gd name="T65" fmla="*/ 298 h 657"/>
                <a:gd name="T66" fmla="*/ 43 w 113"/>
                <a:gd name="T67" fmla="*/ 300 h 657"/>
                <a:gd name="T68" fmla="*/ 40 w 113"/>
                <a:gd name="T69" fmla="*/ 281 h 657"/>
                <a:gd name="T70" fmla="*/ 40 w 113"/>
                <a:gd name="T71" fmla="*/ 281 h 657"/>
                <a:gd name="T72" fmla="*/ 52 w 113"/>
                <a:gd name="T73" fmla="*/ 354 h 657"/>
                <a:gd name="T74" fmla="*/ 69 w 113"/>
                <a:gd name="T75" fmla="*/ 350 h 657"/>
                <a:gd name="T76" fmla="*/ 71 w 113"/>
                <a:gd name="T77" fmla="*/ 369 h 657"/>
                <a:gd name="T78" fmla="*/ 54 w 113"/>
                <a:gd name="T79" fmla="*/ 371 h 657"/>
                <a:gd name="T80" fmla="*/ 52 w 113"/>
                <a:gd name="T81" fmla="*/ 354 h 657"/>
                <a:gd name="T82" fmla="*/ 52 w 113"/>
                <a:gd name="T83" fmla="*/ 354 h 657"/>
                <a:gd name="T84" fmla="*/ 62 w 113"/>
                <a:gd name="T85" fmla="*/ 425 h 657"/>
                <a:gd name="T86" fmla="*/ 80 w 113"/>
                <a:gd name="T87" fmla="*/ 423 h 657"/>
                <a:gd name="T88" fmla="*/ 83 w 113"/>
                <a:gd name="T89" fmla="*/ 439 h 657"/>
                <a:gd name="T90" fmla="*/ 64 w 113"/>
                <a:gd name="T91" fmla="*/ 442 h 657"/>
                <a:gd name="T92" fmla="*/ 62 w 113"/>
                <a:gd name="T93" fmla="*/ 425 h 657"/>
                <a:gd name="T94" fmla="*/ 62 w 113"/>
                <a:gd name="T95" fmla="*/ 425 h 657"/>
                <a:gd name="T96" fmla="*/ 73 w 113"/>
                <a:gd name="T97" fmla="*/ 496 h 657"/>
                <a:gd name="T98" fmla="*/ 90 w 113"/>
                <a:gd name="T99" fmla="*/ 494 h 657"/>
                <a:gd name="T100" fmla="*/ 92 w 113"/>
                <a:gd name="T101" fmla="*/ 510 h 657"/>
                <a:gd name="T102" fmla="*/ 76 w 113"/>
                <a:gd name="T103" fmla="*/ 513 h 657"/>
                <a:gd name="T104" fmla="*/ 73 w 113"/>
                <a:gd name="T105" fmla="*/ 496 h 657"/>
                <a:gd name="T106" fmla="*/ 73 w 113"/>
                <a:gd name="T107" fmla="*/ 496 h 657"/>
                <a:gd name="T108" fmla="*/ 83 w 113"/>
                <a:gd name="T109" fmla="*/ 567 h 657"/>
                <a:gd name="T110" fmla="*/ 102 w 113"/>
                <a:gd name="T111" fmla="*/ 565 h 657"/>
                <a:gd name="T112" fmla="*/ 104 w 113"/>
                <a:gd name="T113" fmla="*/ 581 h 657"/>
                <a:gd name="T114" fmla="*/ 85 w 113"/>
                <a:gd name="T115" fmla="*/ 586 h 657"/>
                <a:gd name="T116" fmla="*/ 83 w 113"/>
                <a:gd name="T117" fmla="*/ 56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 h="657">
                  <a:moveTo>
                    <a:pt x="95" y="638"/>
                  </a:moveTo>
                  <a:lnTo>
                    <a:pt x="111" y="635"/>
                  </a:lnTo>
                  <a:lnTo>
                    <a:pt x="113" y="654"/>
                  </a:lnTo>
                  <a:lnTo>
                    <a:pt x="97" y="657"/>
                  </a:lnTo>
                  <a:lnTo>
                    <a:pt x="95" y="638"/>
                  </a:lnTo>
                  <a:lnTo>
                    <a:pt x="95" y="638"/>
                  </a:lnTo>
                  <a:close/>
                  <a:moveTo>
                    <a:pt x="0" y="2"/>
                  </a:moveTo>
                  <a:lnTo>
                    <a:pt x="0" y="14"/>
                  </a:lnTo>
                  <a:lnTo>
                    <a:pt x="19" y="12"/>
                  </a:lnTo>
                  <a:lnTo>
                    <a:pt x="17" y="0"/>
                  </a:lnTo>
                  <a:lnTo>
                    <a:pt x="0" y="2"/>
                  </a:lnTo>
                  <a:lnTo>
                    <a:pt x="0" y="2"/>
                  </a:lnTo>
                  <a:close/>
                  <a:moveTo>
                    <a:pt x="10" y="69"/>
                  </a:moveTo>
                  <a:lnTo>
                    <a:pt x="26" y="66"/>
                  </a:lnTo>
                  <a:lnTo>
                    <a:pt x="28" y="83"/>
                  </a:lnTo>
                  <a:lnTo>
                    <a:pt x="12" y="87"/>
                  </a:lnTo>
                  <a:lnTo>
                    <a:pt x="10" y="69"/>
                  </a:lnTo>
                  <a:lnTo>
                    <a:pt x="10" y="69"/>
                  </a:lnTo>
                  <a:close/>
                  <a:moveTo>
                    <a:pt x="19" y="139"/>
                  </a:moveTo>
                  <a:lnTo>
                    <a:pt x="38" y="137"/>
                  </a:lnTo>
                  <a:lnTo>
                    <a:pt x="40" y="156"/>
                  </a:lnTo>
                  <a:lnTo>
                    <a:pt x="21" y="158"/>
                  </a:lnTo>
                  <a:lnTo>
                    <a:pt x="19" y="139"/>
                  </a:lnTo>
                  <a:lnTo>
                    <a:pt x="19" y="139"/>
                  </a:lnTo>
                  <a:close/>
                  <a:moveTo>
                    <a:pt x="31" y="210"/>
                  </a:moveTo>
                  <a:lnTo>
                    <a:pt x="47" y="208"/>
                  </a:lnTo>
                  <a:lnTo>
                    <a:pt x="50" y="227"/>
                  </a:lnTo>
                  <a:lnTo>
                    <a:pt x="33" y="229"/>
                  </a:lnTo>
                  <a:lnTo>
                    <a:pt x="31" y="210"/>
                  </a:lnTo>
                  <a:lnTo>
                    <a:pt x="31" y="210"/>
                  </a:lnTo>
                  <a:close/>
                  <a:moveTo>
                    <a:pt x="40" y="281"/>
                  </a:moveTo>
                  <a:lnTo>
                    <a:pt x="59" y="279"/>
                  </a:lnTo>
                  <a:lnTo>
                    <a:pt x="62" y="298"/>
                  </a:lnTo>
                  <a:lnTo>
                    <a:pt x="43" y="300"/>
                  </a:lnTo>
                  <a:lnTo>
                    <a:pt x="40" y="281"/>
                  </a:lnTo>
                  <a:lnTo>
                    <a:pt x="40" y="281"/>
                  </a:lnTo>
                  <a:close/>
                  <a:moveTo>
                    <a:pt x="52" y="354"/>
                  </a:moveTo>
                  <a:lnTo>
                    <a:pt x="69" y="350"/>
                  </a:lnTo>
                  <a:lnTo>
                    <a:pt x="71" y="369"/>
                  </a:lnTo>
                  <a:lnTo>
                    <a:pt x="54" y="371"/>
                  </a:lnTo>
                  <a:lnTo>
                    <a:pt x="52" y="354"/>
                  </a:lnTo>
                  <a:lnTo>
                    <a:pt x="52" y="354"/>
                  </a:lnTo>
                  <a:close/>
                  <a:moveTo>
                    <a:pt x="62" y="425"/>
                  </a:moveTo>
                  <a:lnTo>
                    <a:pt x="80" y="423"/>
                  </a:lnTo>
                  <a:lnTo>
                    <a:pt x="83" y="439"/>
                  </a:lnTo>
                  <a:lnTo>
                    <a:pt x="64" y="442"/>
                  </a:lnTo>
                  <a:lnTo>
                    <a:pt x="62" y="425"/>
                  </a:lnTo>
                  <a:lnTo>
                    <a:pt x="62" y="425"/>
                  </a:lnTo>
                  <a:close/>
                  <a:moveTo>
                    <a:pt x="73" y="496"/>
                  </a:moveTo>
                  <a:lnTo>
                    <a:pt x="90" y="494"/>
                  </a:lnTo>
                  <a:lnTo>
                    <a:pt x="92" y="510"/>
                  </a:lnTo>
                  <a:lnTo>
                    <a:pt x="76" y="513"/>
                  </a:lnTo>
                  <a:lnTo>
                    <a:pt x="73" y="496"/>
                  </a:lnTo>
                  <a:lnTo>
                    <a:pt x="73" y="496"/>
                  </a:lnTo>
                  <a:close/>
                  <a:moveTo>
                    <a:pt x="83" y="567"/>
                  </a:moveTo>
                  <a:lnTo>
                    <a:pt x="102" y="565"/>
                  </a:lnTo>
                  <a:lnTo>
                    <a:pt x="104" y="581"/>
                  </a:lnTo>
                  <a:lnTo>
                    <a:pt x="85" y="586"/>
                  </a:lnTo>
                  <a:lnTo>
                    <a:pt x="83" y="56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6" name="Freeform 542"/>
            <p:cNvSpPr>
              <a:spLocks noEditPoints="1"/>
            </p:cNvSpPr>
            <p:nvPr/>
          </p:nvSpPr>
          <p:spPr bwMode="auto">
            <a:xfrm>
              <a:off x="8791575" y="3321050"/>
              <a:ext cx="974725" cy="457200"/>
            </a:xfrm>
            <a:custGeom>
              <a:avLst/>
              <a:gdLst>
                <a:gd name="T0" fmla="*/ 598 w 614"/>
                <a:gd name="T1" fmla="*/ 24 h 288"/>
                <a:gd name="T2" fmla="*/ 591 w 614"/>
                <a:gd name="T3" fmla="*/ 7 h 288"/>
                <a:gd name="T4" fmla="*/ 607 w 614"/>
                <a:gd name="T5" fmla="*/ 0 h 288"/>
                <a:gd name="T6" fmla="*/ 614 w 614"/>
                <a:gd name="T7" fmla="*/ 17 h 288"/>
                <a:gd name="T8" fmla="*/ 598 w 614"/>
                <a:gd name="T9" fmla="*/ 24 h 288"/>
                <a:gd name="T10" fmla="*/ 598 w 614"/>
                <a:gd name="T11" fmla="*/ 24 h 288"/>
                <a:gd name="T12" fmla="*/ 7 w 614"/>
                <a:gd name="T13" fmla="*/ 288 h 288"/>
                <a:gd name="T14" fmla="*/ 0 w 614"/>
                <a:gd name="T15" fmla="*/ 274 h 288"/>
                <a:gd name="T16" fmla="*/ 17 w 614"/>
                <a:gd name="T17" fmla="*/ 265 h 288"/>
                <a:gd name="T18" fmla="*/ 24 w 614"/>
                <a:gd name="T19" fmla="*/ 281 h 288"/>
                <a:gd name="T20" fmla="*/ 7 w 614"/>
                <a:gd name="T21" fmla="*/ 288 h 288"/>
                <a:gd name="T22" fmla="*/ 7 w 614"/>
                <a:gd name="T23" fmla="*/ 288 h 288"/>
                <a:gd name="T24" fmla="*/ 73 w 614"/>
                <a:gd name="T25" fmla="*/ 260 h 288"/>
                <a:gd name="T26" fmla="*/ 66 w 614"/>
                <a:gd name="T27" fmla="*/ 244 h 288"/>
                <a:gd name="T28" fmla="*/ 83 w 614"/>
                <a:gd name="T29" fmla="*/ 237 h 288"/>
                <a:gd name="T30" fmla="*/ 90 w 614"/>
                <a:gd name="T31" fmla="*/ 253 h 288"/>
                <a:gd name="T32" fmla="*/ 73 w 614"/>
                <a:gd name="T33" fmla="*/ 260 h 288"/>
                <a:gd name="T34" fmla="*/ 73 w 614"/>
                <a:gd name="T35" fmla="*/ 260 h 288"/>
                <a:gd name="T36" fmla="*/ 140 w 614"/>
                <a:gd name="T37" fmla="*/ 232 h 288"/>
                <a:gd name="T38" fmla="*/ 132 w 614"/>
                <a:gd name="T39" fmla="*/ 215 h 288"/>
                <a:gd name="T40" fmla="*/ 149 w 614"/>
                <a:gd name="T41" fmla="*/ 206 h 288"/>
                <a:gd name="T42" fmla="*/ 156 w 614"/>
                <a:gd name="T43" fmla="*/ 222 h 288"/>
                <a:gd name="T44" fmla="*/ 140 w 614"/>
                <a:gd name="T45" fmla="*/ 232 h 288"/>
                <a:gd name="T46" fmla="*/ 140 w 614"/>
                <a:gd name="T47" fmla="*/ 232 h 288"/>
                <a:gd name="T48" fmla="*/ 206 w 614"/>
                <a:gd name="T49" fmla="*/ 201 h 288"/>
                <a:gd name="T50" fmla="*/ 196 w 614"/>
                <a:gd name="T51" fmla="*/ 185 h 288"/>
                <a:gd name="T52" fmla="*/ 213 w 614"/>
                <a:gd name="T53" fmla="*/ 177 h 288"/>
                <a:gd name="T54" fmla="*/ 222 w 614"/>
                <a:gd name="T55" fmla="*/ 194 h 288"/>
                <a:gd name="T56" fmla="*/ 206 w 614"/>
                <a:gd name="T57" fmla="*/ 201 h 288"/>
                <a:gd name="T58" fmla="*/ 206 w 614"/>
                <a:gd name="T59" fmla="*/ 201 h 288"/>
                <a:gd name="T60" fmla="*/ 269 w 614"/>
                <a:gd name="T61" fmla="*/ 173 h 288"/>
                <a:gd name="T62" fmla="*/ 262 w 614"/>
                <a:gd name="T63" fmla="*/ 156 h 288"/>
                <a:gd name="T64" fmla="*/ 279 w 614"/>
                <a:gd name="T65" fmla="*/ 147 h 288"/>
                <a:gd name="T66" fmla="*/ 286 w 614"/>
                <a:gd name="T67" fmla="*/ 163 h 288"/>
                <a:gd name="T68" fmla="*/ 269 w 614"/>
                <a:gd name="T69" fmla="*/ 173 h 288"/>
                <a:gd name="T70" fmla="*/ 269 w 614"/>
                <a:gd name="T71" fmla="*/ 173 h 288"/>
                <a:gd name="T72" fmla="*/ 336 w 614"/>
                <a:gd name="T73" fmla="*/ 142 h 288"/>
                <a:gd name="T74" fmla="*/ 329 w 614"/>
                <a:gd name="T75" fmla="*/ 125 h 288"/>
                <a:gd name="T76" fmla="*/ 345 w 614"/>
                <a:gd name="T77" fmla="*/ 118 h 288"/>
                <a:gd name="T78" fmla="*/ 352 w 614"/>
                <a:gd name="T79" fmla="*/ 135 h 288"/>
                <a:gd name="T80" fmla="*/ 336 w 614"/>
                <a:gd name="T81" fmla="*/ 142 h 288"/>
                <a:gd name="T82" fmla="*/ 336 w 614"/>
                <a:gd name="T83" fmla="*/ 142 h 288"/>
                <a:gd name="T84" fmla="*/ 402 w 614"/>
                <a:gd name="T85" fmla="*/ 114 h 288"/>
                <a:gd name="T86" fmla="*/ 395 w 614"/>
                <a:gd name="T87" fmla="*/ 97 h 288"/>
                <a:gd name="T88" fmla="*/ 411 w 614"/>
                <a:gd name="T89" fmla="*/ 88 h 288"/>
                <a:gd name="T90" fmla="*/ 418 w 614"/>
                <a:gd name="T91" fmla="*/ 104 h 288"/>
                <a:gd name="T92" fmla="*/ 402 w 614"/>
                <a:gd name="T93" fmla="*/ 114 h 288"/>
                <a:gd name="T94" fmla="*/ 402 w 614"/>
                <a:gd name="T95" fmla="*/ 114 h 288"/>
                <a:gd name="T96" fmla="*/ 468 w 614"/>
                <a:gd name="T97" fmla="*/ 83 h 288"/>
                <a:gd name="T98" fmla="*/ 461 w 614"/>
                <a:gd name="T99" fmla="*/ 66 h 288"/>
                <a:gd name="T100" fmla="*/ 477 w 614"/>
                <a:gd name="T101" fmla="*/ 59 h 288"/>
                <a:gd name="T102" fmla="*/ 484 w 614"/>
                <a:gd name="T103" fmla="*/ 76 h 288"/>
                <a:gd name="T104" fmla="*/ 468 w 614"/>
                <a:gd name="T105" fmla="*/ 83 h 288"/>
                <a:gd name="T106" fmla="*/ 468 w 614"/>
                <a:gd name="T107" fmla="*/ 83 h 288"/>
                <a:gd name="T108" fmla="*/ 534 w 614"/>
                <a:gd name="T109" fmla="*/ 55 h 288"/>
                <a:gd name="T110" fmla="*/ 525 w 614"/>
                <a:gd name="T111" fmla="*/ 38 h 288"/>
                <a:gd name="T112" fmla="*/ 541 w 614"/>
                <a:gd name="T113" fmla="*/ 29 h 288"/>
                <a:gd name="T114" fmla="*/ 551 w 614"/>
                <a:gd name="T115" fmla="*/ 45 h 288"/>
                <a:gd name="T116" fmla="*/ 534 w 614"/>
                <a:gd name="T117" fmla="*/ 5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4" h="288">
                  <a:moveTo>
                    <a:pt x="598" y="24"/>
                  </a:moveTo>
                  <a:lnTo>
                    <a:pt x="591" y="7"/>
                  </a:lnTo>
                  <a:lnTo>
                    <a:pt x="607" y="0"/>
                  </a:lnTo>
                  <a:lnTo>
                    <a:pt x="614" y="17"/>
                  </a:lnTo>
                  <a:lnTo>
                    <a:pt x="598" y="24"/>
                  </a:lnTo>
                  <a:lnTo>
                    <a:pt x="598" y="24"/>
                  </a:lnTo>
                  <a:close/>
                  <a:moveTo>
                    <a:pt x="7" y="288"/>
                  </a:moveTo>
                  <a:lnTo>
                    <a:pt x="0" y="274"/>
                  </a:lnTo>
                  <a:lnTo>
                    <a:pt x="17" y="265"/>
                  </a:lnTo>
                  <a:lnTo>
                    <a:pt x="24" y="281"/>
                  </a:lnTo>
                  <a:lnTo>
                    <a:pt x="7" y="288"/>
                  </a:lnTo>
                  <a:lnTo>
                    <a:pt x="7" y="288"/>
                  </a:lnTo>
                  <a:close/>
                  <a:moveTo>
                    <a:pt x="73" y="260"/>
                  </a:moveTo>
                  <a:lnTo>
                    <a:pt x="66" y="244"/>
                  </a:lnTo>
                  <a:lnTo>
                    <a:pt x="83" y="237"/>
                  </a:lnTo>
                  <a:lnTo>
                    <a:pt x="90" y="253"/>
                  </a:lnTo>
                  <a:lnTo>
                    <a:pt x="73" y="260"/>
                  </a:lnTo>
                  <a:lnTo>
                    <a:pt x="73" y="260"/>
                  </a:lnTo>
                  <a:close/>
                  <a:moveTo>
                    <a:pt x="140" y="232"/>
                  </a:moveTo>
                  <a:lnTo>
                    <a:pt x="132" y="215"/>
                  </a:lnTo>
                  <a:lnTo>
                    <a:pt x="149" y="206"/>
                  </a:lnTo>
                  <a:lnTo>
                    <a:pt x="156" y="222"/>
                  </a:lnTo>
                  <a:lnTo>
                    <a:pt x="140" y="232"/>
                  </a:lnTo>
                  <a:lnTo>
                    <a:pt x="140" y="232"/>
                  </a:lnTo>
                  <a:close/>
                  <a:moveTo>
                    <a:pt x="206" y="201"/>
                  </a:moveTo>
                  <a:lnTo>
                    <a:pt x="196" y="185"/>
                  </a:lnTo>
                  <a:lnTo>
                    <a:pt x="213" y="177"/>
                  </a:lnTo>
                  <a:lnTo>
                    <a:pt x="222" y="194"/>
                  </a:lnTo>
                  <a:lnTo>
                    <a:pt x="206" y="201"/>
                  </a:lnTo>
                  <a:lnTo>
                    <a:pt x="206" y="201"/>
                  </a:lnTo>
                  <a:close/>
                  <a:moveTo>
                    <a:pt x="269" y="173"/>
                  </a:moveTo>
                  <a:lnTo>
                    <a:pt x="262" y="156"/>
                  </a:lnTo>
                  <a:lnTo>
                    <a:pt x="279" y="147"/>
                  </a:lnTo>
                  <a:lnTo>
                    <a:pt x="286" y="163"/>
                  </a:lnTo>
                  <a:lnTo>
                    <a:pt x="269" y="173"/>
                  </a:lnTo>
                  <a:lnTo>
                    <a:pt x="269" y="173"/>
                  </a:lnTo>
                  <a:close/>
                  <a:moveTo>
                    <a:pt x="336" y="142"/>
                  </a:moveTo>
                  <a:lnTo>
                    <a:pt x="329" y="125"/>
                  </a:lnTo>
                  <a:lnTo>
                    <a:pt x="345" y="118"/>
                  </a:lnTo>
                  <a:lnTo>
                    <a:pt x="352" y="135"/>
                  </a:lnTo>
                  <a:lnTo>
                    <a:pt x="336" y="142"/>
                  </a:lnTo>
                  <a:lnTo>
                    <a:pt x="336" y="142"/>
                  </a:lnTo>
                  <a:close/>
                  <a:moveTo>
                    <a:pt x="402" y="114"/>
                  </a:moveTo>
                  <a:lnTo>
                    <a:pt x="395" y="97"/>
                  </a:lnTo>
                  <a:lnTo>
                    <a:pt x="411" y="88"/>
                  </a:lnTo>
                  <a:lnTo>
                    <a:pt x="418" y="104"/>
                  </a:lnTo>
                  <a:lnTo>
                    <a:pt x="402" y="114"/>
                  </a:lnTo>
                  <a:lnTo>
                    <a:pt x="402" y="114"/>
                  </a:lnTo>
                  <a:close/>
                  <a:moveTo>
                    <a:pt x="468" y="83"/>
                  </a:moveTo>
                  <a:lnTo>
                    <a:pt x="461" y="66"/>
                  </a:lnTo>
                  <a:lnTo>
                    <a:pt x="477" y="59"/>
                  </a:lnTo>
                  <a:lnTo>
                    <a:pt x="484" y="76"/>
                  </a:lnTo>
                  <a:lnTo>
                    <a:pt x="468" y="83"/>
                  </a:lnTo>
                  <a:lnTo>
                    <a:pt x="468" y="83"/>
                  </a:lnTo>
                  <a:close/>
                  <a:moveTo>
                    <a:pt x="534" y="55"/>
                  </a:moveTo>
                  <a:lnTo>
                    <a:pt x="525" y="38"/>
                  </a:lnTo>
                  <a:lnTo>
                    <a:pt x="541" y="29"/>
                  </a:lnTo>
                  <a:lnTo>
                    <a:pt x="551" y="45"/>
                  </a:lnTo>
                  <a:lnTo>
                    <a:pt x="534" y="5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7" name="Freeform 543"/>
            <p:cNvSpPr>
              <a:spLocks noEditPoints="1"/>
            </p:cNvSpPr>
            <p:nvPr/>
          </p:nvSpPr>
          <p:spPr bwMode="auto">
            <a:xfrm>
              <a:off x="7032625" y="2046288"/>
              <a:ext cx="593725" cy="1293813"/>
            </a:xfrm>
            <a:custGeom>
              <a:avLst/>
              <a:gdLst>
                <a:gd name="T0" fmla="*/ 8 w 374"/>
                <a:gd name="T1" fmla="*/ 24 h 815"/>
                <a:gd name="T2" fmla="*/ 17 w 374"/>
                <a:gd name="T3" fmla="*/ 0 h 815"/>
                <a:gd name="T4" fmla="*/ 24 w 374"/>
                <a:gd name="T5" fmla="*/ 17 h 815"/>
                <a:gd name="T6" fmla="*/ 357 w 374"/>
                <a:gd name="T7" fmla="*/ 815 h 815"/>
                <a:gd name="T8" fmla="*/ 367 w 374"/>
                <a:gd name="T9" fmla="*/ 789 h 815"/>
                <a:gd name="T10" fmla="*/ 374 w 374"/>
                <a:gd name="T11" fmla="*/ 806 h 815"/>
                <a:gd name="T12" fmla="*/ 326 w 374"/>
                <a:gd name="T13" fmla="*/ 749 h 815"/>
                <a:gd name="T14" fmla="*/ 336 w 374"/>
                <a:gd name="T15" fmla="*/ 725 h 815"/>
                <a:gd name="T16" fmla="*/ 343 w 374"/>
                <a:gd name="T17" fmla="*/ 742 h 815"/>
                <a:gd name="T18" fmla="*/ 298 w 374"/>
                <a:gd name="T19" fmla="*/ 683 h 815"/>
                <a:gd name="T20" fmla="*/ 308 w 374"/>
                <a:gd name="T21" fmla="*/ 659 h 815"/>
                <a:gd name="T22" fmla="*/ 315 w 374"/>
                <a:gd name="T23" fmla="*/ 676 h 815"/>
                <a:gd name="T24" fmla="*/ 270 w 374"/>
                <a:gd name="T25" fmla="*/ 617 h 815"/>
                <a:gd name="T26" fmla="*/ 279 w 374"/>
                <a:gd name="T27" fmla="*/ 593 h 815"/>
                <a:gd name="T28" fmla="*/ 286 w 374"/>
                <a:gd name="T29" fmla="*/ 610 h 815"/>
                <a:gd name="T30" fmla="*/ 239 w 374"/>
                <a:gd name="T31" fmla="*/ 551 h 815"/>
                <a:gd name="T32" fmla="*/ 248 w 374"/>
                <a:gd name="T33" fmla="*/ 527 h 815"/>
                <a:gd name="T34" fmla="*/ 256 w 374"/>
                <a:gd name="T35" fmla="*/ 543 h 815"/>
                <a:gd name="T36" fmla="*/ 211 w 374"/>
                <a:gd name="T37" fmla="*/ 484 h 815"/>
                <a:gd name="T38" fmla="*/ 220 w 374"/>
                <a:gd name="T39" fmla="*/ 461 h 815"/>
                <a:gd name="T40" fmla="*/ 227 w 374"/>
                <a:gd name="T41" fmla="*/ 477 h 815"/>
                <a:gd name="T42" fmla="*/ 182 w 374"/>
                <a:gd name="T43" fmla="*/ 418 h 815"/>
                <a:gd name="T44" fmla="*/ 192 w 374"/>
                <a:gd name="T45" fmla="*/ 395 h 815"/>
                <a:gd name="T46" fmla="*/ 199 w 374"/>
                <a:gd name="T47" fmla="*/ 411 h 815"/>
                <a:gd name="T48" fmla="*/ 152 w 374"/>
                <a:gd name="T49" fmla="*/ 352 h 815"/>
                <a:gd name="T50" fmla="*/ 161 w 374"/>
                <a:gd name="T51" fmla="*/ 329 h 815"/>
                <a:gd name="T52" fmla="*/ 168 w 374"/>
                <a:gd name="T53" fmla="*/ 345 h 815"/>
                <a:gd name="T54" fmla="*/ 123 w 374"/>
                <a:gd name="T55" fmla="*/ 288 h 815"/>
                <a:gd name="T56" fmla="*/ 133 w 374"/>
                <a:gd name="T57" fmla="*/ 265 h 815"/>
                <a:gd name="T58" fmla="*/ 140 w 374"/>
                <a:gd name="T59" fmla="*/ 281 h 815"/>
                <a:gd name="T60" fmla="*/ 95 w 374"/>
                <a:gd name="T61" fmla="*/ 222 h 815"/>
                <a:gd name="T62" fmla="*/ 104 w 374"/>
                <a:gd name="T63" fmla="*/ 199 h 815"/>
                <a:gd name="T64" fmla="*/ 111 w 374"/>
                <a:gd name="T65" fmla="*/ 215 h 815"/>
                <a:gd name="T66" fmla="*/ 64 w 374"/>
                <a:gd name="T67" fmla="*/ 156 h 815"/>
                <a:gd name="T68" fmla="*/ 74 w 374"/>
                <a:gd name="T69" fmla="*/ 132 h 815"/>
                <a:gd name="T70" fmla="*/ 81 w 374"/>
                <a:gd name="T71" fmla="*/ 149 h 815"/>
                <a:gd name="T72" fmla="*/ 36 w 374"/>
                <a:gd name="T73" fmla="*/ 90 h 815"/>
                <a:gd name="T74" fmla="*/ 45 w 374"/>
                <a:gd name="T75" fmla="*/ 66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4" h="815">
                  <a:moveTo>
                    <a:pt x="24" y="17"/>
                  </a:moveTo>
                  <a:lnTo>
                    <a:pt x="8" y="24"/>
                  </a:lnTo>
                  <a:lnTo>
                    <a:pt x="0" y="7"/>
                  </a:lnTo>
                  <a:lnTo>
                    <a:pt x="17" y="0"/>
                  </a:lnTo>
                  <a:lnTo>
                    <a:pt x="24" y="17"/>
                  </a:lnTo>
                  <a:lnTo>
                    <a:pt x="24" y="17"/>
                  </a:lnTo>
                  <a:close/>
                  <a:moveTo>
                    <a:pt x="374" y="806"/>
                  </a:moveTo>
                  <a:lnTo>
                    <a:pt x="357" y="815"/>
                  </a:lnTo>
                  <a:lnTo>
                    <a:pt x="350" y="799"/>
                  </a:lnTo>
                  <a:lnTo>
                    <a:pt x="367" y="789"/>
                  </a:lnTo>
                  <a:lnTo>
                    <a:pt x="374" y="806"/>
                  </a:lnTo>
                  <a:lnTo>
                    <a:pt x="374" y="806"/>
                  </a:lnTo>
                  <a:close/>
                  <a:moveTo>
                    <a:pt x="343" y="742"/>
                  </a:moveTo>
                  <a:lnTo>
                    <a:pt x="326" y="749"/>
                  </a:lnTo>
                  <a:lnTo>
                    <a:pt x="319" y="732"/>
                  </a:lnTo>
                  <a:lnTo>
                    <a:pt x="336" y="725"/>
                  </a:lnTo>
                  <a:lnTo>
                    <a:pt x="343" y="742"/>
                  </a:lnTo>
                  <a:lnTo>
                    <a:pt x="343" y="742"/>
                  </a:lnTo>
                  <a:close/>
                  <a:moveTo>
                    <a:pt x="315" y="676"/>
                  </a:moveTo>
                  <a:lnTo>
                    <a:pt x="298" y="683"/>
                  </a:lnTo>
                  <a:lnTo>
                    <a:pt x="291" y="666"/>
                  </a:lnTo>
                  <a:lnTo>
                    <a:pt x="308" y="659"/>
                  </a:lnTo>
                  <a:lnTo>
                    <a:pt x="315" y="676"/>
                  </a:lnTo>
                  <a:lnTo>
                    <a:pt x="315" y="676"/>
                  </a:lnTo>
                  <a:close/>
                  <a:moveTo>
                    <a:pt x="286" y="610"/>
                  </a:moveTo>
                  <a:lnTo>
                    <a:pt x="270" y="617"/>
                  </a:lnTo>
                  <a:lnTo>
                    <a:pt x="263" y="600"/>
                  </a:lnTo>
                  <a:lnTo>
                    <a:pt x="279" y="593"/>
                  </a:lnTo>
                  <a:lnTo>
                    <a:pt x="286" y="610"/>
                  </a:lnTo>
                  <a:lnTo>
                    <a:pt x="286" y="610"/>
                  </a:lnTo>
                  <a:close/>
                  <a:moveTo>
                    <a:pt x="256" y="543"/>
                  </a:moveTo>
                  <a:lnTo>
                    <a:pt x="239" y="551"/>
                  </a:lnTo>
                  <a:lnTo>
                    <a:pt x="232" y="534"/>
                  </a:lnTo>
                  <a:lnTo>
                    <a:pt x="248" y="527"/>
                  </a:lnTo>
                  <a:lnTo>
                    <a:pt x="256" y="543"/>
                  </a:lnTo>
                  <a:lnTo>
                    <a:pt x="256" y="543"/>
                  </a:lnTo>
                  <a:close/>
                  <a:moveTo>
                    <a:pt x="227" y="477"/>
                  </a:moveTo>
                  <a:lnTo>
                    <a:pt x="211" y="484"/>
                  </a:lnTo>
                  <a:lnTo>
                    <a:pt x="204" y="468"/>
                  </a:lnTo>
                  <a:lnTo>
                    <a:pt x="220" y="461"/>
                  </a:lnTo>
                  <a:lnTo>
                    <a:pt x="227" y="477"/>
                  </a:lnTo>
                  <a:lnTo>
                    <a:pt x="227" y="477"/>
                  </a:lnTo>
                  <a:close/>
                  <a:moveTo>
                    <a:pt x="199" y="411"/>
                  </a:moveTo>
                  <a:lnTo>
                    <a:pt x="182" y="418"/>
                  </a:lnTo>
                  <a:lnTo>
                    <a:pt x="175" y="402"/>
                  </a:lnTo>
                  <a:lnTo>
                    <a:pt x="192" y="395"/>
                  </a:lnTo>
                  <a:lnTo>
                    <a:pt x="199" y="411"/>
                  </a:lnTo>
                  <a:lnTo>
                    <a:pt x="199" y="411"/>
                  </a:lnTo>
                  <a:close/>
                  <a:moveTo>
                    <a:pt x="168" y="345"/>
                  </a:moveTo>
                  <a:lnTo>
                    <a:pt x="152" y="352"/>
                  </a:lnTo>
                  <a:lnTo>
                    <a:pt x="145" y="336"/>
                  </a:lnTo>
                  <a:lnTo>
                    <a:pt x="161" y="329"/>
                  </a:lnTo>
                  <a:lnTo>
                    <a:pt x="168" y="345"/>
                  </a:lnTo>
                  <a:lnTo>
                    <a:pt x="168" y="345"/>
                  </a:lnTo>
                  <a:close/>
                  <a:moveTo>
                    <a:pt x="140" y="281"/>
                  </a:moveTo>
                  <a:lnTo>
                    <a:pt x="123" y="288"/>
                  </a:lnTo>
                  <a:lnTo>
                    <a:pt x="116" y="272"/>
                  </a:lnTo>
                  <a:lnTo>
                    <a:pt x="133" y="265"/>
                  </a:lnTo>
                  <a:lnTo>
                    <a:pt x="140" y="281"/>
                  </a:lnTo>
                  <a:lnTo>
                    <a:pt x="140" y="281"/>
                  </a:lnTo>
                  <a:close/>
                  <a:moveTo>
                    <a:pt x="111" y="215"/>
                  </a:moveTo>
                  <a:lnTo>
                    <a:pt x="95" y="222"/>
                  </a:lnTo>
                  <a:lnTo>
                    <a:pt x="88" y="206"/>
                  </a:lnTo>
                  <a:lnTo>
                    <a:pt x="104" y="199"/>
                  </a:lnTo>
                  <a:lnTo>
                    <a:pt x="111" y="215"/>
                  </a:lnTo>
                  <a:lnTo>
                    <a:pt x="111" y="215"/>
                  </a:lnTo>
                  <a:close/>
                  <a:moveTo>
                    <a:pt x="81" y="149"/>
                  </a:moveTo>
                  <a:lnTo>
                    <a:pt x="64" y="156"/>
                  </a:lnTo>
                  <a:lnTo>
                    <a:pt x="57" y="140"/>
                  </a:lnTo>
                  <a:lnTo>
                    <a:pt x="74" y="132"/>
                  </a:lnTo>
                  <a:lnTo>
                    <a:pt x="81" y="149"/>
                  </a:lnTo>
                  <a:lnTo>
                    <a:pt x="81" y="149"/>
                  </a:lnTo>
                  <a:close/>
                  <a:moveTo>
                    <a:pt x="52" y="83"/>
                  </a:moveTo>
                  <a:lnTo>
                    <a:pt x="36" y="90"/>
                  </a:lnTo>
                  <a:lnTo>
                    <a:pt x="29" y="73"/>
                  </a:lnTo>
                  <a:lnTo>
                    <a:pt x="45" y="66"/>
                  </a:lnTo>
                  <a:lnTo>
                    <a:pt x="52" y="8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8" name="Freeform 544"/>
            <p:cNvSpPr>
              <a:spLocks noEditPoints="1"/>
            </p:cNvSpPr>
            <p:nvPr/>
          </p:nvSpPr>
          <p:spPr bwMode="auto">
            <a:xfrm>
              <a:off x="5435600" y="4562475"/>
              <a:ext cx="1050925" cy="60325"/>
            </a:xfrm>
            <a:custGeom>
              <a:avLst/>
              <a:gdLst>
                <a:gd name="T0" fmla="*/ 19 w 662"/>
                <a:gd name="T1" fmla="*/ 0 h 38"/>
                <a:gd name="T2" fmla="*/ 17 w 662"/>
                <a:gd name="T3" fmla="*/ 17 h 38"/>
                <a:gd name="T4" fmla="*/ 0 w 662"/>
                <a:gd name="T5" fmla="*/ 17 h 38"/>
                <a:gd name="T6" fmla="*/ 0 w 662"/>
                <a:gd name="T7" fmla="*/ 0 h 38"/>
                <a:gd name="T8" fmla="*/ 19 w 662"/>
                <a:gd name="T9" fmla="*/ 0 h 38"/>
                <a:gd name="T10" fmla="*/ 19 w 662"/>
                <a:gd name="T11" fmla="*/ 0 h 38"/>
                <a:gd name="T12" fmla="*/ 662 w 662"/>
                <a:gd name="T13" fmla="*/ 21 h 38"/>
                <a:gd name="T14" fmla="*/ 647 w 662"/>
                <a:gd name="T15" fmla="*/ 21 h 38"/>
                <a:gd name="T16" fmla="*/ 647 w 662"/>
                <a:gd name="T17" fmla="*/ 38 h 38"/>
                <a:gd name="T18" fmla="*/ 659 w 662"/>
                <a:gd name="T19" fmla="*/ 38 h 38"/>
                <a:gd name="T20" fmla="*/ 662 w 662"/>
                <a:gd name="T21" fmla="*/ 21 h 38"/>
                <a:gd name="T22" fmla="*/ 662 w 662"/>
                <a:gd name="T23" fmla="*/ 21 h 38"/>
                <a:gd name="T24" fmla="*/ 593 w 662"/>
                <a:gd name="T25" fmla="*/ 19 h 38"/>
                <a:gd name="T26" fmla="*/ 593 w 662"/>
                <a:gd name="T27" fmla="*/ 36 h 38"/>
                <a:gd name="T28" fmla="*/ 577 w 662"/>
                <a:gd name="T29" fmla="*/ 36 h 38"/>
                <a:gd name="T30" fmla="*/ 577 w 662"/>
                <a:gd name="T31" fmla="*/ 19 h 38"/>
                <a:gd name="T32" fmla="*/ 593 w 662"/>
                <a:gd name="T33" fmla="*/ 19 h 38"/>
                <a:gd name="T34" fmla="*/ 593 w 662"/>
                <a:gd name="T35" fmla="*/ 19 h 38"/>
                <a:gd name="T36" fmla="*/ 522 w 662"/>
                <a:gd name="T37" fmla="*/ 17 h 38"/>
                <a:gd name="T38" fmla="*/ 522 w 662"/>
                <a:gd name="T39" fmla="*/ 33 h 38"/>
                <a:gd name="T40" fmla="*/ 503 w 662"/>
                <a:gd name="T41" fmla="*/ 33 h 38"/>
                <a:gd name="T42" fmla="*/ 503 w 662"/>
                <a:gd name="T43" fmla="*/ 17 h 38"/>
                <a:gd name="T44" fmla="*/ 522 w 662"/>
                <a:gd name="T45" fmla="*/ 17 h 38"/>
                <a:gd name="T46" fmla="*/ 522 w 662"/>
                <a:gd name="T47" fmla="*/ 17 h 38"/>
                <a:gd name="T48" fmla="*/ 449 w 662"/>
                <a:gd name="T49" fmla="*/ 14 h 38"/>
                <a:gd name="T50" fmla="*/ 449 w 662"/>
                <a:gd name="T51" fmla="*/ 31 h 38"/>
                <a:gd name="T52" fmla="*/ 433 w 662"/>
                <a:gd name="T53" fmla="*/ 31 h 38"/>
                <a:gd name="T54" fmla="*/ 433 w 662"/>
                <a:gd name="T55" fmla="*/ 14 h 38"/>
                <a:gd name="T56" fmla="*/ 449 w 662"/>
                <a:gd name="T57" fmla="*/ 14 h 38"/>
                <a:gd name="T58" fmla="*/ 449 w 662"/>
                <a:gd name="T59" fmla="*/ 14 h 38"/>
                <a:gd name="T60" fmla="*/ 378 w 662"/>
                <a:gd name="T61" fmla="*/ 12 h 38"/>
                <a:gd name="T62" fmla="*/ 378 w 662"/>
                <a:gd name="T63" fmla="*/ 29 h 38"/>
                <a:gd name="T64" fmla="*/ 359 w 662"/>
                <a:gd name="T65" fmla="*/ 29 h 38"/>
                <a:gd name="T66" fmla="*/ 359 w 662"/>
                <a:gd name="T67" fmla="*/ 12 h 38"/>
                <a:gd name="T68" fmla="*/ 378 w 662"/>
                <a:gd name="T69" fmla="*/ 12 h 38"/>
                <a:gd name="T70" fmla="*/ 378 w 662"/>
                <a:gd name="T71" fmla="*/ 12 h 38"/>
                <a:gd name="T72" fmla="*/ 307 w 662"/>
                <a:gd name="T73" fmla="*/ 10 h 38"/>
                <a:gd name="T74" fmla="*/ 305 w 662"/>
                <a:gd name="T75" fmla="*/ 26 h 38"/>
                <a:gd name="T76" fmla="*/ 288 w 662"/>
                <a:gd name="T77" fmla="*/ 26 h 38"/>
                <a:gd name="T78" fmla="*/ 288 w 662"/>
                <a:gd name="T79" fmla="*/ 10 h 38"/>
                <a:gd name="T80" fmla="*/ 307 w 662"/>
                <a:gd name="T81" fmla="*/ 10 h 38"/>
                <a:gd name="T82" fmla="*/ 307 w 662"/>
                <a:gd name="T83" fmla="*/ 10 h 38"/>
                <a:gd name="T84" fmla="*/ 234 w 662"/>
                <a:gd name="T85" fmla="*/ 7 h 38"/>
                <a:gd name="T86" fmla="*/ 234 w 662"/>
                <a:gd name="T87" fmla="*/ 24 h 38"/>
                <a:gd name="T88" fmla="*/ 215 w 662"/>
                <a:gd name="T89" fmla="*/ 24 h 38"/>
                <a:gd name="T90" fmla="*/ 215 w 662"/>
                <a:gd name="T91" fmla="*/ 7 h 38"/>
                <a:gd name="T92" fmla="*/ 234 w 662"/>
                <a:gd name="T93" fmla="*/ 7 h 38"/>
                <a:gd name="T94" fmla="*/ 234 w 662"/>
                <a:gd name="T95" fmla="*/ 7 h 38"/>
                <a:gd name="T96" fmla="*/ 163 w 662"/>
                <a:gd name="T97" fmla="*/ 5 h 38"/>
                <a:gd name="T98" fmla="*/ 161 w 662"/>
                <a:gd name="T99" fmla="*/ 21 h 38"/>
                <a:gd name="T100" fmla="*/ 144 w 662"/>
                <a:gd name="T101" fmla="*/ 21 h 38"/>
                <a:gd name="T102" fmla="*/ 144 w 662"/>
                <a:gd name="T103" fmla="*/ 5 h 38"/>
                <a:gd name="T104" fmla="*/ 163 w 662"/>
                <a:gd name="T105" fmla="*/ 5 h 38"/>
                <a:gd name="T106" fmla="*/ 163 w 662"/>
                <a:gd name="T107" fmla="*/ 5 h 38"/>
                <a:gd name="T108" fmla="*/ 90 w 662"/>
                <a:gd name="T109" fmla="*/ 3 h 38"/>
                <a:gd name="T110" fmla="*/ 90 w 662"/>
                <a:gd name="T111" fmla="*/ 19 h 38"/>
                <a:gd name="T112" fmla="*/ 71 w 662"/>
                <a:gd name="T113" fmla="*/ 19 h 38"/>
                <a:gd name="T114" fmla="*/ 73 w 662"/>
                <a:gd name="T115" fmla="*/ 3 h 38"/>
                <a:gd name="T116" fmla="*/ 90 w 662"/>
                <a:gd name="T11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2" h="38">
                  <a:moveTo>
                    <a:pt x="19" y="0"/>
                  </a:moveTo>
                  <a:lnTo>
                    <a:pt x="17" y="17"/>
                  </a:lnTo>
                  <a:lnTo>
                    <a:pt x="0" y="17"/>
                  </a:lnTo>
                  <a:lnTo>
                    <a:pt x="0" y="0"/>
                  </a:lnTo>
                  <a:lnTo>
                    <a:pt x="19" y="0"/>
                  </a:lnTo>
                  <a:lnTo>
                    <a:pt x="19" y="0"/>
                  </a:lnTo>
                  <a:close/>
                  <a:moveTo>
                    <a:pt x="662" y="21"/>
                  </a:moveTo>
                  <a:lnTo>
                    <a:pt x="647" y="21"/>
                  </a:lnTo>
                  <a:lnTo>
                    <a:pt x="647" y="38"/>
                  </a:lnTo>
                  <a:lnTo>
                    <a:pt x="659" y="38"/>
                  </a:lnTo>
                  <a:lnTo>
                    <a:pt x="662" y="21"/>
                  </a:lnTo>
                  <a:lnTo>
                    <a:pt x="662" y="21"/>
                  </a:lnTo>
                  <a:close/>
                  <a:moveTo>
                    <a:pt x="593" y="19"/>
                  </a:moveTo>
                  <a:lnTo>
                    <a:pt x="593" y="36"/>
                  </a:lnTo>
                  <a:lnTo>
                    <a:pt x="577" y="36"/>
                  </a:lnTo>
                  <a:lnTo>
                    <a:pt x="577" y="19"/>
                  </a:lnTo>
                  <a:lnTo>
                    <a:pt x="593" y="19"/>
                  </a:lnTo>
                  <a:lnTo>
                    <a:pt x="593" y="19"/>
                  </a:lnTo>
                  <a:close/>
                  <a:moveTo>
                    <a:pt x="522" y="17"/>
                  </a:moveTo>
                  <a:lnTo>
                    <a:pt x="522" y="33"/>
                  </a:lnTo>
                  <a:lnTo>
                    <a:pt x="503" y="33"/>
                  </a:lnTo>
                  <a:lnTo>
                    <a:pt x="503" y="17"/>
                  </a:lnTo>
                  <a:lnTo>
                    <a:pt x="522" y="17"/>
                  </a:lnTo>
                  <a:lnTo>
                    <a:pt x="522" y="17"/>
                  </a:lnTo>
                  <a:close/>
                  <a:moveTo>
                    <a:pt x="449" y="14"/>
                  </a:moveTo>
                  <a:lnTo>
                    <a:pt x="449" y="31"/>
                  </a:lnTo>
                  <a:lnTo>
                    <a:pt x="433" y="31"/>
                  </a:lnTo>
                  <a:lnTo>
                    <a:pt x="433" y="14"/>
                  </a:lnTo>
                  <a:lnTo>
                    <a:pt x="449" y="14"/>
                  </a:lnTo>
                  <a:lnTo>
                    <a:pt x="449" y="14"/>
                  </a:lnTo>
                  <a:close/>
                  <a:moveTo>
                    <a:pt x="378" y="12"/>
                  </a:moveTo>
                  <a:lnTo>
                    <a:pt x="378" y="29"/>
                  </a:lnTo>
                  <a:lnTo>
                    <a:pt x="359" y="29"/>
                  </a:lnTo>
                  <a:lnTo>
                    <a:pt x="359" y="12"/>
                  </a:lnTo>
                  <a:lnTo>
                    <a:pt x="378" y="12"/>
                  </a:lnTo>
                  <a:lnTo>
                    <a:pt x="378" y="12"/>
                  </a:lnTo>
                  <a:close/>
                  <a:moveTo>
                    <a:pt x="307" y="10"/>
                  </a:moveTo>
                  <a:lnTo>
                    <a:pt x="305" y="26"/>
                  </a:lnTo>
                  <a:lnTo>
                    <a:pt x="288" y="26"/>
                  </a:lnTo>
                  <a:lnTo>
                    <a:pt x="288" y="10"/>
                  </a:lnTo>
                  <a:lnTo>
                    <a:pt x="307" y="10"/>
                  </a:lnTo>
                  <a:lnTo>
                    <a:pt x="307" y="10"/>
                  </a:lnTo>
                  <a:close/>
                  <a:moveTo>
                    <a:pt x="234" y="7"/>
                  </a:moveTo>
                  <a:lnTo>
                    <a:pt x="234" y="24"/>
                  </a:lnTo>
                  <a:lnTo>
                    <a:pt x="215" y="24"/>
                  </a:lnTo>
                  <a:lnTo>
                    <a:pt x="215" y="7"/>
                  </a:lnTo>
                  <a:lnTo>
                    <a:pt x="234" y="7"/>
                  </a:lnTo>
                  <a:lnTo>
                    <a:pt x="234" y="7"/>
                  </a:lnTo>
                  <a:close/>
                  <a:moveTo>
                    <a:pt x="163" y="5"/>
                  </a:moveTo>
                  <a:lnTo>
                    <a:pt x="161" y="21"/>
                  </a:lnTo>
                  <a:lnTo>
                    <a:pt x="144" y="21"/>
                  </a:lnTo>
                  <a:lnTo>
                    <a:pt x="144" y="5"/>
                  </a:lnTo>
                  <a:lnTo>
                    <a:pt x="163" y="5"/>
                  </a:lnTo>
                  <a:lnTo>
                    <a:pt x="163" y="5"/>
                  </a:lnTo>
                  <a:close/>
                  <a:moveTo>
                    <a:pt x="90" y="3"/>
                  </a:moveTo>
                  <a:lnTo>
                    <a:pt x="90" y="19"/>
                  </a:lnTo>
                  <a:lnTo>
                    <a:pt x="71" y="19"/>
                  </a:lnTo>
                  <a:lnTo>
                    <a:pt x="73" y="3"/>
                  </a:lnTo>
                  <a:lnTo>
                    <a:pt x="9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29" name="Freeform 545"/>
            <p:cNvSpPr>
              <a:spLocks noEditPoints="1"/>
            </p:cNvSpPr>
            <p:nvPr/>
          </p:nvSpPr>
          <p:spPr bwMode="auto">
            <a:xfrm>
              <a:off x="6351588" y="4592638"/>
              <a:ext cx="1049338" cy="60325"/>
            </a:xfrm>
            <a:custGeom>
              <a:avLst/>
              <a:gdLst>
                <a:gd name="T0" fmla="*/ 18 w 661"/>
                <a:gd name="T1" fmla="*/ 0 h 38"/>
                <a:gd name="T2" fmla="*/ 18 w 661"/>
                <a:gd name="T3" fmla="*/ 17 h 38"/>
                <a:gd name="T4" fmla="*/ 0 w 661"/>
                <a:gd name="T5" fmla="*/ 17 h 38"/>
                <a:gd name="T6" fmla="*/ 0 w 661"/>
                <a:gd name="T7" fmla="*/ 0 h 38"/>
                <a:gd name="T8" fmla="*/ 18 w 661"/>
                <a:gd name="T9" fmla="*/ 0 h 38"/>
                <a:gd name="T10" fmla="*/ 18 w 661"/>
                <a:gd name="T11" fmla="*/ 0 h 38"/>
                <a:gd name="T12" fmla="*/ 661 w 661"/>
                <a:gd name="T13" fmla="*/ 21 h 38"/>
                <a:gd name="T14" fmla="*/ 647 w 661"/>
                <a:gd name="T15" fmla="*/ 21 h 38"/>
                <a:gd name="T16" fmla="*/ 647 w 661"/>
                <a:gd name="T17" fmla="*/ 38 h 38"/>
                <a:gd name="T18" fmla="*/ 661 w 661"/>
                <a:gd name="T19" fmla="*/ 38 h 38"/>
                <a:gd name="T20" fmla="*/ 661 w 661"/>
                <a:gd name="T21" fmla="*/ 21 h 38"/>
                <a:gd name="T22" fmla="*/ 661 w 661"/>
                <a:gd name="T23" fmla="*/ 21 h 38"/>
                <a:gd name="T24" fmla="*/ 595 w 661"/>
                <a:gd name="T25" fmla="*/ 19 h 38"/>
                <a:gd name="T26" fmla="*/ 592 w 661"/>
                <a:gd name="T27" fmla="*/ 36 h 38"/>
                <a:gd name="T28" fmla="*/ 576 w 661"/>
                <a:gd name="T29" fmla="*/ 36 h 38"/>
                <a:gd name="T30" fmla="*/ 576 w 661"/>
                <a:gd name="T31" fmla="*/ 19 h 38"/>
                <a:gd name="T32" fmla="*/ 595 w 661"/>
                <a:gd name="T33" fmla="*/ 19 h 38"/>
                <a:gd name="T34" fmla="*/ 595 w 661"/>
                <a:gd name="T35" fmla="*/ 19 h 38"/>
                <a:gd name="T36" fmla="*/ 522 w 661"/>
                <a:gd name="T37" fmla="*/ 17 h 38"/>
                <a:gd name="T38" fmla="*/ 522 w 661"/>
                <a:gd name="T39" fmla="*/ 33 h 38"/>
                <a:gd name="T40" fmla="*/ 503 w 661"/>
                <a:gd name="T41" fmla="*/ 33 h 38"/>
                <a:gd name="T42" fmla="*/ 505 w 661"/>
                <a:gd name="T43" fmla="*/ 17 h 38"/>
                <a:gd name="T44" fmla="*/ 522 w 661"/>
                <a:gd name="T45" fmla="*/ 17 h 38"/>
                <a:gd name="T46" fmla="*/ 522 w 661"/>
                <a:gd name="T47" fmla="*/ 17 h 38"/>
                <a:gd name="T48" fmla="*/ 451 w 661"/>
                <a:gd name="T49" fmla="*/ 14 h 38"/>
                <a:gd name="T50" fmla="*/ 448 w 661"/>
                <a:gd name="T51" fmla="*/ 31 h 38"/>
                <a:gd name="T52" fmla="*/ 432 w 661"/>
                <a:gd name="T53" fmla="*/ 31 h 38"/>
                <a:gd name="T54" fmla="*/ 432 w 661"/>
                <a:gd name="T55" fmla="*/ 14 h 38"/>
                <a:gd name="T56" fmla="*/ 451 w 661"/>
                <a:gd name="T57" fmla="*/ 14 h 38"/>
                <a:gd name="T58" fmla="*/ 451 w 661"/>
                <a:gd name="T59" fmla="*/ 14 h 38"/>
                <a:gd name="T60" fmla="*/ 377 w 661"/>
                <a:gd name="T61" fmla="*/ 12 h 38"/>
                <a:gd name="T62" fmla="*/ 377 w 661"/>
                <a:gd name="T63" fmla="*/ 28 h 38"/>
                <a:gd name="T64" fmla="*/ 359 w 661"/>
                <a:gd name="T65" fmla="*/ 28 h 38"/>
                <a:gd name="T66" fmla="*/ 361 w 661"/>
                <a:gd name="T67" fmla="*/ 12 h 38"/>
                <a:gd name="T68" fmla="*/ 377 w 661"/>
                <a:gd name="T69" fmla="*/ 12 h 38"/>
                <a:gd name="T70" fmla="*/ 377 w 661"/>
                <a:gd name="T71" fmla="*/ 12 h 38"/>
                <a:gd name="T72" fmla="*/ 307 w 661"/>
                <a:gd name="T73" fmla="*/ 10 h 38"/>
                <a:gd name="T74" fmla="*/ 307 w 661"/>
                <a:gd name="T75" fmla="*/ 26 h 38"/>
                <a:gd name="T76" fmla="*/ 288 w 661"/>
                <a:gd name="T77" fmla="*/ 26 h 38"/>
                <a:gd name="T78" fmla="*/ 288 w 661"/>
                <a:gd name="T79" fmla="*/ 10 h 38"/>
                <a:gd name="T80" fmla="*/ 307 w 661"/>
                <a:gd name="T81" fmla="*/ 10 h 38"/>
                <a:gd name="T82" fmla="*/ 307 w 661"/>
                <a:gd name="T83" fmla="*/ 10 h 38"/>
                <a:gd name="T84" fmla="*/ 233 w 661"/>
                <a:gd name="T85" fmla="*/ 7 h 38"/>
                <a:gd name="T86" fmla="*/ 233 w 661"/>
                <a:gd name="T87" fmla="*/ 24 h 38"/>
                <a:gd name="T88" fmla="*/ 215 w 661"/>
                <a:gd name="T89" fmla="*/ 24 h 38"/>
                <a:gd name="T90" fmla="*/ 217 w 661"/>
                <a:gd name="T91" fmla="*/ 7 h 38"/>
                <a:gd name="T92" fmla="*/ 233 w 661"/>
                <a:gd name="T93" fmla="*/ 7 h 38"/>
                <a:gd name="T94" fmla="*/ 233 w 661"/>
                <a:gd name="T95" fmla="*/ 7 h 38"/>
                <a:gd name="T96" fmla="*/ 163 w 661"/>
                <a:gd name="T97" fmla="*/ 5 h 38"/>
                <a:gd name="T98" fmla="*/ 163 w 661"/>
                <a:gd name="T99" fmla="*/ 21 h 38"/>
                <a:gd name="T100" fmla="*/ 144 w 661"/>
                <a:gd name="T101" fmla="*/ 21 h 38"/>
                <a:gd name="T102" fmla="*/ 144 w 661"/>
                <a:gd name="T103" fmla="*/ 5 h 38"/>
                <a:gd name="T104" fmla="*/ 163 w 661"/>
                <a:gd name="T105" fmla="*/ 5 h 38"/>
                <a:gd name="T106" fmla="*/ 163 w 661"/>
                <a:gd name="T107" fmla="*/ 5 h 38"/>
                <a:gd name="T108" fmla="*/ 89 w 661"/>
                <a:gd name="T109" fmla="*/ 2 h 38"/>
                <a:gd name="T110" fmla="*/ 89 w 661"/>
                <a:gd name="T111" fmla="*/ 19 h 38"/>
                <a:gd name="T112" fmla="*/ 73 w 661"/>
                <a:gd name="T113" fmla="*/ 19 h 38"/>
                <a:gd name="T114" fmla="*/ 73 w 661"/>
                <a:gd name="T115" fmla="*/ 2 h 38"/>
                <a:gd name="T116" fmla="*/ 89 w 661"/>
                <a:gd name="T117" fmla="*/ 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1" h="38">
                  <a:moveTo>
                    <a:pt x="18" y="0"/>
                  </a:moveTo>
                  <a:lnTo>
                    <a:pt x="18" y="17"/>
                  </a:lnTo>
                  <a:lnTo>
                    <a:pt x="0" y="17"/>
                  </a:lnTo>
                  <a:lnTo>
                    <a:pt x="0" y="0"/>
                  </a:lnTo>
                  <a:lnTo>
                    <a:pt x="18" y="0"/>
                  </a:lnTo>
                  <a:lnTo>
                    <a:pt x="18" y="0"/>
                  </a:lnTo>
                  <a:close/>
                  <a:moveTo>
                    <a:pt x="661" y="21"/>
                  </a:moveTo>
                  <a:lnTo>
                    <a:pt x="647" y="21"/>
                  </a:lnTo>
                  <a:lnTo>
                    <a:pt x="647" y="38"/>
                  </a:lnTo>
                  <a:lnTo>
                    <a:pt x="661" y="38"/>
                  </a:lnTo>
                  <a:lnTo>
                    <a:pt x="661" y="21"/>
                  </a:lnTo>
                  <a:lnTo>
                    <a:pt x="661" y="21"/>
                  </a:lnTo>
                  <a:close/>
                  <a:moveTo>
                    <a:pt x="595" y="19"/>
                  </a:moveTo>
                  <a:lnTo>
                    <a:pt x="592" y="36"/>
                  </a:lnTo>
                  <a:lnTo>
                    <a:pt x="576" y="36"/>
                  </a:lnTo>
                  <a:lnTo>
                    <a:pt x="576" y="19"/>
                  </a:lnTo>
                  <a:lnTo>
                    <a:pt x="595" y="19"/>
                  </a:lnTo>
                  <a:lnTo>
                    <a:pt x="595" y="19"/>
                  </a:lnTo>
                  <a:close/>
                  <a:moveTo>
                    <a:pt x="522" y="17"/>
                  </a:moveTo>
                  <a:lnTo>
                    <a:pt x="522" y="33"/>
                  </a:lnTo>
                  <a:lnTo>
                    <a:pt x="503" y="33"/>
                  </a:lnTo>
                  <a:lnTo>
                    <a:pt x="505" y="17"/>
                  </a:lnTo>
                  <a:lnTo>
                    <a:pt x="522" y="17"/>
                  </a:lnTo>
                  <a:lnTo>
                    <a:pt x="522" y="17"/>
                  </a:lnTo>
                  <a:close/>
                  <a:moveTo>
                    <a:pt x="451" y="14"/>
                  </a:moveTo>
                  <a:lnTo>
                    <a:pt x="448" y="31"/>
                  </a:lnTo>
                  <a:lnTo>
                    <a:pt x="432" y="31"/>
                  </a:lnTo>
                  <a:lnTo>
                    <a:pt x="432" y="14"/>
                  </a:lnTo>
                  <a:lnTo>
                    <a:pt x="451" y="14"/>
                  </a:lnTo>
                  <a:lnTo>
                    <a:pt x="451" y="14"/>
                  </a:lnTo>
                  <a:close/>
                  <a:moveTo>
                    <a:pt x="377" y="12"/>
                  </a:moveTo>
                  <a:lnTo>
                    <a:pt x="377" y="28"/>
                  </a:lnTo>
                  <a:lnTo>
                    <a:pt x="359" y="28"/>
                  </a:lnTo>
                  <a:lnTo>
                    <a:pt x="361" y="12"/>
                  </a:lnTo>
                  <a:lnTo>
                    <a:pt x="377" y="12"/>
                  </a:lnTo>
                  <a:lnTo>
                    <a:pt x="377" y="12"/>
                  </a:lnTo>
                  <a:close/>
                  <a:moveTo>
                    <a:pt x="307" y="10"/>
                  </a:moveTo>
                  <a:lnTo>
                    <a:pt x="307" y="26"/>
                  </a:lnTo>
                  <a:lnTo>
                    <a:pt x="288" y="26"/>
                  </a:lnTo>
                  <a:lnTo>
                    <a:pt x="288" y="10"/>
                  </a:lnTo>
                  <a:lnTo>
                    <a:pt x="307" y="10"/>
                  </a:lnTo>
                  <a:lnTo>
                    <a:pt x="307" y="10"/>
                  </a:lnTo>
                  <a:close/>
                  <a:moveTo>
                    <a:pt x="233" y="7"/>
                  </a:moveTo>
                  <a:lnTo>
                    <a:pt x="233" y="24"/>
                  </a:lnTo>
                  <a:lnTo>
                    <a:pt x="215" y="24"/>
                  </a:lnTo>
                  <a:lnTo>
                    <a:pt x="217" y="7"/>
                  </a:lnTo>
                  <a:lnTo>
                    <a:pt x="233" y="7"/>
                  </a:lnTo>
                  <a:lnTo>
                    <a:pt x="233" y="7"/>
                  </a:lnTo>
                  <a:close/>
                  <a:moveTo>
                    <a:pt x="163" y="5"/>
                  </a:moveTo>
                  <a:lnTo>
                    <a:pt x="163" y="21"/>
                  </a:lnTo>
                  <a:lnTo>
                    <a:pt x="144" y="21"/>
                  </a:lnTo>
                  <a:lnTo>
                    <a:pt x="144" y="5"/>
                  </a:lnTo>
                  <a:lnTo>
                    <a:pt x="163" y="5"/>
                  </a:lnTo>
                  <a:lnTo>
                    <a:pt x="163" y="5"/>
                  </a:lnTo>
                  <a:close/>
                  <a:moveTo>
                    <a:pt x="89" y="2"/>
                  </a:moveTo>
                  <a:lnTo>
                    <a:pt x="89" y="19"/>
                  </a:lnTo>
                  <a:lnTo>
                    <a:pt x="73" y="19"/>
                  </a:lnTo>
                  <a:lnTo>
                    <a:pt x="73" y="2"/>
                  </a:lnTo>
                  <a:lnTo>
                    <a:pt x="89"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30" name="Freeform 546"/>
            <p:cNvSpPr>
              <a:spLocks noEditPoints="1"/>
            </p:cNvSpPr>
            <p:nvPr/>
          </p:nvSpPr>
          <p:spPr bwMode="auto">
            <a:xfrm>
              <a:off x="2428875" y="3249613"/>
              <a:ext cx="1398588" cy="98425"/>
            </a:xfrm>
            <a:custGeom>
              <a:avLst/>
              <a:gdLst>
                <a:gd name="T0" fmla="*/ 19 w 881"/>
                <a:gd name="T1" fmla="*/ 59 h 62"/>
                <a:gd name="T2" fmla="*/ 0 w 881"/>
                <a:gd name="T3" fmla="*/ 43 h 62"/>
                <a:gd name="T4" fmla="*/ 17 w 881"/>
                <a:gd name="T5" fmla="*/ 43 h 62"/>
                <a:gd name="T6" fmla="*/ 881 w 881"/>
                <a:gd name="T7" fmla="*/ 19 h 62"/>
                <a:gd name="T8" fmla="*/ 862 w 881"/>
                <a:gd name="T9" fmla="*/ 3 h 62"/>
                <a:gd name="T10" fmla="*/ 881 w 881"/>
                <a:gd name="T11" fmla="*/ 0 h 62"/>
                <a:gd name="T12" fmla="*/ 810 w 881"/>
                <a:gd name="T13" fmla="*/ 22 h 62"/>
                <a:gd name="T14" fmla="*/ 791 w 881"/>
                <a:gd name="T15" fmla="*/ 5 h 62"/>
                <a:gd name="T16" fmla="*/ 808 w 881"/>
                <a:gd name="T17" fmla="*/ 5 h 62"/>
                <a:gd name="T18" fmla="*/ 737 w 881"/>
                <a:gd name="T19" fmla="*/ 26 h 62"/>
                <a:gd name="T20" fmla="*/ 718 w 881"/>
                <a:gd name="T21" fmla="*/ 10 h 62"/>
                <a:gd name="T22" fmla="*/ 737 w 881"/>
                <a:gd name="T23" fmla="*/ 8 h 62"/>
                <a:gd name="T24" fmla="*/ 666 w 881"/>
                <a:gd name="T25" fmla="*/ 29 h 62"/>
                <a:gd name="T26" fmla="*/ 647 w 881"/>
                <a:gd name="T27" fmla="*/ 12 h 62"/>
                <a:gd name="T28" fmla="*/ 664 w 881"/>
                <a:gd name="T29" fmla="*/ 12 h 62"/>
                <a:gd name="T30" fmla="*/ 593 w 881"/>
                <a:gd name="T31" fmla="*/ 33 h 62"/>
                <a:gd name="T32" fmla="*/ 574 w 881"/>
                <a:gd name="T33" fmla="*/ 17 h 62"/>
                <a:gd name="T34" fmla="*/ 593 w 881"/>
                <a:gd name="T35" fmla="*/ 15 h 62"/>
                <a:gd name="T36" fmla="*/ 522 w 881"/>
                <a:gd name="T37" fmla="*/ 36 h 62"/>
                <a:gd name="T38" fmla="*/ 503 w 881"/>
                <a:gd name="T39" fmla="*/ 19 h 62"/>
                <a:gd name="T40" fmla="*/ 522 w 881"/>
                <a:gd name="T41" fmla="*/ 19 h 62"/>
                <a:gd name="T42" fmla="*/ 449 w 881"/>
                <a:gd name="T43" fmla="*/ 41 h 62"/>
                <a:gd name="T44" fmla="*/ 430 w 881"/>
                <a:gd name="T45" fmla="*/ 24 h 62"/>
                <a:gd name="T46" fmla="*/ 449 w 881"/>
                <a:gd name="T47" fmla="*/ 22 h 62"/>
                <a:gd name="T48" fmla="*/ 378 w 881"/>
                <a:gd name="T49" fmla="*/ 43 h 62"/>
                <a:gd name="T50" fmla="*/ 359 w 881"/>
                <a:gd name="T51" fmla="*/ 26 h 62"/>
                <a:gd name="T52" fmla="*/ 378 w 881"/>
                <a:gd name="T53" fmla="*/ 26 h 62"/>
                <a:gd name="T54" fmla="*/ 307 w 881"/>
                <a:gd name="T55" fmla="*/ 48 h 62"/>
                <a:gd name="T56" fmla="*/ 288 w 881"/>
                <a:gd name="T57" fmla="*/ 29 h 62"/>
                <a:gd name="T58" fmla="*/ 305 w 881"/>
                <a:gd name="T59" fmla="*/ 29 h 62"/>
                <a:gd name="T60" fmla="*/ 234 w 881"/>
                <a:gd name="T61" fmla="*/ 50 h 62"/>
                <a:gd name="T62" fmla="*/ 215 w 881"/>
                <a:gd name="T63" fmla="*/ 33 h 62"/>
                <a:gd name="T64" fmla="*/ 234 w 881"/>
                <a:gd name="T65" fmla="*/ 33 h 62"/>
                <a:gd name="T66" fmla="*/ 163 w 881"/>
                <a:gd name="T67" fmla="*/ 55 h 62"/>
                <a:gd name="T68" fmla="*/ 144 w 881"/>
                <a:gd name="T69" fmla="*/ 36 h 62"/>
                <a:gd name="T70" fmla="*/ 161 w 881"/>
                <a:gd name="T71" fmla="*/ 36 h 62"/>
                <a:gd name="T72" fmla="*/ 90 w 881"/>
                <a:gd name="T73" fmla="*/ 57 h 62"/>
                <a:gd name="T74" fmla="*/ 71 w 881"/>
                <a:gd name="T7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1" h="62">
                  <a:moveTo>
                    <a:pt x="17" y="43"/>
                  </a:moveTo>
                  <a:lnTo>
                    <a:pt x="19" y="59"/>
                  </a:lnTo>
                  <a:lnTo>
                    <a:pt x="0" y="62"/>
                  </a:lnTo>
                  <a:lnTo>
                    <a:pt x="0" y="43"/>
                  </a:lnTo>
                  <a:lnTo>
                    <a:pt x="17" y="43"/>
                  </a:lnTo>
                  <a:lnTo>
                    <a:pt x="17" y="43"/>
                  </a:lnTo>
                  <a:close/>
                  <a:moveTo>
                    <a:pt x="881" y="0"/>
                  </a:moveTo>
                  <a:lnTo>
                    <a:pt x="881" y="19"/>
                  </a:lnTo>
                  <a:lnTo>
                    <a:pt x="862" y="19"/>
                  </a:lnTo>
                  <a:lnTo>
                    <a:pt x="862" y="3"/>
                  </a:lnTo>
                  <a:lnTo>
                    <a:pt x="881" y="0"/>
                  </a:lnTo>
                  <a:lnTo>
                    <a:pt x="881" y="0"/>
                  </a:lnTo>
                  <a:close/>
                  <a:moveTo>
                    <a:pt x="808" y="5"/>
                  </a:moveTo>
                  <a:lnTo>
                    <a:pt x="810" y="22"/>
                  </a:lnTo>
                  <a:lnTo>
                    <a:pt x="791" y="24"/>
                  </a:lnTo>
                  <a:lnTo>
                    <a:pt x="791" y="5"/>
                  </a:lnTo>
                  <a:lnTo>
                    <a:pt x="808" y="5"/>
                  </a:lnTo>
                  <a:lnTo>
                    <a:pt x="808" y="5"/>
                  </a:lnTo>
                  <a:close/>
                  <a:moveTo>
                    <a:pt x="737" y="8"/>
                  </a:moveTo>
                  <a:lnTo>
                    <a:pt x="737" y="26"/>
                  </a:lnTo>
                  <a:lnTo>
                    <a:pt x="720" y="26"/>
                  </a:lnTo>
                  <a:lnTo>
                    <a:pt x="718" y="10"/>
                  </a:lnTo>
                  <a:lnTo>
                    <a:pt x="737" y="8"/>
                  </a:lnTo>
                  <a:lnTo>
                    <a:pt x="737" y="8"/>
                  </a:lnTo>
                  <a:close/>
                  <a:moveTo>
                    <a:pt x="664" y="12"/>
                  </a:moveTo>
                  <a:lnTo>
                    <a:pt x="666" y="29"/>
                  </a:lnTo>
                  <a:lnTo>
                    <a:pt x="647" y="31"/>
                  </a:lnTo>
                  <a:lnTo>
                    <a:pt x="647" y="12"/>
                  </a:lnTo>
                  <a:lnTo>
                    <a:pt x="664" y="12"/>
                  </a:lnTo>
                  <a:lnTo>
                    <a:pt x="664" y="12"/>
                  </a:lnTo>
                  <a:close/>
                  <a:moveTo>
                    <a:pt x="593" y="15"/>
                  </a:moveTo>
                  <a:lnTo>
                    <a:pt x="593" y="33"/>
                  </a:lnTo>
                  <a:lnTo>
                    <a:pt x="576" y="33"/>
                  </a:lnTo>
                  <a:lnTo>
                    <a:pt x="574" y="17"/>
                  </a:lnTo>
                  <a:lnTo>
                    <a:pt x="593" y="15"/>
                  </a:lnTo>
                  <a:lnTo>
                    <a:pt x="593" y="15"/>
                  </a:lnTo>
                  <a:close/>
                  <a:moveTo>
                    <a:pt x="522" y="19"/>
                  </a:moveTo>
                  <a:lnTo>
                    <a:pt x="522" y="36"/>
                  </a:lnTo>
                  <a:lnTo>
                    <a:pt x="503" y="38"/>
                  </a:lnTo>
                  <a:lnTo>
                    <a:pt x="503" y="19"/>
                  </a:lnTo>
                  <a:lnTo>
                    <a:pt x="522" y="19"/>
                  </a:lnTo>
                  <a:lnTo>
                    <a:pt x="522" y="19"/>
                  </a:lnTo>
                  <a:close/>
                  <a:moveTo>
                    <a:pt x="449" y="22"/>
                  </a:moveTo>
                  <a:lnTo>
                    <a:pt x="449" y="41"/>
                  </a:lnTo>
                  <a:lnTo>
                    <a:pt x="432" y="41"/>
                  </a:lnTo>
                  <a:lnTo>
                    <a:pt x="430" y="24"/>
                  </a:lnTo>
                  <a:lnTo>
                    <a:pt x="449" y="22"/>
                  </a:lnTo>
                  <a:lnTo>
                    <a:pt x="449" y="22"/>
                  </a:lnTo>
                  <a:close/>
                  <a:moveTo>
                    <a:pt x="378" y="26"/>
                  </a:moveTo>
                  <a:lnTo>
                    <a:pt x="378" y="43"/>
                  </a:lnTo>
                  <a:lnTo>
                    <a:pt x="359" y="45"/>
                  </a:lnTo>
                  <a:lnTo>
                    <a:pt x="359" y="26"/>
                  </a:lnTo>
                  <a:lnTo>
                    <a:pt x="378" y="26"/>
                  </a:lnTo>
                  <a:lnTo>
                    <a:pt x="378" y="26"/>
                  </a:lnTo>
                  <a:close/>
                  <a:moveTo>
                    <a:pt x="305" y="29"/>
                  </a:moveTo>
                  <a:lnTo>
                    <a:pt x="307" y="48"/>
                  </a:lnTo>
                  <a:lnTo>
                    <a:pt x="288" y="48"/>
                  </a:lnTo>
                  <a:lnTo>
                    <a:pt x="288" y="29"/>
                  </a:lnTo>
                  <a:lnTo>
                    <a:pt x="305" y="29"/>
                  </a:lnTo>
                  <a:lnTo>
                    <a:pt x="305" y="29"/>
                  </a:lnTo>
                  <a:close/>
                  <a:moveTo>
                    <a:pt x="234" y="33"/>
                  </a:moveTo>
                  <a:lnTo>
                    <a:pt x="234" y="50"/>
                  </a:lnTo>
                  <a:lnTo>
                    <a:pt x="215" y="50"/>
                  </a:lnTo>
                  <a:lnTo>
                    <a:pt x="215" y="33"/>
                  </a:lnTo>
                  <a:lnTo>
                    <a:pt x="234" y="33"/>
                  </a:lnTo>
                  <a:lnTo>
                    <a:pt x="234" y="33"/>
                  </a:lnTo>
                  <a:close/>
                  <a:moveTo>
                    <a:pt x="161" y="36"/>
                  </a:moveTo>
                  <a:lnTo>
                    <a:pt x="163" y="55"/>
                  </a:lnTo>
                  <a:lnTo>
                    <a:pt x="144" y="55"/>
                  </a:lnTo>
                  <a:lnTo>
                    <a:pt x="144" y="36"/>
                  </a:lnTo>
                  <a:lnTo>
                    <a:pt x="161" y="36"/>
                  </a:lnTo>
                  <a:lnTo>
                    <a:pt x="161" y="36"/>
                  </a:lnTo>
                  <a:close/>
                  <a:moveTo>
                    <a:pt x="90" y="38"/>
                  </a:moveTo>
                  <a:lnTo>
                    <a:pt x="90" y="57"/>
                  </a:lnTo>
                  <a:lnTo>
                    <a:pt x="73" y="57"/>
                  </a:lnTo>
                  <a:lnTo>
                    <a:pt x="71" y="41"/>
                  </a:lnTo>
                  <a:lnTo>
                    <a:pt x="9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31" name="Freeform 547"/>
            <p:cNvSpPr>
              <a:spLocks noEditPoints="1"/>
            </p:cNvSpPr>
            <p:nvPr/>
          </p:nvSpPr>
          <p:spPr bwMode="auto">
            <a:xfrm>
              <a:off x="3227388" y="3213100"/>
              <a:ext cx="1398588" cy="96838"/>
            </a:xfrm>
            <a:custGeom>
              <a:avLst/>
              <a:gdLst>
                <a:gd name="T0" fmla="*/ 19 w 881"/>
                <a:gd name="T1" fmla="*/ 59 h 61"/>
                <a:gd name="T2" fmla="*/ 0 w 881"/>
                <a:gd name="T3" fmla="*/ 42 h 61"/>
                <a:gd name="T4" fmla="*/ 19 w 881"/>
                <a:gd name="T5" fmla="*/ 42 h 61"/>
                <a:gd name="T6" fmla="*/ 881 w 881"/>
                <a:gd name="T7" fmla="*/ 19 h 61"/>
                <a:gd name="T8" fmla="*/ 862 w 881"/>
                <a:gd name="T9" fmla="*/ 2 h 61"/>
                <a:gd name="T10" fmla="*/ 881 w 881"/>
                <a:gd name="T11" fmla="*/ 0 h 61"/>
                <a:gd name="T12" fmla="*/ 810 w 881"/>
                <a:gd name="T13" fmla="*/ 21 h 61"/>
                <a:gd name="T14" fmla="*/ 791 w 881"/>
                <a:gd name="T15" fmla="*/ 5 h 61"/>
                <a:gd name="T16" fmla="*/ 808 w 881"/>
                <a:gd name="T17" fmla="*/ 5 h 61"/>
                <a:gd name="T18" fmla="*/ 737 w 881"/>
                <a:gd name="T19" fmla="*/ 26 h 61"/>
                <a:gd name="T20" fmla="*/ 718 w 881"/>
                <a:gd name="T21" fmla="*/ 9 h 61"/>
                <a:gd name="T22" fmla="*/ 737 w 881"/>
                <a:gd name="T23" fmla="*/ 7 h 61"/>
                <a:gd name="T24" fmla="*/ 666 w 881"/>
                <a:gd name="T25" fmla="*/ 28 h 61"/>
                <a:gd name="T26" fmla="*/ 647 w 881"/>
                <a:gd name="T27" fmla="*/ 12 h 61"/>
                <a:gd name="T28" fmla="*/ 664 w 881"/>
                <a:gd name="T29" fmla="*/ 12 h 61"/>
                <a:gd name="T30" fmla="*/ 593 w 881"/>
                <a:gd name="T31" fmla="*/ 33 h 61"/>
                <a:gd name="T32" fmla="*/ 574 w 881"/>
                <a:gd name="T33" fmla="*/ 14 h 61"/>
                <a:gd name="T34" fmla="*/ 593 w 881"/>
                <a:gd name="T35" fmla="*/ 14 h 61"/>
                <a:gd name="T36" fmla="*/ 522 w 881"/>
                <a:gd name="T37" fmla="*/ 35 h 61"/>
                <a:gd name="T38" fmla="*/ 503 w 881"/>
                <a:gd name="T39" fmla="*/ 19 h 61"/>
                <a:gd name="T40" fmla="*/ 522 w 881"/>
                <a:gd name="T41" fmla="*/ 19 h 61"/>
                <a:gd name="T42" fmla="*/ 451 w 881"/>
                <a:gd name="T43" fmla="*/ 40 h 61"/>
                <a:gd name="T44" fmla="*/ 432 w 881"/>
                <a:gd name="T45" fmla="*/ 21 h 61"/>
                <a:gd name="T46" fmla="*/ 449 w 881"/>
                <a:gd name="T47" fmla="*/ 21 h 61"/>
                <a:gd name="T48" fmla="*/ 378 w 881"/>
                <a:gd name="T49" fmla="*/ 42 h 61"/>
                <a:gd name="T50" fmla="*/ 359 w 881"/>
                <a:gd name="T51" fmla="*/ 26 h 61"/>
                <a:gd name="T52" fmla="*/ 378 w 881"/>
                <a:gd name="T53" fmla="*/ 23 h 61"/>
                <a:gd name="T54" fmla="*/ 307 w 881"/>
                <a:gd name="T55" fmla="*/ 45 h 61"/>
                <a:gd name="T56" fmla="*/ 288 w 881"/>
                <a:gd name="T57" fmla="*/ 28 h 61"/>
                <a:gd name="T58" fmla="*/ 305 w 881"/>
                <a:gd name="T59" fmla="*/ 28 h 61"/>
                <a:gd name="T60" fmla="*/ 234 w 881"/>
                <a:gd name="T61" fmla="*/ 49 h 61"/>
                <a:gd name="T62" fmla="*/ 215 w 881"/>
                <a:gd name="T63" fmla="*/ 33 h 61"/>
                <a:gd name="T64" fmla="*/ 234 w 881"/>
                <a:gd name="T65" fmla="*/ 31 h 61"/>
                <a:gd name="T66" fmla="*/ 163 w 881"/>
                <a:gd name="T67" fmla="*/ 52 h 61"/>
                <a:gd name="T68" fmla="*/ 144 w 881"/>
                <a:gd name="T69" fmla="*/ 35 h 61"/>
                <a:gd name="T70" fmla="*/ 161 w 881"/>
                <a:gd name="T71" fmla="*/ 35 h 61"/>
                <a:gd name="T72" fmla="*/ 90 w 881"/>
                <a:gd name="T73" fmla="*/ 56 h 61"/>
                <a:gd name="T74" fmla="*/ 71 w 881"/>
                <a:gd name="T75" fmla="*/ 4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1" h="61">
                  <a:moveTo>
                    <a:pt x="19" y="42"/>
                  </a:moveTo>
                  <a:lnTo>
                    <a:pt x="19" y="59"/>
                  </a:lnTo>
                  <a:lnTo>
                    <a:pt x="0" y="61"/>
                  </a:lnTo>
                  <a:lnTo>
                    <a:pt x="0" y="42"/>
                  </a:lnTo>
                  <a:lnTo>
                    <a:pt x="19" y="42"/>
                  </a:lnTo>
                  <a:lnTo>
                    <a:pt x="19" y="42"/>
                  </a:lnTo>
                  <a:close/>
                  <a:moveTo>
                    <a:pt x="881" y="0"/>
                  </a:moveTo>
                  <a:lnTo>
                    <a:pt x="881" y="19"/>
                  </a:lnTo>
                  <a:lnTo>
                    <a:pt x="865" y="19"/>
                  </a:lnTo>
                  <a:lnTo>
                    <a:pt x="862" y="2"/>
                  </a:lnTo>
                  <a:lnTo>
                    <a:pt x="881" y="0"/>
                  </a:lnTo>
                  <a:lnTo>
                    <a:pt x="881" y="0"/>
                  </a:lnTo>
                  <a:close/>
                  <a:moveTo>
                    <a:pt x="808" y="5"/>
                  </a:moveTo>
                  <a:lnTo>
                    <a:pt x="810" y="21"/>
                  </a:lnTo>
                  <a:lnTo>
                    <a:pt x="791" y="23"/>
                  </a:lnTo>
                  <a:lnTo>
                    <a:pt x="791" y="5"/>
                  </a:lnTo>
                  <a:lnTo>
                    <a:pt x="808" y="5"/>
                  </a:lnTo>
                  <a:lnTo>
                    <a:pt x="808" y="5"/>
                  </a:lnTo>
                  <a:close/>
                  <a:moveTo>
                    <a:pt x="737" y="7"/>
                  </a:moveTo>
                  <a:lnTo>
                    <a:pt x="737" y="26"/>
                  </a:lnTo>
                  <a:lnTo>
                    <a:pt x="720" y="26"/>
                  </a:lnTo>
                  <a:lnTo>
                    <a:pt x="718" y="9"/>
                  </a:lnTo>
                  <a:lnTo>
                    <a:pt x="737" y="7"/>
                  </a:lnTo>
                  <a:lnTo>
                    <a:pt x="737" y="7"/>
                  </a:lnTo>
                  <a:close/>
                  <a:moveTo>
                    <a:pt x="664" y="12"/>
                  </a:moveTo>
                  <a:lnTo>
                    <a:pt x="666" y="28"/>
                  </a:lnTo>
                  <a:lnTo>
                    <a:pt x="647" y="31"/>
                  </a:lnTo>
                  <a:lnTo>
                    <a:pt x="647" y="12"/>
                  </a:lnTo>
                  <a:lnTo>
                    <a:pt x="664" y="12"/>
                  </a:lnTo>
                  <a:lnTo>
                    <a:pt x="664" y="12"/>
                  </a:lnTo>
                  <a:close/>
                  <a:moveTo>
                    <a:pt x="593" y="14"/>
                  </a:moveTo>
                  <a:lnTo>
                    <a:pt x="593" y="33"/>
                  </a:lnTo>
                  <a:lnTo>
                    <a:pt x="576" y="33"/>
                  </a:lnTo>
                  <a:lnTo>
                    <a:pt x="574" y="14"/>
                  </a:lnTo>
                  <a:lnTo>
                    <a:pt x="593" y="14"/>
                  </a:lnTo>
                  <a:lnTo>
                    <a:pt x="593" y="14"/>
                  </a:lnTo>
                  <a:close/>
                  <a:moveTo>
                    <a:pt x="522" y="19"/>
                  </a:moveTo>
                  <a:lnTo>
                    <a:pt x="522" y="35"/>
                  </a:lnTo>
                  <a:lnTo>
                    <a:pt x="503" y="35"/>
                  </a:lnTo>
                  <a:lnTo>
                    <a:pt x="503" y="19"/>
                  </a:lnTo>
                  <a:lnTo>
                    <a:pt x="522" y="19"/>
                  </a:lnTo>
                  <a:lnTo>
                    <a:pt x="522" y="19"/>
                  </a:lnTo>
                  <a:close/>
                  <a:moveTo>
                    <a:pt x="449" y="21"/>
                  </a:moveTo>
                  <a:lnTo>
                    <a:pt x="451" y="40"/>
                  </a:lnTo>
                  <a:lnTo>
                    <a:pt x="432" y="40"/>
                  </a:lnTo>
                  <a:lnTo>
                    <a:pt x="432" y="21"/>
                  </a:lnTo>
                  <a:lnTo>
                    <a:pt x="449" y="21"/>
                  </a:lnTo>
                  <a:lnTo>
                    <a:pt x="449" y="21"/>
                  </a:lnTo>
                  <a:close/>
                  <a:moveTo>
                    <a:pt x="378" y="23"/>
                  </a:moveTo>
                  <a:lnTo>
                    <a:pt x="378" y="42"/>
                  </a:lnTo>
                  <a:lnTo>
                    <a:pt x="359" y="42"/>
                  </a:lnTo>
                  <a:lnTo>
                    <a:pt x="359" y="26"/>
                  </a:lnTo>
                  <a:lnTo>
                    <a:pt x="378" y="23"/>
                  </a:lnTo>
                  <a:lnTo>
                    <a:pt x="378" y="23"/>
                  </a:lnTo>
                  <a:close/>
                  <a:moveTo>
                    <a:pt x="305" y="28"/>
                  </a:moveTo>
                  <a:lnTo>
                    <a:pt x="307" y="45"/>
                  </a:lnTo>
                  <a:lnTo>
                    <a:pt x="288" y="47"/>
                  </a:lnTo>
                  <a:lnTo>
                    <a:pt x="288" y="28"/>
                  </a:lnTo>
                  <a:lnTo>
                    <a:pt x="305" y="28"/>
                  </a:lnTo>
                  <a:lnTo>
                    <a:pt x="305" y="28"/>
                  </a:lnTo>
                  <a:close/>
                  <a:moveTo>
                    <a:pt x="234" y="31"/>
                  </a:moveTo>
                  <a:lnTo>
                    <a:pt x="234" y="49"/>
                  </a:lnTo>
                  <a:lnTo>
                    <a:pt x="217" y="49"/>
                  </a:lnTo>
                  <a:lnTo>
                    <a:pt x="215" y="33"/>
                  </a:lnTo>
                  <a:lnTo>
                    <a:pt x="234" y="31"/>
                  </a:lnTo>
                  <a:lnTo>
                    <a:pt x="234" y="31"/>
                  </a:lnTo>
                  <a:close/>
                  <a:moveTo>
                    <a:pt x="161" y="35"/>
                  </a:moveTo>
                  <a:lnTo>
                    <a:pt x="163" y="52"/>
                  </a:lnTo>
                  <a:lnTo>
                    <a:pt x="144" y="54"/>
                  </a:lnTo>
                  <a:lnTo>
                    <a:pt x="144" y="35"/>
                  </a:lnTo>
                  <a:lnTo>
                    <a:pt x="161" y="35"/>
                  </a:lnTo>
                  <a:lnTo>
                    <a:pt x="161" y="35"/>
                  </a:lnTo>
                  <a:close/>
                  <a:moveTo>
                    <a:pt x="90" y="38"/>
                  </a:moveTo>
                  <a:lnTo>
                    <a:pt x="90" y="56"/>
                  </a:lnTo>
                  <a:lnTo>
                    <a:pt x="73" y="56"/>
                  </a:lnTo>
                  <a:lnTo>
                    <a:pt x="71" y="40"/>
                  </a:lnTo>
                  <a:lnTo>
                    <a:pt x="90" y="3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4316" name="Freeform 328"/>
          <p:cNvSpPr/>
          <p:nvPr/>
        </p:nvSpPr>
        <p:spPr bwMode="auto">
          <a:xfrm>
            <a:off x="2419349" y="931863"/>
            <a:ext cx="7354888" cy="4997451"/>
          </a:xfrm>
          <a:custGeom>
            <a:avLst/>
            <a:gdLst/>
            <a:ahLst/>
            <a:cxnLst/>
            <a:rect l="l" t="t" r="r" b="b"/>
            <a:pathLst>
              <a:path w="7354888" h="4997451">
                <a:moveTo>
                  <a:pt x="3798888" y="4967288"/>
                </a:moveTo>
                <a:lnTo>
                  <a:pt x="3822701" y="4967288"/>
                </a:lnTo>
                <a:lnTo>
                  <a:pt x="3829051" y="4967288"/>
                </a:lnTo>
                <a:lnTo>
                  <a:pt x="3829051" y="4997451"/>
                </a:lnTo>
                <a:lnTo>
                  <a:pt x="3822701" y="4997451"/>
                </a:lnTo>
                <a:lnTo>
                  <a:pt x="3798888" y="4997451"/>
                </a:lnTo>
                <a:close/>
                <a:moveTo>
                  <a:pt x="3713163" y="4967288"/>
                </a:moveTo>
                <a:lnTo>
                  <a:pt x="3713163" y="4997451"/>
                </a:lnTo>
                <a:lnTo>
                  <a:pt x="3702050" y="4997451"/>
                </a:lnTo>
                <a:lnTo>
                  <a:pt x="3687763" y="4997451"/>
                </a:lnTo>
                <a:lnTo>
                  <a:pt x="3687763" y="4972051"/>
                </a:lnTo>
                <a:lnTo>
                  <a:pt x="3702050" y="4972051"/>
                </a:lnTo>
                <a:close/>
                <a:moveTo>
                  <a:pt x="3570288" y="4967288"/>
                </a:moveTo>
                <a:lnTo>
                  <a:pt x="3586163" y="4967288"/>
                </a:lnTo>
                <a:lnTo>
                  <a:pt x="3600451" y="4967288"/>
                </a:lnTo>
                <a:lnTo>
                  <a:pt x="3600451" y="4997451"/>
                </a:lnTo>
                <a:lnTo>
                  <a:pt x="3586163" y="4997451"/>
                </a:lnTo>
                <a:lnTo>
                  <a:pt x="3570288" y="4997451"/>
                </a:lnTo>
                <a:close/>
                <a:moveTo>
                  <a:pt x="3911600" y="4964113"/>
                </a:moveTo>
                <a:lnTo>
                  <a:pt x="3938588" y="4964113"/>
                </a:lnTo>
                <a:lnTo>
                  <a:pt x="3941763" y="4964113"/>
                </a:lnTo>
                <a:lnTo>
                  <a:pt x="3941763" y="4991101"/>
                </a:lnTo>
                <a:lnTo>
                  <a:pt x="3938588" y="4994276"/>
                </a:lnTo>
                <a:lnTo>
                  <a:pt x="3916363" y="4994276"/>
                </a:lnTo>
                <a:close/>
                <a:moveTo>
                  <a:pt x="3457575" y="4964113"/>
                </a:moveTo>
                <a:lnTo>
                  <a:pt x="3465512" y="4964113"/>
                </a:lnTo>
                <a:lnTo>
                  <a:pt x="3484563" y="4967288"/>
                </a:lnTo>
                <a:lnTo>
                  <a:pt x="3484563" y="4994276"/>
                </a:lnTo>
                <a:lnTo>
                  <a:pt x="3465512" y="4994276"/>
                </a:lnTo>
                <a:lnTo>
                  <a:pt x="3454400" y="4994276"/>
                </a:lnTo>
                <a:close/>
                <a:moveTo>
                  <a:pt x="3341688" y="4960938"/>
                </a:moveTo>
                <a:lnTo>
                  <a:pt x="3352800" y="4960938"/>
                </a:lnTo>
                <a:lnTo>
                  <a:pt x="3371851" y="4960938"/>
                </a:lnTo>
                <a:lnTo>
                  <a:pt x="3371851" y="4991101"/>
                </a:lnTo>
                <a:lnTo>
                  <a:pt x="3349625" y="4991101"/>
                </a:lnTo>
                <a:lnTo>
                  <a:pt x="3341688" y="4986339"/>
                </a:lnTo>
                <a:close/>
                <a:moveTo>
                  <a:pt x="4051301" y="4956175"/>
                </a:moveTo>
                <a:lnTo>
                  <a:pt x="4054476" y="4956175"/>
                </a:lnTo>
                <a:lnTo>
                  <a:pt x="4057651" y="4986338"/>
                </a:lnTo>
                <a:lnTo>
                  <a:pt x="4054476" y="4986338"/>
                </a:lnTo>
                <a:lnTo>
                  <a:pt x="4032251" y="4986338"/>
                </a:lnTo>
                <a:lnTo>
                  <a:pt x="4027488" y="4986338"/>
                </a:lnTo>
                <a:lnTo>
                  <a:pt x="4027488" y="4960938"/>
                </a:lnTo>
                <a:close/>
                <a:moveTo>
                  <a:pt x="3228975" y="4953000"/>
                </a:moveTo>
                <a:lnTo>
                  <a:pt x="3236912" y="4953000"/>
                </a:lnTo>
                <a:lnTo>
                  <a:pt x="3259138" y="4953000"/>
                </a:lnTo>
                <a:lnTo>
                  <a:pt x="3255963" y="4983163"/>
                </a:lnTo>
                <a:lnTo>
                  <a:pt x="3233737" y="4979988"/>
                </a:lnTo>
                <a:lnTo>
                  <a:pt x="3225800" y="4979988"/>
                </a:lnTo>
                <a:close/>
                <a:moveTo>
                  <a:pt x="4140200" y="4949825"/>
                </a:moveTo>
                <a:lnTo>
                  <a:pt x="4144963" y="4949825"/>
                </a:lnTo>
                <a:lnTo>
                  <a:pt x="4167188" y="4949825"/>
                </a:lnTo>
                <a:lnTo>
                  <a:pt x="4170363" y="4949825"/>
                </a:lnTo>
                <a:lnTo>
                  <a:pt x="4170363" y="4975226"/>
                </a:lnTo>
                <a:lnTo>
                  <a:pt x="4148138" y="4979988"/>
                </a:lnTo>
                <a:lnTo>
                  <a:pt x="4144963" y="4979988"/>
                </a:lnTo>
                <a:close/>
                <a:moveTo>
                  <a:pt x="3116263" y="4941888"/>
                </a:moveTo>
                <a:lnTo>
                  <a:pt x="3121025" y="4941888"/>
                </a:lnTo>
                <a:lnTo>
                  <a:pt x="3143251" y="4941888"/>
                </a:lnTo>
                <a:lnTo>
                  <a:pt x="3143251" y="4972051"/>
                </a:lnTo>
                <a:lnTo>
                  <a:pt x="3121025" y="4967289"/>
                </a:lnTo>
                <a:lnTo>
                  <a:pt x="3113088" y="4967289"/>
                </a:lnTo>
                <a:close/>
                <a:moveTo>
                  <a:pt x="4252913" y="4938713"/>
                </a:moveTo>
                <a:lnTo>
                  <a:pt x="4257676" y="4938713"/>
                </a:lnTo>
                <a:lnTo>
                  <a:pt x="4279901" y="4938713"/>
                </a:lnTo>
                <a:lnTo>
                  <a:pt x="4283076" y="4938713"/>
                </a:lnTo>
                <a:lnTo>
                  <a:pt x="4287838" y="4964113"/>
                </a:lnTo>
                <a:lnTo>
                  <a:pt x="4283076" y="4964113"/>
                </a:lnTo>
                <a:lnTo>
                  <a:pt x="4260851" y="4967288"/>
                </a:lnTo>
                <a:lnTo>
                  <a:pt x="4257676" y="4967288"/>
                </a:lnTo>
                <a:close/>
                <a:moveTo>
                  <a:pt x="3005137" y="4927600"/>
                </a:moveTo>
                <a:lnTo>
                  <a:pt x="3008312" y="4927600"/>
                </a:lnTo>
                <a:lnTo>
                  <a:pt x="3030538" y="4930775"/>
                </a:lnTo>
                <a:lnTo>
                  <a:pt x="3027363" y="4960938"/>
                </a:lnTo>
                <a:lnTo>
                  <a:pt x="3005137" y="4956176"/>
                </a:lnTo>
                <a:lnTo>
                  <a:pt x="3000375" y="4956176"/>
                </a:lnTo>
                <a:close/>
                <a:moveTo>
                  <a:pt x="4392613" y="4922838"/>
                </a:moveTo>
                <a:lnTo>
                  <a:pt x="4395788" y="4922838"/>
                </a:lnTo>
                <a:lnTo>
                  <a:pt x="4398963" y="4949826"/>
                </a:lnTo>
                <a:lnTo>
                  <a:pt x="4395788" y="4949826"/>
                </a:lnTo>
                <a:lnTo>
                  <a:pt x="4373563" y="4953001"/>
                </a:lnTo>
                <a:lnTo>
                  <a:pt x="4368800" y="4953001"/>
                </a:lnTo>
                <a:lnTo>
                  <a:pt x="4365625" y="4927601"/>
                </a:lnTo>
                <a:lnTo>
                  <a:pt x="4368800" y="4927601"/>
                </a:lnTo>
                <a:close/>
                <a:moveTo>
                  <a:pt x="2892425" y="4911725"/>
                </a:moveTo>
                <a:lnTo>
                  <a:pt x="2898775" y="4911725"/>
                </a:lnTo>
                <a:lnTo>
                  <a:pt x="2917826" y="4914900"/>
                </a:lnTo>
                <a:lnTo>
                  <a:pt x="2914651" y="4945063"/>
                </a:lnTo>
                <a:lnTo>
                  <a:pt x="2895600" y="4941888"/>
                </a:lnTo>
                <a:lnTo>
                  <a:pt x="2884488" y="4941888"/>
                </a:lnTo>
                <a:close/>
                <a:moveTo>
                  <a:pt x="4508501" y="4903788"/>
                </a:moveTo>
                <a:lnTo>
                  <a:pt x="4511676" y="4933951"/>
                </a:lnTo>
                <a:lnTo>
                  <a:pt x="4508501" y="4933951"/>
                </a:lnTo>
                <a:lnTo>
                  <a:pt x="4486276" y="4938713"/>
                </a:lnTo>
                <a:lnTo>
                  <a:pt x="4478338" y="4911726"/>
                </a:lnTo>
                <a:lnTo>
                  <a:pt x="4481513" y="4908551"/>
                </a:lnTo>
                <a:lnTo>
                  <a:pt x="4505326" y="4908551"/>
                </a:lnTo>
                <a:close/>
                <a:moveTo>
                  <a:pt x="2779712" y="4892675"/>
                </a:moveTo>
                <a:lnTo>
                  <a:pt x="2787650" y="4897438"/>
                </a:lnTo>
                <a:lnTo>
                  <a:pt x="2805113" y="4900613"/>
                </a:lnTo>
                <a:lnTo>
                  <a:pt x="2801938" y="4927600"/>
                </a:lnTo>
                <a:lnTo>
                  <a:pt x="2782887" y="4922838"/>
                </a:lnTo>
                <a:lnTo>
                  <a:pt x="2771775" y="4922838"/>
                </a:lnTo>
                <a:close/>
                <a:moveTo>
                  <a:pt x="4621213" y="4886325"/>
                </a:moveTo>
                <a:lnTo>
                  <a:pt x="4624388" y="4914901"/>
                </a:lnTo>
                <a:lnTo>
                  <a:pt x="4621213" y="4914901"/>
                </a:lnTo>
                <a:lnTo>
                  <a:pt x="4598988" y="4919663"/>
                </a:lnTo>
                <a:lnTo>
                  <a:pt x="4591050" y="4892675"/>
                </a:lnTo>
                <a:lnTo>
                  <a:pt x="4613276" y="4889500"/>
                </a:lnTo>
                <a:close/>
                <a:moveTo>
                  <a:pt x="2667000" y="4873625"/>
                </a:moveTo>
                <a:lnTo>
                  <a:pt x="2678113" y="4873625"/>
                </a:lnTo>
                <a:lnTo>
                  <a:pt x="2692401" y="4878388"/>
                </a:lnTo>
                <a:lnTo>
                  <a:pt x="2689226" y="4908550"/>
                </a:lnTo>
                <a:lnTo>
                  <a:pt x="2674938" y="4903788"/>
                </a:lnTo>
                <a:lnTo>
                  <a:pt x="2659063" y="4900613"/>
                </a:lnTo>
                <a:close/>
                <a:moveTo>
                  <a:pt x="4722814" y="4867275"/>
                </a:moveTo>
                <a:lnTo>
                  <a:pt x="4733926" y="4867275"/>
                </a:lnTo>
                <a:lnTo>
                  <a:pt x="4737101" y="4892676"/>
                </a:lnTo>
                <a:lnTo>
                  <a:pt x="4729164" y="4897438"/>
                </a:lnTo>
                <a:lnTo>
                  <a:pt x="4710113" y="4900613"/>
                </a:lnTo>
                <a:lnTo>
                  <a:pt x="4703763" y="4870450"/>
                </a:lnTo>
                <a:close/>
                <a:moveTo>
                  <a:pt x="2554287" y="4851400"/>
                </a:moveTo>
                <a:lnTo>
                  <a:pt x="2570162" y="4856163"/>
                </a:lnTo>
                <a:lnTo>
                  <a:pt x="2581275" y="4856163"/>
                </a:lnTo>
                <a:lnTo>
                  <a:pt x="2576512" y="4886325"/>
                </a:lnTo>
                <a:lnTo>
                  <a:pt x="2565400" y="4881563"/>
                </a:lnTo>
                <a:lnTo>
                  <a:pt x="2546350" y="4878388"/>
                </a:lnTo>
                <a:close/>
                <a:moveTo>
                  <a:pt x="4846638" y="4840288"/>
                </a:moveTo>
                <a:lnTo>
                  <a:pt x="4849813" y="4870451"/>
                </a:lnTo>
                <a:lnTo>
                  <a:pt x="4833938" y="4873626"/>
                </a:lnTo>
                <a:lnTo>
                  <a:pt x="4822825" y="4873626"/>
                </a:lnTo>
                <a:lnTo>
                  <a:pt x="4816475" y="4848226"/>
                </a:lnTo>
                <a:lnTo>
                  <a:pt x="4830763" y="4845051"/>
                </a:lnTo>
                <a:close/>
                <a:moveTo>
                  <a:pt x="2441575" y="4826000"/>
                </a:moveTo>
                <a:lnTo>
                  <a:pt x="2463800" y="4829175"/>
                </a:lnTo>
                <a:lnTo>
                  <a:pt x="2471738" y="4832350"/>
                </a:lnTo>
                <a:lnTo>
                  <a:pt x="2463800" y="4859338"/>
                </a:lnTo>
                <a:lnTo>
                  <a:pt x="2457450" y="4859338"/>
                </a:lnTo>
                <a:lnTo>
                  <a:pt x="2438400" y="4851401"/>
                </a:lnTo>
                <a:lnTo>
                  <a:pt x="2433638" y="4851401"/>
                </a:lnTo>
                <a:close/>
                <a:moveTo>
                  <a:pt x="4954588" y="4814888"/>
                </a:moveTo>
                <a:lnTo>
                  <a:pt x="4962525" y="4840289"/>
                </a:lnTo>
                <a:lnTo>
                  <a:pt x="4943475" y="4848226"/>
                </a:lnTo>
                <a:lnTo>
                  <a:pt x="4935538" y="4848226"/>
                </a:lnTo>
                <a:lnTo>
                  <a:pt x="4927600" y="4821238"/>
                </a:lnTo>
                <a:lnTo>
                  <a:pt x="4935538" y="4818063"/>
                </a:lnTo>
                <a:close/>
                <a:moveTo>
                  <a:pt x="2333625" y="4795838"/>
                </a:moveTo>
                <a:lnTo>
                  <a:pt x="2339975" y="4799013"/>
                </a:lnTo>
                <a:lnTo>
                  <a:pt x="2359026" y="4803776"/>
                </a:lnTo>
                <a:lnTo>
                  <a:pt x="2351088" y="4832351"/>
                </a:lnTo>
                <a:lnTo>
                  <a:pt x="2333625" y="4826001"/>
                </a:lnTo>
                <a:lnTo>
                  <a:pt x="2325688" y="4826001"/>
                </a:lnTo>
                <a:close/>
                <a:moveTo>
                  <a:pt x="5064126" y="4784725"/>
                </a:moveTo>
                <a:lnTo>
                  <a:pt x="5070476" y="4814888"/>
                </a:lnTo>
                <a:lnTo>
                  <a:pt x="5067301" y="4814888"/>
                </a:lnTo>
                <a:lnTo>
                  <a:pt x="5048251" y="4821238"/>
                </a:lnTo>
                <a:lnTo>
                  <a:pt x="5045076" y="4821238"/>
                </a:lnTo>
                <a:lnTo>
                  <a:pt x="5037138" y="4791075"/>
                </a:lnTo>
                <a:lnTo>
                  <a:pt x="5040313" y="4791075"/>
                </a:lnTo>
                <a:lnTo>
                  <a:pt x="5059364" y="4787900"/>
                </a:lnTo>
                <a:close/>
                <a:moveTo>
                  <a:pt x="2224087" y="4765675"/>
                </a:moveTo>
                <a:lnTo>
                  <a:pt x="2235200" y="4768850"/>
                </a:lnTo>
                <a:lnTo>
                  <a:pt x="2251075" y="4773613"/>
                </a:lnTo>
                <a:lnTo>
                  <a:pt x="2243137" y="4799013"/>
                </a:lnTo>
                <a:lnTo>
                  <a:pt x="2228850" y="4795838"/>
                </a:lnTo>
                <a:lnTo>
                  <a:pt x="2212975" y="4791076"/>
                </a:lnTo>
                <a:close/>
                <a:moveTo>
                  <a:pt x="5175251" y="4754563"/>
                </a:moveTo>
                <a:lnTo>
                  <a:pt x="5183188" y="4779964"/>
                </a:lnTo>
                <a:lnTo>
                  <a:pt x="5172076" y="4784726"/>
                </a:lnTo>
                <a:lnTo>
                  <a:pt x="5157788" y="4787901"/>
                </a:lnTo>
                <a:lnTo>
                  <a:pt x="5145088" y="4762501"/>
                </a:lnTo>
                <a:lnTo>
                  <a:pt x="5160963" y="4757738"/>
                </a:lnTo>
                <a:close/>
                <a:moveTo>
                  <a:pt x="2116137" y="4732338"/>
                </a:moveTo>
                <a:lnTo>
                  <a:pt x="2133600" y="4738688"/>
                </a:lnTo>
                <a:lnTo>
                  <a:pt x="2141538" y="4738688"/>
                </a:lnTo>
                <a:lnTo>
                  <a:pt x="2133600" y="4768851"/>
                </a:lnTo>
                <a:lnTo>
                  <a:pt x="2127250" y="4765676"/>
                </a:lnTo>
                <a:lnTo>
                  <a:pt x="2105025" y="4757739"/>
                </a:lnTo>
                <a:close/>
                <a:moveTo>
                  <a:pt x="5284788" y="4721225"/>
                </a:moveTo>
                <a:lnTo>
                  <a:pt x="5292725" y="4746626"/>
                </a:lnTo>
                <a:lnTo>
                  <a:pt x="5273675" y="4754563"/>
                </a:lnTo>
                <a:lnTo>
                  <a:pt x="5265738" y="4754563"/>
                </a:lnTo>
                <a:lnTo>
                  <a:pt x="5254625" y="4727575"/>
                </a:lnTo>
                <a:lnTo>
                  <a:pt x="5262563" y="4724400"/>
                </a:lnTo>
                <a:close/>
                <a:moveTo>
                  <a:pt x="2006600" y="4694238"/>
                </a:moveTo>
                <a:lnTo>
                  <a:pt x="2014538" y="4697413"/>
                </a:lnTo>
                <a:lnTo>
                  <a:pt x="2033588" y="4705351"/>
                </a:lnTo>
                <a:lnTo>
                  <a:pt x="2022475" y="4732338"/>
                </a:lnTo>
                <a:lnTo>
                  <a:pt x="2006600" y="4724401"/>
                </a:lnTo>
                <a:lnTo>
                  <a:pt x="1995488" y="4721226"/>
                </a:lnTo>
                <a:close/>
                <a:moveTo>
                  <a:pt x="5389564" y="4683125"/>
                </a:moveTo>
                <a:lnTo>
                  <a:pt x="5400676" y="4710113"/>
                </a:lnTo>
                <a:lnTo>
                  <a:pt x="5389564" y="4713288"/>
                </a:lnTo>
                <a:lnTo>
                  <a:pt x="5375276" y="4716463"/>
                </a:lnTo>
                <a:lnTo>
                  <a:pt x="5364163" y="4691063"/>
                </a:lnTo>
                <a:lnTo>
                  <a:pt x="5381626" y="4686300"/>
                </a:lnTo>
                <a:close/>
                <a:moveTo>
                  <a:pt x="1898650" y="4656138"/>
                </a:moveTo>
                <a:lnTo>
                  <a:pt x="1916113" y="4664076"/>
                </a:lnTo>
                <a:lnTo>
                  <a:pt x="1924051" y="4668838"/>
                </a:lnTo>
                <a:lnTo>
                  <a:pt x="1916113" y="4694238"/>
                </a:lnTo>
                <a:lnTo>
                  <a:pt x="1909763" y="4691063"/>
                </a:lnTo>
                <a:lnTo>
                  <a:pt x="1890713" y="4683126"/>
                </a:lnTo>
                <a:close/>
                <a:moveTo>
                  <a:pt x="5499101" y="4641850"/>
                </a:moveTo>
                <a:lnTo>
                  <a:pt x="5505451" y="4668838"/>
                </a:lnTo>
                <a:lnTo>
                  <a:pt x="5486401" y="4675188"/>
                </a:lnTo>
                <a:lnTo>
                  <a:pt x="5480051" y="4679950"/>
                </a:lnTo>
                <a:lnTo>
                  <a:pt x="5472113" y="4652963"/>
                </a:lnTo>
                <a:lnTo>
                  <a:pt x="5480051" y="4649788"/>
                </a:lnTo>
                <a:close/>
                <a:moveTo>
                  <a:pt x="1792287" y="4614863"/>
                </a:moveTo>
                <a:lnTo>
                  <a:pt x="1804987" y="4619626"/>
                </a:lnTo>
                <a:lnTo>
                  <a:pt x="1819275" y="4627563"/>
                </a:lnTo>
                <a:lnTo>
                  <a:pt x="1808162" y="4652963"/>
                </a:lnTo>
                <a:lnTo>
                  <a:pt x="1792287" y="4645026"/>
                </a:lnTo>
                <a:lnTo>
                  <a:pt x="1781175" y="4641851"/>
                </a:lnTo>
                <a:close/>
                <a:moveTo>
                  <a:pt x="5603876" y="4600575"/>
                </a:moveTo>
                <a:lnTo>
                  <a:pt x="5614988" y="4627563"/>
                </a:lnTo>
                <a:lnTo>
                  <a:pt x="5603876" y="4630738"/>
                </a:lnTo>
                <a:lnTo>
                  <a:pt x="5588001" y="4638675"/>
                </a:lnTo>
                <a:lnTo>
                  <a:pt x="5576888" y="4608513"/>
                </a:lnTo>
                <a:lnTo>
                  <a:pt x="5592763" y="4603750"/>
                </a:lnTo>
                <a:close/>
                <a:moveTo>
                  <a:pt x="1687512" y="4570413"/>
                </a:moveTo>
                <a:lnTo>
                  <a:pt x="1692275" y="4570413"/>
                </a:lnTo>
                <a:lnTo>
                  <a:pt x="1711325" y="4578351"/>
                </a:lnTo>
                <a:lnTo>
                  <a:pt x="1714500" y="4581526"/>
                </a:lnTo>
                <a:lnTo>
                  <a:pt x="1703387" y="4608513"/>
                </a:lnTo>
                <a:lnTo>
                  <a:pt x="1698625" y="4603751"/>
                </a:lnTo>
                <a:lnTo>
                  <a:pt x="1681162" y="4597401"/>
                </a:lnTo>
                <a:lnTo>
                  <a:pt x="1676400" y="4597401"/>
                </a:lnTo>
                <a:close/>
                <a:moveTo>
                  <a:pt x="5708651" y="4551363"/>
                </a:moveTo>
                <a:lnTo>
                  <a:pt x="5719763" y="4578351"/>
                </a:lnTo>
                <a:lnTo>
                  <a:pt x="5716588" y="4581526"/>
                </a:lnTo>
                <a:lnTo>
                  <a:pt x="5697538" y="4589463"/>
                </a:lnTo>
                <a:lnTo>
                  <a:pt x="5692776" y="4589463"/>
                </a:lnTo>
                <a:lnTo>
                  <a:pt x="5681663" y="4562476"/>
                </a:lnTo>
                <a:lnTo>
                  <a:pt x="5686426" y="4562476"/>
                </a:lnTo>
                <a:lnTo>
                  <a:pt x="5705476" y="4556126"/>
                </a:lnTo>
                <a:close/>
                <a:moveTo>
                  <a:pt x="1582737" y="4521200"/>
                </a:moveTo>
                <a:lnTo>
                  <a:pt x="1601787" y="4529138"/>
                </a:lnTo>
                <a:lnTo>
                  <a:pt x="1609725" y="4533900"/>
                </a:lnTo>
                <a:lnTo>
                  <a:pt x="1598612" y="4559300"/>
                </a:lnTo>
                <a:lnTo>
                  <a:pt x="1587500" y="4556125"/>
                </a:lnTo>
                <a:lnTo>
                  <a:pt x="1571625" y="4548188"/>
                </a:lnTo>
                <a:close/>
                <a:moveTo>
                  <a:pt x="5810251" y="4503738"/>
                </a:moveTo>
                <a:lnTo>
                  <a:pt x="5824538" y="4529138"/>
                </a:lnTo>
                <a:lnTo>
                  <a:pt x="5805488" y="4537076"/>
                </a:lnTo>
                <a:lnTo>
                  <a:pt x="5799138" y="4545013"/>
                </a:lnTo>
                <a:lnTo>
                  <a:pt x="5783263" y="4518026"/>
                </a:lnTo>
                <a:lnTo>
                  <a:pt x="5794376" y="4514851"/>
                </a:lnTo>
                <a:close/>
                <a:moveTo>
                  <a:pt x="1481137" y="4473575"/>
                </a:moveTo>
                <a:lnTo>
                  <a:pt x="1492250" y="4476750"/>
                </a:lnTo>
                <a:lnTo>
                  <a:pt x="1508125" y="4484688"/>
                </a:lnTo>
                <a:lnTo>
                  <a:pt x="1497012" y="4510088"/>
                </a:lnTo>
                <a:lnTo>
                  <a:pt x="1481137" y="4503738"/>
                </a:lnTo>
                <a:lnTo>
                  <a:pt x="1470025" y="4498976"/>
                </a:lnTo>
                <a:close/>
                <a:moveTo>
                  <a:pt x="5910263" y="4454525"/>
                </a:moveTo>
                <a:lnTo>
                  <a:pt x="5926138" y="4476750"/>
                </a:lnTo>
                <a:lnTo>
                  <a:pt x="5910263" y="4484688"/>
                </a:lnTo>
                <a:lnTo>
                  <a:pt x="5899151" y="4492625"/>
                </a:lnTo>
                <a:lnTo>
                  <a:pt x="5884863" y="4465638"/>
                </a:lnTo>
                <a:lnTo>
                  <a:pt x="5899151" y="4457700"/>
                </a:lnTo>
                <a:close/>
                <a:moveTo>
                  <a:pt x="1381126" y="4421188"/>
                </a:moveTo>
                <a:lnTo>
                  <a:pt x="1387476" y="4424363"/>
                </a:lnTo>
                <a:lnTo>
                  <a:pt x="1406526" y="4432301"/>
                </a:lnTo>
                <a:lnTo>
                  <a:pt x="1392238" y="4457701"/>
                </a:lnTo>
                <a:lnTo>
                  <a:pt x="1376363" y="4446589"/>
                </a:lnTo>
                <a:lnTo>
                  <a:pt x="1370013" y="4443414"/>
                </a:lnTo>
                <a:close/>
                <a:moveTo>
                  <a:pt x="6011863" y="4397375"/>
                </a:moveTo>
                <a:lnTo>
                  <a:pt x="6027738" y="4424363"/>
                </a:lnTo>
                <a:lnTo>
                  <a:pt x="6016626" y="4427538"/>
                </a:lnTo>
                <a:lnTo>
                  <a:pt x="6000750" y="4438650"/>
                </a:lnTo>
                <a:lnTo>
                  <a:pt x="5986463" y="4413250"/>
                </a:lnTo>
                <a:lnTo>
                  <a:pt x="6000750" y="4405313"/>
                </a:lnTo>
                <a:close/>
                <a:moveTo>
                  <a:pt x="1282701" y="4364038"/>
                </a:moveTo>
                <a:lnTo>
                  <a:pt x="1287463" y="4364038"/>
                </a:lnTo>
                <a:lnTo>
                  <a:pt x="1304926" y="4375151"/>
                </a:lnTo>
                <a:lnTo>
                  <a:pt x="1293813" y="4402138"/>
                </a:lnTo>
                <a:lnTo>
                  <a:pt x="1290638" y="4402138"/>
                </a:lnTo>
                <a:lnTo>
                  <a:pt x="1274763" y="4391026"/>
                </a:lnTo>
                <a:lnTo>
                  <a:pt x="1268413" y="4386263"/>
                </a:lnTo>
                <a:close/>
                <a:moveTo>
                  <a:pt x="6110288" y="4341813"/>
                </a:moveTo>
                <a:lnTo>
                  <a:pt x="6124575" y="4364038"/>
                </a:lnTo>
                <a:lnTo>
                  <a:pt x="6116638" y="4371976"/>
                </a:lnTo>
                <a:lnTo>
                  <a:pt x="6102350" y="4379913"/>
                </a:lnTo>
                <a:lnTo>
                  <a:pt x="6086475" y="4356101"/>
                </a:lnTo>
                <a:lnTo>
                  <a:pt x="6102350" y="4344988"/>
                </a:lnTo>
                <a:close/>
                <a:moveTo>
                  <a:pt x="1185863" y="4303713"/>
                </a:moveTo>
                <a:lnTo>
                  <a:pt x="1189038" y="4308476"/>
                </a:lnTo>
                <a:lnTo>
                  <a:pt x="1208088" y="4316413"/>
                </a:lnTo>
                <a:lnTo>
                  <a:pt x="1208088" y="4319588"/>
                </a:lnTo>
                <a:lnTo>
                  <a:pt x="1192213" y="4341813"/>
                </a:lnTo>
                <a:lnTo>
                  <a:pt x="1174750" y="4330701"/>
                </a:lnTo>
                <a:lnTo>
                  <a:pt x="1169988" y="4327526"/>
                </a:lnTo>
                <a:close/>
                <a:moveTo>
                  <a:pt x="6207125" y="4281488"/>
                </a:moveTo>
                <a:lnTo>
                  <a:pt x="6223000" y="4303713"/>
                </a:lnTo>
                <a:lnTo>
                  <a:pt x="6215062" y="4308476"/>
                </a:lnTo>
                <a:lnTo>
                  <a:pt x="6199188" y="4319588"/>
                </a:lnTo>
                <a:lnTo>
                  <a:pt x="6181725" y="4297363"/>
                </a:lnTo>
                <a:lnTo>
                  <a:pt x="6184900" y="4297363"/>
                </a:lnTo>
                <a:lnTo>
                  <a:pt x="6199188" y="4286251"/>
                </a:lnTo>
                <a:close/>
                <a:moveTo>
                  <a:pt x="1092200" y="4240213"/>
                </a:moveTo>
                <a:lnTo>
                  <a:pt x="1095375" y="4244976"/>
                </a:lnTo>
                <a:lnTo>
                  <a:pt x="1111250" y="4256088"/>
                </a:lnTo>
                <a:lnTo>
                  <a:pt x="1114425" y="4256088"/>
                </a:lnTo>
                <a:lnTo>
                  <a:pt x="1098550" y="4281488"/>
                </a:lnTo>
                <a:lnTo>
                  <a:pt x="1095375" y="4278313"/>
                </a:lnTo>
                <a:lnTo>
                  <a:pt x="1081087" y="4267201"/>
                </a:lnTo>
                <a:lnTo>
                  <a:pt x="1073150" y="4262438"/>
                </a:lnTo>
                <a:close/>
                <a:moveTo>
                  <a:pt x="6300788" y="4217988"/>
                </a:moveTo>
                <a:lnTo>
                  <a:pt x="6316663" y="4240213"/>
                </a:lnTo>
                <a:lnTo>
                  <a:pt x="6308726" y="4248151"/>
                </a:lnTo>
                <a:lnTo>
                  <a:pt x="6292850" y="4256088"/>
                </a:lnTo>
                <a:lnTo>
                  <a:pt x="6278563" y="4233863"/>
                </a:lnTo>
                <a:lnTo>
                  <a:pt x="6292850" y="4221163"/>
                </a:lnTo>
                <a:close/>
                <a:moveTo>
                  <a:pt x="998538" y="4173538"/>
                </a:moveTo>
                <a:lnTo>
                  <a:pt x="1004888" y="4179888"/>
                </a:lnTo>
                <a:lnTo>
                  <a:pt x="1020763" y="4192588"/>
                </a:lnTo>
                <a:lnTo>
                  <a:pt x="1004888" y="4214813"/>
                </a:lnTo>
                <a:lnTo>
                  <a:pt x="1001713" y="4214813"/>
                </a:lnTo>
                <a:lnTo>
                  <a:pt x="987425" y="4203701"/>
                </a:lnTo>
                <a:lnTo>
                  <a:pt x="979488" y="4198938"/>
                </a:lnTo>
                <a:close/>
                <a:moveTo>
                  <a:pt x="6394450" y="4151313"/>
                </a:moveTo>
                <a:lnTo>
                  <a:pt x="6410325" y="4173538"/>
                </a:lnTo>
                <a:lnTo>
                  <a:pt x="6399212" y="4179888"/>
                </a:lnTo>
                <a:lnTo>
                  <a:pt x="6386512" y="4192588"/>
                </a:lnTo>
                <a:lnTo>
                  <a:pt x="6369050" y="4168776"/>
                </a:lnTo>
                <a:lnTo>
                  <a:pt x="6383338" y="4157663"/>
                </a:lnTo>
                <a:close/>
                <a:moveTo>
                  <a:pt x="908050" y="4105275"/>
                </a:moveTo>
                <a:lnTo>
                  <a:pt x="915987" y="4113213"/>
                </a:lnTo>
                <a:lnTo>
                  <a:pt x="930275" y="4124325"/>
                </a:lnTo>
                <a:lnTo>
                  <a:pt x="911225" y="4146550"/>
                </a:lnTo>
                <a:lnTo>
                  <a:pt x="900112" y="4135438"/>
                </a:lnTo>
                <a:lnTo>
                  <a:pt x="889000" y="4127500"/>
                </a:lnTo>
                <a:close/>
                <a:moveTo>
                  <a:pt x="6481763" y="4079875"/>
                </a:moveTo>
                <a:lnTo>
                  <a:pt x="6499226" y="4102100"/>
                </a:lnTo>
                <a:lnTo>
                  <a:pt x="6488113" y="4113213"/>
                </a:lnTo>
                <a:lnTo>
                  <a:pt x="6477001" y="4121150"/>
                </a:lnTo>
                <a:lnTo>
                  <a:pt x="6462713" y="4098925"/>
                </a:lnTo>
                <a:lnTo>
                  <a:pt x="6469063" y="4090988"/>
                </a:lnTo>
                <a:close/>
                <a:moveTo>
                  <a:pt x="817563" y="4033838"/>
                </a:moveTo>
                <a:lnTo>
                  <a:pt x="833438" y="4044951"/>
                </a:lnTo>
                <a:lnTo>
                  <a:pt x="839788" y="4052888"/>
                </a:lnTo>
                <a:lnTo>
                  <a:pt x="822325" y="4075113"/>
                </a:lnTo>
                <a:lnTo>
                  <a:pt x="814388" y="4068763"/>
                </a:lnTo>
                <a:lnTo>
                  <a:pt x="798513" y="4057651"/>
                </a:lnTo>
                <a:close/>
                <a:moveTo>
                  <a:pt x="6570663" y="4008438"/>
                </a:moveTo>
                <a:lnTo>
                  <a:pt x="6589713" y="4027489"/>
                </a:lnTo>
                <a:lnTo>
                  <a:pt x="6586538" y="4030664"/>
                </a:lnTo>
                <a:lnTo>
                  <a:pt x="6570663" y="4044951"/>
                </a:lnTo>
                <a:lnTo>
                  <a:pt x="6567488" y="4044951"/>
                </a:lnTo>
                <a:lnTo>
                  <a:pt x="6548438" y="4027489"/>
                </a:lnTo>
                <a:lnTo>
                  <a:pt x="6551613" y="4022726"/>
                </a:lnTo>
                <a:lnTo>
                  <a:pt x="6567488" y="4011613"/>
                </a:lnTo>
                <a:close/>
                <a:moveTo>
                  <a:pt x="735013" y="3959225"/>
                </a:moveTo>
                <a:lnTo>
                  <a:pt x="739775" y="3963988"/>
                </a:lnTo>
                <a:lnTo>
                  <a:pt x="754063" y="3975100"/>
                </a:lnTo>
                <a:lnTo>
                  <a:pt x="754063" y="3978275"/>
                </a:lnTo>
                <a:lnTo>
                  <a:pt x="735013" y="4000500"/>
                </a:lnTo>
                <a:lnTo>
                  <a:pt x="731838" y="3997325"/>
                </a:lnTo>
                <a:lnTo>
                  <a:pt x="720725" y="3986213"/>
                </a:lnTo>
                <a:lnTo>
                  <a:pt x="712788" y="3978275"/>
                </a:lnTo>
                <a:close/>
                <a:moveTo>
                  <a:pt x="6653213" y="3929063"/>
                </a:moveTo>
                <a:lnTo>
                  <a:pt x="6672263" y="3951288"/>
                </a:lnTo>
                <a:lnTo>
                  <a:pt x="6664326" y="3959226"/>
                </a:lnTo>
                <a:lnTo>
                  <a:pt x="6653213" y="3970338"/>
                </a:lnTo>
                <a:lnTo>
                  <a:pt x="6630988" y="3948113"/>
                </a:lnTo>
                <a:lnTo>
                  <a:pt x="6645276" y="3940176"/>
                </a:lnTo>
                <a:close/>
                <a:moveTo>
                  <a:pt x="652463" y="3881438"/>
                </a:moveTo>
                <a:lnTo>
                  <a:pt x="663575" y="3892551"/>
                </a:lnTo>
                <a:lnTo>
                  <a:pt x="671513" y="3898901"/>
                </a:lnTo>
                <a:lnTo>
                  <a:pt x="652463" y="3922713"/>
                </a:lnTo>
                <a:lnTo>
                  <a:pt x="641350" y="3910013"/>
                </a:lnTo>
                <a:lnTo>
                  <a:pt x="630238" y="3898901"/>
                </a:lnTo>
                <a:close/>
                <a:moveTo>
                  <a:pt x="6735763" y="3851275"/>
                </a:moveTo>
                <a:lnTo>
                  <a:pt x="6754813" y="3868738"/>
                </a:lnTo>
                <a:lnTo>
                  <a:pt x="6751638" y="3873500"/>
                </a:lnTo>
                <a:lnTo>
                  <a:pt x="6740526" y="3884613"/>
                </a:lnTo>
                <a:lnTo>
                  <a:pt x="6735763" y="3892550"/>
                </a:lnTo>
                <a:lnTo>
                  <a:pt x="6713538" y="3868738"/>
                </a:lnTo>
                <a:lnTo>
                  <a:pt x="6716713" y="3865563"/>
                </a:lnTo>
                <a:lnTo>
                  <a:pt x="6732588" y="3854450"/>
                </a:lnTo>
                <a:close/>
                <a:moveTo>
                  <a:pt x="574675" y="3798888"/>
                </a:moveTo>
                <a:lnTo>
                  <a:pt x="577850" y="3802063"/>
                </a:lnTo>
                <a:lnTo>
                  <a:pt x="588963" y="3816351"/>
                </a:lnTo>
                <a:lnTo>
                  <a:pt x="592138" y="3816351"/>
                </a:lnTo>
                <a:lnTo>
                  <a:pt x="569913" y="3840163"/>
                </a:lnTo>
                <a:lnTo>
                  <a:pt x="569913" y="3835401"/>
                </a:lnTo>
                <a:lnTo>
                  <a:pt x="558800" y="3824288"/>
                </a:lnTo>
                <a:lnTo>
                  <a:pt x="552450" y="3816351"/>
                </a:lnTo>
                <a:close/>
                <a:moveTo>
                  <a:pt x="6810376" y="3768725"/>
                </a:moveTo>
                <a:lnTo>
                  <a:pt x="6834188" y="3786188"/>
                </a:lnTo>
                <a:lnTo>
                  <a:pt x="6823076" y="3798888"/>
                </a:lnTo>
                <a:lnTo>
                  <a:pt x="6815138" y="3805238"/>
                </a:lnTo>
                <a:lnTo>
                  <a:pt x="6792913" y="3786188"/>
                </a:lnTo>
                <a:lnTo>
                  <a:pt x="6804026" y="3779838"/>
                </a:lnTo>
                <a:close/>
                <a:moveTo>
                  <a:pt x="498475" y="3711575"/>
                </a:moveTo>
                <a:lnTo>
                  <a:pt x="511175" y="3727450"/>
                </a:lnTo>
                <a:lnTo>
                  <a:pt x="517525" y="3733800"/>
                </a:lnTo>
                <a:lnTo>
                  <a:pt x="495300" y="3752850"/>
                </a:lnTo>
                <a:lnTo>
                  <a:pt x="487362" y="3746500"/>
                </a:lnTo>
                <a:lnTo>
                  <a:pt x="476250" y="3730625"/>
                </a:lnTo>
                <a:close/>
                <a:moveTo>
                  <a:pt x="6886575" y="3681413"/>
                </a:moveTo>
                <a:lnTo>
                  <a:pt x="6908800" y="3697288"/>
                </a:lnTo>
                <a:lnTo>
                  <a:pt x="6900862" y="3705226"/>
                </a:lnTo>
                <a:lnTo>
                  <a:pt x="6889750" y="3719513"/>
                </a:lnTo>
                <a:lnTo>
                  <a:pt x="6867525" y="3700463"/>
                </a:lnTo>
                <a:lnTo>
                  <a:pt x="6878638" y="3689351"/>
                </a:lnTo>
                <a:close/>
                <a:moveTo>
                  <a:pt x="428625" y="3622675"/>
                </a:moveTo>
                <a:lnTo>
                  <a:pt x="439738" y="3633788"/>
                </a:lnTo>
                <a:lnTo>
                  <a:pt x="446088" y="3644900"/>
                </a:lnTo>
                <a:lnTo>
                  <a:pt x="423863" y="3663950"/>
                </a:lnTo>
                <a:lnTo>
                  <a:pt x="412750" y="3651250"/>
                </a:lnTo>
                <a:lnTo>
                  <a:pt x="404813" y="3640138"/>
                </a:lnTo>
                <a:close/>
                <a:moveTo>
                  <a:pt x="6953251" y="3592513"/>
                </a:moveTo>
                <a:lnTo>
                  <a:pt x="6975476" y="3606801"/>
                </a:lnTo>
                <a:lnTo>
                  <a:pt x="6972301" y="3609976"/>
                </a:lnTo>
                <a:lnTo>
                  <a:pt x="6964363" y="3625851"/>
                </a:lnTo>
                <a:lnTo>
                  <a:pt x="6961188" y="3629026"/>
                </a:lnTo>
                <a:lnTo>
                  <a:pt x="6938963" y="3614739"/>
                </a:lnTo>
                <a:lnTo>
                  <a:pt x="6942138" y="3606801"/>
                </a:lnTo>
                <a:lnTo>
                  <a:pt x="6950076" y="3595688"/>
                </a:lnTo>
                <a:close/>
                <a:moveTo>
                  <a:pt x="360363" y="3532188"/>
                </a:moveTo>
                <a:lnTo>
                  <a:pt x="368300" y="3540126"/>
                </a:lnTo>
                <a:lnTo>
                  <a:pt x="379413" y="3554413"/>
                </a:lnTo>
                <a:lnTo>
                  <a:pt x="352425" y="3570288"/>
                </a:lnTo>
                <a:lnTo>
                  <a:pt x="346075" y="3557588"/>
                </a:lnTo>
                <a:lnTo>
                  <a:pt x="338138" y="3546476"/>
                </a:lnTo>
                <a:close/>
                <a:moveTo>
                  <a:pt x="7016750" y="3498850"/>
                </a:moveTo>
                <a:lnTo>
                  <a:pt x="7043738" y="3513138"/>
                </a:lnTo>
                <a:lnTo>
                  <a:pt x="7040563" y="3516313"/>
                </a:lnTo>
                <a:lnTo>
                  <a:pt x="7032626" y="3529013"/>
                </a:lnTo>
                <a:lnTo>
                  <a:pt x="7024688" y="3535363"/>
                </a:lnTo>
                <a:lnTo>
                  <a:pt x="7002463" y="3521076"/>
                </a:lnTo>
                <a:lnTo>
                  <a:pt x="7005638" y="3513138"/>
                </a:lnTo>
                <a:close/>
                <a:moveTo>
                  <a:pt x="300038" y="3433763"/>
                </a:moveTo>
                <a:lnTo>
                  <a:pt x="307975" y="3446463"/>
                </a:lnTo>
                <a:lnTo>
                  <a:pt x="315913" y="3457576"/>
                </a:lnTo>
                <a:lnTo>
                  <a:pt x="315913" y="3460751"/>
                </a:lnTo>
                <a:lnTo>
                  <a:pt x="292100" y="3475038"/>
                </a:lnTo>
                <a:lnTo>
                  <a:pt x="288925" y="3471863"/>
                </a:lnTo>
                <a:lnTo>
                  <a:pt x="280988" y="3460751"/>
                </a:lnTo>
                <a:lnTo>
                  <a:pt x="277813" y="3449638"/>
                </a:lnTo>
                <a:close/>
                <a:moveTo>
                  <a:pt x="7077076" y="3400425"/>
                </a:moveTo>
                <a:lnTo>
                  <a:pt x="7104063" y="3416300"/>
                </a:lnTo>
                <a:lnTo>
                  <a:pt x="7099300" y="3416300"/>
                </a:lnTo>
                <a:lnTo>
                  <a:pt x="7092950" y="3430588"/>
                </a:lnTo>
                <a:lnTo>
                  <a:pt x="7088188" y="3438525"/>
                </a:lnTo>
                <a:lnTo>
                  <a:pt x="7062788" y="3422650"/>
                </a:lnTo>
                <a:lnTo>
                  <a:pt x="7069138" y="3416300"/>
                </a:lnTo>
                <a:lnTo>
                  <a:pt x="7077076" y="3405188"/>
                </a:lnTo>
                <a:close/>
                <a:moveTo>
                  <a:pt x="244475" y="3336925"/>
                </a:moveTo>
                <a:lnTo>
                  <a:pt x="252413" y="3348038"/>
                </a:lnTo>
                <a:lnTo>
                  <a:pt x="258763" y="3359150"/>
                </a:lnTo>
                <a:lnTo>
                  <a:pt x="258763" y="3363913"/>
                </a:lnTo>
                <a:lnTo>
                  <a:pt x="233363" y="3375025"/>
                </a:lnTo>
                <a:lnTo>
                  <a:pt x="225425" y="3359150"/>
                </a:lnTo>
                <a:lnTo>
                  <a:pt x="217488" y="3348038"/>
                </a:lnTo>
                <a:close/>
                <a:moveTo>
                  <a:pt x="7134225" y="3298825"/>
                </a:moveTo>
                <a:lnTo>
                  <a:pt x="7156450" y="3314700"/>
                </a:lnTo>
                <a:lnTo>
                  <a:pt x="7156450" y="3317875"/>
                </a:lnTo>
                <a:lnTo>
                  <a:pt x="7148512" y="3328988"/>
                </a:lnTo>
                <a:lnTo>
                  <a:pt x="7145338" y="3336925"/>
                </a:lnTo>
                <a:lnTo>
                  <a:pt x="7118350" y="3325813"/>
                </a:lnTo>
                <a:lnTo>
                  <a:pt x="7123112" y="3317875"/>
                </a:lnTo>
                <a:lnTo>
                  <a:pt x="7129462" y="3303588"/>
                </a:lnTo>
                <a:close/>
                <a:moveTo>
                  <a:pt x="195263" y="3235325"/>
                </a:moveTo>
                <a:lnTo>
                  <a:pt x="198438" y="3246438"/>
                </a:lnTo>
                <a:lnTo>
                  <a:pt x="206376" y="3262313"/>
                </a:lnTo>
                <a:lnTo>
                  <a:pt x="180976" y="3273425"/>
                </a:lnTo>
                <a:lnTo>
                  <a:pt x="173038" y="3257550"/>
                </a:lnTo>
                <a:lnTo>
                  <a:pt x="169863" y="3246438"/>
                </a:lnTo>
                <a:close/>
                <a:moveTo>
                  <a:pt x="7178676" y="3198813"/>
                </a:moveTo>
                <a:lnTo>
                  <a:pt x="7204076" y="3209926"/>
                </a:lnTo>
                <a:lnTo>
                  <a:pt x="7204076" y="3213101"/>
                </a:lnTo>
                <a:lnTo>
                  <a:pt x="7197726" y="3228976"/>
                </a:lnTo>
                <a:lnTo>
                  <a:pt x="7192963" y="3235326"/>
                </a:lnTo>
                <a:lnTo>
                  <a:pt x="7167563" y="3224213"/>
                </a:lnTo>
                <a:lnTo>
                  <a:pt x="7170738" y="3216276"/>
                </a:lnTo>
                <a:lnTo>
                  <a:pt x="7178676" y="3201988"/>
                </a:lnTo>
                <a:close/>
                <a:moveTo>
                  <a:pt x="150812" y="3130550"/>
                </a:moveTo>
                <a:lnTo>
                  <a:pt x="153987" y="3146425"/>
                </a:lnTo>
                <a:lnTo>
                  <a:pt x="161925" y="3157538"/>
                </a:lnTo>
                <a:lnTo>
                  <a:pt x="134937" y="3168650"/>
                </a:lnTo>
                <a:lnTo>
                  <a:pt x="128587" y="3152775"/>
                </a:lnTo>
                <a:lnTo>
                  <a:pt x="123825" y="3141663"/>
                </a:lnTo>
                <a:close/>
                <a:moveTo>
                  <a:pt x="7223126" y="3094038"/>
                </a:moveTo>
                <a:lnTo>
                  <a:pt x="7250113" y="3100388"/>
                </a:lnTo>
                <a:lnTo>
                  <a:pt x="7245350" y="3108326"/>
                </a:lnTo>
                <a:lnTo>
                  <a:pt x="7242176" y="3122614"/>
                </a:lnTo>
                <a:lnTo>
                  <a:pt x="7239000" y="3130551"/>
                </a:lnTo>
                <a:lnTo>
                  <a:pt x="7212013" y="3119438"/>
                </a:lnTo>
                <a:lnTo>
                  <a:pt x="7212013" y="3116263"/>
                </a:lnTo>
                <a:lnTo>
                  <a:pt x="7219950" y="3100388"/>
                </a:lnTo>
                <a:close/>
                <a:moveTo>
                  <a:pt x="112712" y="3022600"/>
                </a:moveTo>
                <a:lnTo>
                  <a:pt x="112712" y="3025775"/>
                </a:lnTo>
                <a:lnTo>
                  <a:pt x="115887" y="3040063"/>
                </a:lnTo>
                <a:lnTo>
                  <a:pt x="120650" y="3052763"/>
                </a:lnTo>
                <a:lnTo>
                  <a:pt x="93662" y="3059113"/>
                </a:lnTo>
                <a:lnTo>
                  <a:pt x="90487" y="3048000"/>
                </a:lnTo>
                <a:lnTo>
                  <a:pt x="87312" y="3033713"/>
                </a:lnTo>
                <a:lnTo>
                  <a:pt x="82550" y="3033713"/>
                </a:lnTo>
                <a:close/>
                <a:moveTo>
                  <a:pt x="7258051" y="2984500"/>
                </a:moveTo>
                <a:lnTo>
                  <a:pt x="7283451" y="2992438"/>
                </a:lnTo>
                <a:lnTo>
                  <a:pt x="7283451" y="3003550"/>
                </a:lnTo>
                <a:lnTo>
                  <a:pt x="7275513" y="3017838"/>
                </a:lnTo>
                <a:lnTo>
                  <a:pt x="7275513" y="3022600"/>
                </a:lnTo>
                <a:lnTo>
                  <a:pt x="7250113" y="3011488"/>
                </a:lnTo>
                <a:lnTo>
                  <a:pt x="7253288" y="2995613"/>
                </a:lnTo>
                <a:close/>
                <a:moveTo>
                  <a:pt x="79375" y="2913063"/>
                </a:moveTo>
                <a:lnTo>
                  <a:pt x="82550" y="2921001"/>
                </a:lnTo>
                <a:lnTo>
                  <a:pt x="87313" y="2935288"/>
                </a:lnTo>
                <a:lnTo>
                  <a:pt x="87313" y="2943226"/>
                </a:lnTo>
                <a:lnTo>
                  <a:pt x="60325" y="2951163"/>
                </a:lnTo>
                <a:lnTo>
                  <a:pt x="57150" y="2943226"/>
                </a:lnTo>
                <a:lnTo>
                  <a:pt x="52388" y="2928938"/>
                </a:lnTo>
                <a:lnTo>
                  <a:pt x="52388" y="2921001"/>
                </a:lnTo>
                <a:close/>
                <a:moveTo>
                  <a:pt x="7286625" y="2876550"/>
                </a:moveTo>
                <a:lnTo>
                  <a:pt x="7313613" y="2879725"/>
                </a:lnTo>
                <a:lnTo>
                  <a:pt x="7310438" y="2894013"/>
                </a:lnTo>
                <a:lnTo>
                  <a:pt x="7305675" y="2909888"/>
                </a:lnTo>
                <a:lnTo>
                  <a:pt x="7280275" y="2901951"/>
                </a:lnTo>
                <a:lnTo>
                  <a:pt x="7283450" y="2890838"/>
                </a:lnTo>
                <a:close/>
                <a:moveTo>
                  <a:pt x="57151" y="2805113"/>
                </a:moveTo>
                <a:lnTo>
                  <a:pt x="60326" y="2811463"/>
                </a:lnTo>
                <a:lnTo>
                  <a:pt x="60326" y="2827338"/>
                </a:lnTo>
                <a:lnTo>
                  <a:pt x="60326" y="2830514"/>
                </a:lnTo>
                <a:lnTo>
                  <a:pt x="33338" y="2838451"/>
                </a:lnTo>
                <a:lnTo>
                  <a:pt x="33338" y="2835276"/>
                </a:lnTo>
                <a:lnTo>
                  <a:pt x="30163" y="2819401"/>
                </a:lnTo>
                <a:lnTo>
                  <a:pt x="30163" y="2808288"/>
                </a:lnTo>
                <a:close/>
                <a:moveTo>
                  <a:pt x="7305675" y="2763838"/>
                </a:moveTo>
                <a:lnTo>
                  <a:pt x="7335838" y="2767013"/>
                </a:lnTo>
                <a:lnTo>
                  <a:pt x="7335838" y="2770188"/>
                </a:lnTo>
                <a:lnTo>
                  <a:pt x="7332663" y="2786063"/>
                </a:lnTo>
                <a:lnTo>
                  <a:pt x="7332663" y="2797176"/>
                </a:lnTo>
                <a:lnTo>
                  <a:pt x="7302500" y="2794001"/>
                </a:lnTo>
                <a:lnTo>
                  <a:pt x="7305675" y="2782888"/>
                </a:lnTo>
                <a:lnTo>
                  <a:pt x="7305675" y="2767013"/>
                </a:lnTo>
                <a:close/>
                <a:moveTo>
                  <a:pt x="41275" y="2692400"/>
                </a:moveTo>
                <a:lnTo>
                  <a:pt x="41275" y="2703513"/>
                </a:lnTo>
                <a:lnTo>
                  <a:pt x="46038" y="2717801"/>
                </a:lnTo>
                <a:lnTo>
                  <a:pt x="15875" y="2722563"/>
                </a:lnTo>
                <a:lnTo>
                  <a:pt x="11113" y="2706688"/>
                </a:lnTo>
                <a:lnTo>
                  <a:pt x="11113" y="2695575"/>
                </a:lnTo>
                <a:close/>
                <a:moveTo>
                  <a:pt x="7321550" y="2651125"/>
                </a:moveTo>
                <a:lnTo>
                  <a:pt x="7351713" y="2654300"/>
                </a:lnTo>
                <a:lnTo>
                  <a:pt x="7351713" y="2659063"/>
                </a:lnTo>
                <a:lnTo>
                  <a:pt x="7346950" y="2676526"/>
                </a:lnTo>
                <a:lnTo>
                  <a:pt x="7346950" y="2681288"/>
                </a:lnTo>
                <a:lnTo>
                  <a:pt x="7316788" y="2681288"/>
                </a:lnTo>
                <a:lnTo>
                  <a:pt x="7321550" y="2673350"/>
                </a:lnTo>
                <a:lnTo>
                  <a:pt x="7321550" y="2659063"/>
                </a:lnTo>
                <a:close/>
                <a:moveTo>
                  <a:pt x="4763" y="2579688"/>
                </a:moveTo>
                <a:lnTo>
                  <a:pt x="30163" y="2579688"/>
                </a:lnTo>
                <a:lnTo>
                  <a:pt x="30163" y="2593976"/>
                </a:lnTo>
                <a:lnTo>
                  <a:pt x="33338" y="2606676"/>
                </a:lnTo>
                <a:lnTo>
                  <a:pt x="4763" y="2609851"/>
                </a:lnTo>
                <a:lnTo>
                  <a:pt x="4763" y="2593976"/>
                </a:lnTo>
                <a:close/>
                <a:moveTo>
                  <a:pt x="7327900" y="2538413"/>
                </a:moveTo>
                <a:lnTo>
                  <a:pt x="7354888" y="2538413"/>
                </a:lnTo>
                <a:lnTo>
                  <a:pt x="7354888" y="2546351"/>
                </a:lnTo>
                <a:lnTo>
                  <a:pt x="7354888" y="2565401"/>
                </a:lnTo>
                <a:lnTo>
                  <a:pt x="7354888" y="2568576"/>
                </a:lnTo>
                <a:lnTo>
                  <a:pt x="7327900" y="2568576"/>
                </a:lnTo>
                <a:lnTo>
                  <a:pt x="7327900" y="2560638"/>
                </a:lnTo>
                <a:lnTo>
                  <a:pt x="7327900" y="2546351"/>
                </a:lnTo>
                <a:close/>
                <a:moveTo>
                  <a:pt x="0" y="2463800"/>
                </a:moveTo>
                <a:lnTo>
                  <a:pt x="30163" y="2466975"/>
                </a:lnTo>
                <a:lnTo>
                  <a:pt x="30163" y="2482850"/>
                </a:lnTo>
                <a:lnTo>
                  <a:pt x="30163" y="2493963"/>
                </a:lnTo>
                <a:lnTo>
                  <a:pt x="0" y="2493963"/>
                </a:lnTo>
                <a:lnTo>
                  <a:pt x="0" y="2482850"/>
                </a:lnTo>
                <a:lnTo>
                  <a:pt x="0" y="2466975"/>
                </a:lnTo>
                <a:close/>
                <a:moveTo>
                  <a:pt x="7354888" y="2422525"/>
                </a:moveTo>
                <a:lnTo>
                  <a:pt x="7354888" y="2433638"/>
                </a:lnTo>
                <a:lnTo>
                  <a:pt x="7354888" y="2447926"/>
                </a:lnTo>
                <a:lnTo>
                  <a:pt x="7354888" y="2452688"/>
                </a:lnTo>
                <a:lnTo>
                  <a:pt x="7327900" y="2452688"/>
                </a:lnTo>
                <a:lnTo>
                  <a:pt x="7327900" y="2433638"/>
                </a:lnTo>
                <a:lnTo>
                  <a:pt x="7327900" y="2425700"/>
                </a:lnTo>
                <a:close/>
                <a:moveTo>
                  <a:pt x="7938" y="2351088"/>
                </a:moveTo>
                <a:lnTo>
                  <a:pt x="33338" y="2351088"/>
                </a:lnTo>
                <a:lnTo>
                  <a:pt x="33338" y="2354263"/>
                </a:lnTo>
                <a:lnTo>
                  <a:pt x="33338" y="2373313"/>
                </a:lnTo>
                <a:lnTo>
                  <a:pt x="33338" y="2381251"/>
                </a:lnTo>
                <a:lnTo>
                  <a:pt x="4763" y="2376489"/>
                </a:lnTo>
                <a:lnTo>
                  <a:pt x="4763" y="2370138"/>
                </a:lnTo>
                <a:lnTo>
                  <a:pt x="7938" y="2354263"/>
                </a:lnTo>
                <a:close/>
                <a:moveTo>
                  <a:pt x="7346950" y="2309813"/>
                </a:moveTo>
                <a:lnTo>
                  <a:pt x="7346950" y="2320926"/>
                </a:lnTo>
                <a:lnTo>
                  <a:pt x="7351713" y="2335214"/>
                </a:lnTo>
                <a:lnTo>
                  <a:pt x="7321550" y="2339976"/>
                </a:lnTo>
                <a:lnTo>
                  <a:pt x="7321550" y="2324101"/>
                </a:lnTo>
                <a:lnTo>
                  <a:pt x="7316788" y="2312988"/>
                </a:lnTo>
                <a:close/>
                <a:moveTo>
                  <a:pt x="19050" y="2235200"/>
                </a:moveTo>
                <a:lnTo>
                  <a:pt x="49213" y="2238375"/>
                </a:lnTo>
                <a:lnTo>
                  <a:pt x="49213" y="2246313"/>
                </a:lnTo>
                <a:lnTo>
                  <a:pt x="46038" y="2260601"/>
                </a:lnTo>
                <a:lnTo>
                  <a:pt x="46038" y="2268538"/>
                </a:lnTo>
                <a:lnTo>
                  <a:pt x="15875" y="2265363"/>
                </a:lnTo>
                <a:lnTo>
                  <a:pt x="19050" y="2257425"/>
                </a:lnTo>
                <a:lnTo>
                  <a:pt x="19050" y="2241550"/>
                </a:lnTo>
                <a:close/>
                <a:moveTo>
                  <a:pt x="7327900" y="2193925"/>
                </a:moveTo>
                <a:lnTo>
                  <a:pt x="7327900" y="2197100"/>
                </a:lnTo>
                <a:lnTo>
                  <a:pt x="7332663" y="2212975"/>
                </a:lnTo>
                <a:lnTo>
                  <a:pt x="7335838" y="2224088"/>
                </a:lnTo>
                <a:lnTo>
                  <a:pt x="7305675" y="2227263"/>
                </a:lnTo>
                <a:lnTo>
                  <a:pt x="7305675" y="2216150"/>
                </a:lnTo>
                <a:lnTo>
                  <a:pt x="7302500" y="2200275"/>
                </a:lnTo>
                <a:close/>
                <a:moveTo>
                  <a:pt x="41275" y="2122488"/>
                </a:moveTo>
                <a:lnTo>
                  <a:pt x="71438" y="2130426"/>
                </a:lnTo>
                <a:lnTo>
                  <a:pt x="68263" y="2136776"/>
                </a:lnTo>
                <a:lnTo>
                  <a:pt x="63500" y="2155826"/>
                </a:lnTo>
                <a:lnTo>
                  <a:pt x="38100" y="2152651"/>
                </a:lnTo>
                <a:lnTo>
                  <a:pt x="38100" y="2147889"/>
                </a:lnTo>
                <a:lnTo>
                  <a:pt x="41275" y="2133601"/>
                </a:lnTo>
                <a:close/>
                <a:moveTo>
                  <a:pt x="7305675" y="2081213"/>
                </a:moveTo>
                <a:lnTo>
                  <a:pt x="7305675" y="2084388"/>
                </a:lnTo>
                <a:lnTo>
                  <a:pt x="7310438" y="2103438"/>
                </a:lnTo>
                <a:lnTo>
                  <a:pt x="7313613" y="2111376"/>
                </a:lnTo>
                <a:lnTo>
                  <a:pt x="7283450" y="2114551"/>
                </a:lnTo>
                <a:lnTo>
                  <a:pt x="7283450" y="2106614"/>
                </a:lnTo>
                <a:lnTo>
                  <a:pt x="7280275" y="2092326"/>
                </a:lnTo>
                <a:lnTo>
                  <a:pt x="7280275" y="2089151"/>
                </a:lnTo>
                <a:close/>
                <a:moveTo>
                  <a:pt x="71437" y="2009775"/>
                </a:moveTo>
                <a:lnTo>
                  <a:pt x="98425" y="2017713"/>
                </a:lnTo>
                <a:lnTo>
                  <a:pt x="93662" y="2032000"/>
                </a:lnTo>
                <a:lnTo>
                  <a:pt x="90487" y="2047875"/>
                </a:lnTo>
                <a:lnTo>
                  <a:pt x="63500" y="2039938"/>
                </a:lnTo>
                <a:lnTo>
                  <a:pt x="68262" y="2024063"/>
                </a:lnTo>
                <a:close/>
                <a:moveTo>
                  <a:pt x="7275512" y="1971675"/>
                </a:moveTo>
                <a:lnTo>
                  <a:pt x="7275512" y="1979613"/>
                </a:lnTo>
                <a:lnTo>
                  <a:pt x="7283450" y="1995488"/>
                </a:lnTo>
                <a:lnTo>
                  <a:pt x="7283450" y="1998663"/>
                </a:lnTo>
                <a:lnTo>
                  <a:pt x="7258050" y="2006600"/>
                </a:lnTo>
                <a:lnTo>
                  <a:pt x="7253288" y="2001838"/>
                </a:lnTo>
                <a:lnTo>
                  <a:pt x="7250112" y="1987550"/>
                </a:lnTo>
                <a:lnTo>
                  <a:pt x="7245350" y="1979613"/>
                </a:lnTo>
                <a:close/>
                <a:moveTo>
                  <a:pt x="104775" y="1900238"/>
                </a:moveTo>
                <a:lnTo>
                  <a:pt x="131763" y="1912938"/>
                </a:lnTo>
                <a:lnTo>
                  <a:pt x="128588" y="1927226"/>
                </a:lnTo>
                <a:lnTo>
                  <a:pt x="123825" y="1938338"/>
                </a:lnTo>
                <a:lnTo>
                  <a:pt x="98425" y="1927226"/>
                </a:lnTo>
                <a:lnTo>
                  <a:pt x="101600" y="1916113"/>
                </a:lnTo>
                <a:close/>
                <a:moveTo>
                  <a:pt x="7239001" y="1863725"/>
                </a:moveTo>
                <a:lnTo>
                  <a:pt x="7242176" y="1871663"/>
                </a:lnTo>
                <a:lnTo>
                  <a:pt x="7245351" y="1885950"/>
                </a:lnTo>
                <a:lnTo>
                  <a:pt x="7245351" y="1889125"/>
                </a:lnTo>
                <a:lnTo>
                  <a:pt x="7219951" y="1900238"/>
                </a:lnTo>
                <a:lnTo>
                  <a:pt x="7219951" y="1897063"/>
                </a:lnTo>
                <a:lnTo>
                  <a:pt x="7212013" y="1882775"/>
                </a:lnTo>
                <a:lnTo>
                  <a:pt x="7208838" y="1874838"/>
                </a:lnTo>
                <a:close/>
                <a:moveTo>
                  <a:pt x="150813" y="1795463"/>
                </a:moveTo>
                <a:lnTo>
                  <a:pt x="176213" y="1806576"/>
                </a:lnTo>
                <a:lnTo>
                  <a:pt x="173038" y="1811338"/>
                </a:lnTo>
                <a:lnTo>
                  <a:pt x="165100" y="1822451"/>
                </a:lnTo>
                <a:lnTo>
                  <a:pt x="165100" y="1833563"/>
                </a:lnTo>
                <a:lnTo>
                  <a:pt x="139700" y="1822451"/>
                </a:lnTo>
                <a:lnTo>
                  <a:pt x="139700" y="1814513"/>
                </a:lnTo>
                <a:lnTo>
                  <a:pt x="146050" y="1800226"/>
                </a:lnTo>
                <a:close/>
                <a:moveTo>
                  <a:pt x="7192963" y="1754188"/>
                </a:moveTo>
                <a:lnTo>
                  <a:pt x="7197726" y="1770063"/>
                </a:lnTo>
                <a:lnTo>
                  <a:pt x="7204076" y="1781176"/>
                </a:lnTo>
                <a:lnTo>
                  <a:pt x="7178676" y="1795463"/>
                </a:lnTo>
                <a:lnTo>
                  <a:pt x="7170738" y="1781176"/>
                </a:lnTo>
                <a:lnTo>
                  <a:pt x="7167563" y="1770063"/>
                </a:lnTo>
                <a:close/>
                <a:moveTo>
                  <a:pt x="198437" y="1690688"/>
                </a:moveTo>
                <a:lnTo>
                  <a:pt x="222250" y="1701801"/>
                </a:lnTo>
                <a:lnTo>
                  <a:pt x="222250" y="1709738"/>
                </a:lnTo>
                <a:lnTo>
                  <a:pt x="214312" y="1720851"/>
                </a:lnTo>
                <a:lnTo>
                  <a:pt x="211137" y="1728788"/>
                </a:lnTo>
                <a:lnTo>
                  <a:pt x="184150" y="1717676"/>
                </a:lnTo>
                <a:lnTo>
                  <a:pt x="187325" y="1709738"/>
                </a:lnTo>
                <a:lnTo>
                  <a:pt x="195262" y="1695451"/>
                </a:lnTo>
                <a:close/>
                <a:moveTo>
                  <a:pt x="7140575" y="1654175"/>
                </a:moveTo>
                <a:lnTo>
                  <a:pt x="7148512" y="1665288"/>
                </a:lnTo>
                <a:lnTo>
                  <a:pt x="7156450" y="1679575"/>
                </a:lnTo>
                <a:lnTo>
                  <a:pt x="7129462" y="1690688"/>
                </a:lnTo>
                <a:lnTo>
                  <a:pt x="7123112" y="1679575"/>
                </a:lnTo>
                <a:lnTo>
                  <a:pt x="7115175" y="1665288"/>
                </a:lnTo>
                <a:close/>
                <a:moveTo>
                  <a:pt x="252413" y="1589088"/>
                </a:moveTo>
                <a:lnTo>
                  <a:pt x="277813" y="1604963"/>
                </a:lnTo>
                <a:lnTo>
                  <a:pt x="274638" y="1608138"/>
                </a:lnTo>
                <a:lnTo>
                  <a:pt x="266700" y="1624013"/>
                </a:lnTo>
                <a:lnTo>
                  <a:pt x="263525" y="1627188"/>
                </a:lnTo>
                <a:lnTo>
                  <a:pt x="236538" y="1612901"/>
                </a:lnTo>
                <a:lnTo>
                  <a:pt x="239713" y="1608138"/>
                </a:lnTo>
                <a:lnTo>
                  <a:pt x="247650" y="1593851"/>
                </a:lnTo>
                <a:close/>
                <a:moveTo>
                  <a:pt x="7085012" y="1552575"/>
                </a:moveTo>
                <a:lnTo>
                  <a:pt x="7092950" y="1566863"/>
                </a:lnTo>
                <a:lnTo>
                  <a:pt x="7099300" y="1577975"/>
                </a:lnTo>
                <a:lnTo>
                  <a:pt x="7073900" y="1593850"/>
                </a:lnTo>
                <a:lnTo>
                  <a:pt x="7069138" y="1582738"/>
                </a:lnTo>
                <a:lnTo>
                  <a:pt x="7058025" y="1566863"/>
                </a:lnTo>
                <a:close/>
                <a:moveTo>
                  <a:pt x="311151" y="1492250"/>
                </a:moveTo>
                <a:lnTo>
                  <a:pt x="333376" y="1506538"/>
                </a:lnTo>
                <a:lnTo>
                  <a:pt x="333376" y="1511300"/>
                </a:lnTo>
                <a:lnTo>
                  <a:pt x="322263" y="1525588"/>
                </a:lnTo>
                <a:lnTo>
                  <a:pt x="319088" y="1530350"/>
                </a:lnTo>
                <a:lnTo>
                  <a:pt x="296863" y="1514475"/>
                </a:lnTo>
                <a:lnTo>
                  <a:pt x="300038" y="1511300"/>
                </a:lnTo>
                <a:lnTo>
                  <a:pt x="307976" y="1495425"/>
                </a:lnTo>
                <a:close/>
                <a:moveTo>
                  <a:pt x="7024688" y="1454150"/>
                </a:moveTo>
                <a:lnTo>
                  <a:pt x="7032626" y="1470025"/>
                </a:lnTo>
                <a:lnTo>
                  <a:pt x="7040563" y="1481138"/>
                </a:lnTo>
                <a:lnTo>
                  <a:pt x="7013576" y="1495425"/>
                </a:lnTo>
                <a:lnTo>
                  <a:pt x="7005638" y="1484313"/>
                </a:lnTo>
                <a:lnTo>
                  <a:pt x="6999288" y="1473200"/>
                </a:lnTo>
                <a:close/>
                <a:moveTo>
                  <a:pt x="374650" y="1395413"/>
                </a:moveTo>
                <a:lnTo>
                  <a:pt x="401638" y="1412876"/>
                </a:lnTo>
                <a:lnTo>
                  <a:pt x="398463" y="1417638"/>
                </a:lnTo>
                <a:lnTo>
                  <a:pt x="387350" y="1428751"/>
                </a:lnTo>
                <a:lnTo>
                  <a:pt x="382588" y="1436688"/>
                </a:lnTo>
                <a:lnTo>
                  <a:pt x="360363" y="1420813"/>
                </a:lnTo>
                <a:lnTo>
                  <a:pt x="363538" y="1412876"/>
                </a:lnTo>
                <a:lnTo>
                  <a:pt x="374650" y="1398588"/>
                </a:lnTo>
                <a:close/>
                <a:moveTo>
                  <a:pt x="6958012" y="1360488"/>
                </a:moveTo>
                <a:lnTo>
                  <a:pt x="6964362" y="1371601"/>
                </a:lnTo>
                <a:lnTo>
                  <a:pt x="6972300" y="1387476"/>
                </a:lnTo>
                <a:lnTo>
                  <a:pt x="6950075" y="1401763"/>
                </a:lnTo>
                <a:lnTo>
                  <a:pt x="6942138" y="1390651"/>
                </a:lnTo>
                <a:lnTo>
                  <a:pt x="6934200" y="1379538"/>
                </a:lnTo>
                <a:close/>
                <a:moveTo>
                  <a:pt x="446087" y="1304925"/>
                </a:moveTo>
                <a:lnTo>
                  <a:pt x="469900" y="1323975"/>
                </a:lnTo>
                <a:lnTo>
                  <a:pt x="457200" y="1335088"/>
                </a:lnTo>
                <a:lnTo>
                  <a:pt x="450850" y="1346200"/>
                </a:lnTo>
                <a:lnTo>
                  <a:pt x="428625" y="1327150"/>
                </a:lnTo>
                <a:lnTo>
                  <a:pt x="434975" y="1319213"/>
                </a:lnTo>
                <a:close/>
                <a:moveTo>
                  <a:pt x="6886576" y="1271588"/>
                </a:moveTo>
                <a:lnTo>
                  <a:pt x="6889750" y="1277938"/>
                </a:lnTo>
                <a:lnTo>
                  <a:pt x="6900863" y="1293813"/>
                </a:lnTo>
                <a:lnTo>
                  <a:pt x="6904038" y="1293813"/>
                </a:lnTo>
                <a:lnTo>
                  <a:pt x="6881813" y="1312863"/>
                </a:lnTo>
                <a:lnTo>
                  <a:pt x="6878638" y="1308101"/>
                </a:lnTo>
                <a:lnTo>
                  <a:pt x="6867526" y="1296988"/>
                </a:lnTo>
                <a:lnTo>
                  <a:pt x="6862763" y="1289051"/>
                </a:lnTo>
                <a:close/>
                <a:moveTo>
                  <a:pt x="522288" y="1214438"/>
                </a:moveTo>
                <a:lnTo>
                  <a:pt x="539751" y="1233488"/>
                </a:lnTo>
                <a:lnTo>
                  <a:pt x="533401" y="1244601"/>
                </a:lnTo>
                <a:lnTo>
                  <a:pt x="522288" y="1255713"/>
                </a:lnTo>
                <a:lnTo>
                  <a:pt x="503238" y="1236663"/>
                </a:lnTo>
                <a:lnTo>
                  <a:pt x="511175" y="1225551"/>
                </a:lnTo>
                <a:close/>
                <a:moveTo>
                  <a:pt x="6810375" y="1184275"/>
                </a:moveTo>
                <a:lnTo>
                  <a:pt x="6810375" y="1189038"/>
                </a:lnTo>
                <a:lnTo>
                  <a:pt x="6823075" y="1200150"/>
                </a:lnTo>
                <a:lnTo>
                  <a:pt x="6829425" y="1208088"/>
                </a:lnTo>
                <a:lnTo>
                  <a:pt x="6807200" y="1225550"/>
                </a:lnTo>
                <a:lnTo>
                  <a:pt x="6804025" y="1219200"/>
                </a:lnTo>
                <a:lnTo>
                  <a:pt x="6788150" y="1208088"/>
                </a:lnTo>
                <a:lnTo>
                  <a:pt x="6788150" y="1203325"/>
                </a:lnTo>
                <a:close/>
                <a:moveTo>
                  <a:pt x="596900" y="1131888"/>
                </a:moveTo>
                <a:lnTo>
                  <a:pt x="619125" y="1150938"/>
                </a:lnTo>
                <a:lnTo>
                  <a:pt x="615950" y="1154113"/>
                </a:lnTo>
                <a:lnTo>
                  <a:pt x="604837" y="1169988"/>
                </a:lnTo>
                <a:lnTo>
                  <a:pt x="600075" y="1173163"/>
                </a:lnTo>
                <a:lnTo>
                  <a:pt x="577850" y="1150938"/>
                </a:lnTo>
                <a:lnTo>
                  <a:pt x="581025" y="1150938"/>
                </a:lnTo>
                <a:lnTo>
                  <a:pt x="592137" y="1136651"/>
                </a:lnTo>
                <a:close/>
                <a:moveTo>
                  <a:pt x="6727826" y="1101725"/>
                </a:moveTo>
                <a:lnTo>
                  <a:pt x="6740526" y="1109663"/>
                </a:lnTo>
                <a:lnTo>
                  <a:pt x="6751638" y="1120775"/>
                </a:lnTo>
                <a:lnTo>
                  <a:pt x="6727826" y="1143000"/>
                </a:lnTo>
                <a:lnTo>
                  <a:pt x="6716713" y="1131888"/>
                </a:lnTo>
                <a:lnTo>
                  <a:pt x="6710363" y="1120775"/>
                </a:lnTo>
                <a:close/>
                <a:moveTo>
                  <a:pt x="679450" y="1049338"/>
                </a:moveTo>
                <a:lnTo>
                  <a:pt x="698500" y="1073151"/>
                </a:lnTo>
                <a:lnTo>
                  <a:pt x="687387" y="1084263"/>
                </a:lnTo>
                <a:lnTo>
                  <a:pt x="679450" y="1090613"/>
                </a:lnTo>
                <a:lnTo>
                  <a:pt x="660400" y="1073151"/>
                </a:lnTo>
                <a:lnTo>
                  <a:pt x="668337" y="1060451"/>
                </a:lnTo>
                <a:close/>
                <a:moveTo>
                  <a:pt x="6645276" y="1023938"/>
                </a:moveTo>
                <a:lnTo>
                  <a:pt x="6650038" y="1023938"/>
                </a:lnTo>
                <a:lnTo>
                  <a:pt x="6664326" y="1038226"/>
                </a:lnTo>
                <a:lnTo>
                  <a:pt x="6669088" y="1042988"/>
                </a:lnTo>
                <a:lnTo>
                  <a:pt x="6650038" y="1060451"/>
                </a:lnTo>
                <a:lnTo>
                  <a:pt x="6645276" y="1057276"/>
                </a:lnTo>
                <a:lnTo>
                  <a:pt x="6630988" y="1046163"/>
                </a:lnTo>
                <a:lnTo>
                  <a:pt x="6627813" y="1042988"/>
                </a:lnTo>
                <a:close/>
                <a:moveTo>
                  <a:pt x="765175" y="974725"/>
                </a:moveTo>
                <a:lnTo>
                  <a:pt x="784225" y="993775"/>
                </a:lnTo>
                <a:lnTo>
                  <a:pt x="781050" y="996950"/>
                </a:lnTo>
                <a:lnTo>
                  <a:pt x="765175" y="1008063"/>
                </a:lnTo>
                <a:lnTo>
                  <a:pt x="762000" y="1012825"/>
                </a:lnTo>
                <a:lnTo>
                  <a:pt x="742950" y="993775"/>
                </a:lnTo>
                <a:lnTo>
                  <a:pt x="746125" y="990600"/>
                </a:lnTo>
                <a:lnTo>
                  <a:pt x="762000" y="977900"/>
                </a:lnTo>
                <a:close/>
                <a:moveTo>
                  <a:pt x="6564313" y="944563"/>
                </a:moveTo>
                <a:lnTo>
                  <a:pt x="6570663" y="952501"/>
                </a:lnTo>
                <a:lnTo>
                  <a:pt x="6581776" y="963613"/>
                </a:lnTo>
                <a:lnTo>
                  <a:pt x="6564313" y="985838"/>
                </a:lnTo>
                <a:lnTo>
                  <a:pt x="6551613" y="974726"/>
                </a:lnTo>
                <a:lnTo>
                  <a:pt x="6545263" y="966788"/>
                </a:lnTo>
                <a:close/>
                <a:moveTo>
                  <a:pt x="852487" y="900113"/>
                </a:moveTo>
                <a:lnTo>
                  <a:pt x="869950" y="922338"/>
                </a:lnTo>
                <a:lnTo>
                  <a:pt x="858837" y="930276"/>
                </a:lnTo>
                <a:lnTo>
                  <a:pt x="847725" y="936626"/>
                </a:lnTo>
                <a:lnTo>
                  <a:pt x="828675" y="919163"/>
                </a:lnTo>
                <a:lnTo>
                  <a:pt x="844550" y="908051"/>
                </a:lnTo>
                <a:close/>
                <a:moveTo>
                  <a:pt x="6473825" y="873125"/>
                </a:moveTo>
                <a:lnTo>
                  <a:pt x="6488112" y="884238"/>
                </a:lnTo>
                <a:lnTo>
                  <a:pt x="6496050" y="892175"/>
                </a:lnTo>
                <a:lnTo>
                  <a:pt x="6477000" y="914400"/>
                </a:lnTo>
                <a:lnTo>
                  <a:pt x="6469062" y="908050"/>
                </a:lnTo>
                <a:lnTo>
                  <a:pt x="6454775" y="896938"/>
                </a:lnTo>
                <a:close/>
                <a:moveTo>
                  <a:pt x="941388" y="828675"/>
                </a:moveTo>
                <a:lnTo>
                  <a:pt x="960438" y="850900"/>
                </a:lnTo>
                <a:lnTo>
                  <a:pt x="946150" y="862013"/>
                </a:lnTo>
                <a:lnTo>
                  <a:pt x="938213" y="869950"/>
                </a:lnTo>
                <a:lnTo>
                  <a:pt x="919163" y="847725"/>
                </a:lnTo>
                <a:lnTo>
                  <a:pt x="930275" y="839788"/>
                </a:lnTo>
                <a:close/>
                <a:moveTo>
                  <a:pt x="6383338" y="801688"/>
                </a:moveTo>
                <a:lnTo>
                  <a:pt x="6383338" y="806451"/>
                </a:lnTo>
                <a:lnTo>
                  <a:pt x="6399213" y="817563"/>
                </a:lnTo>
                <a:lnTo>
                  <a:pt x="6405563" y="820738"/>
                </a:lnTo>
                <a:lnTo>
                  <a:pt x="6386513" y="842963"/>
                </a:lnTo>
                <a:lnTo>
                  <a:pt x="6383338" y="839788"/>
                </a:lnTo>
                <a:lnTo>
                  <a:pt x="6369050" y="828676"/>
                </a:lnTo>
                <a:lnTo>
                  <a:pt x="6364288" y="825501"/>
                </a:lnTo>
                <a:close/>
                <a:moveTo>
                  <a:pt x="1035050" y="760413"/>
                </a:moveTo>
                <a:lnTo>
                  <a:pt x="1050925" y="784226"/>
                </a:lnTo>
                <a:lnTo>
                  <a:pt x="1035050" y="795338"/>
                </a:lnTo>
                <a:lnTo>
                  <a:pt x="1028700" y="798513"/>
                </a:lnTo>
                <a:lnTo>
                  <a:pt x="1012825" y="776288"/>
                </a:lnTo>
                <a:lnTo>
                  <a:pt x="1016000" y="773113"/>
                </a:lnTo>
                <a:close/>
                <a:moveTo>
                  <a:pt x="6289675" y="738188"/>
                </a:moveTo>
                <a:lnTo>
                  <a:pt x="6292850" y="738188"/>
                </a:lnTo>
                <a:lnTo>
                  <a:pt x="6308725" y="749301"/>
                </a:lnTo>
                <a:lnTo>
                  <a:pt x="6311900" y="754063"/>
                </a:lnTo>
                <a:lnTo>
                  <a:pt x="6297612" y="776288"/>
                </a:lnTo>
                <a:lnTo>
                  <a:pt x="6292850" y="776288"/>
                </a:lnTo>
                <a:lnTo>
                  <a:pt x="6278562" y="765176"/>
                </a:lnTo>
                <a:lnTo>
                  <a:pt x="6270625" y="760413"/>
                </a:lnTo>
                <a:close/>
                <a:moveTo>
                  <a:pt x="1125538" y="696913"/>
                </a:moveTo>
                <a:lnTo>
                  <a:pt x="1128713" y="696913"/>
                </a:lnTo>
                <a:lnTo>
                  <a:pt x="1144588" y="719138"/>
                </a:lnTo>
                <a:lnTo>
                  <a:pt x="1144588" y="723901"/>
                </a:lnTo>
                <a:lnTo>
                  <a:pt x="1125538" y="731838"/>
                </a:lnTo>
                <a:lnTo>
                  <a:pt x="1122363" y="735013"/>
                </a:lnTo>
                <a:lnTo>
                  <a:pt x="1106488" y="712788"/>
                </a:lnTo>
                <a:lnTo>
                  <a:pt x="1111250" y="708026"/>
                </a:lnTo>
                <a:close/>
                <a:moveTo>
                  <a:pt x="6192838" y="674688"/>
                </a:moveTo>
                <a:lnTo>
                  <a:pt x="6199188" y="679451"/>
                </a:lnTo>
                <a:lnTo>
                  <a:pt x="6215063" y="685801"/>
                </a:lnTo>
                <a:lnTo>
                  <a:pt x="6218238" y="690563"/>
                </a:lnTo>
                <a:lnTo>
                  <a:pt x="6199188" y="712788"/>
                </a:lnTo>
                <a:lnTo>
                  <a:pt x="6184900" y="701676"/>
                </a:lnTo>
                <a:lnTo>
                  <a:pt x="6176963" y="696913"/>
                </a:lnTo>
                <a:close/>
                <a:moveTo>
                  <a:pt x="1227138" y="633413"/>
                </a:moveTo>
                <a:lnTo>
                  <a:pt x="1241426" y="660401"/>
                </a:lnTo>
                <a:lnTo>
                  <a:pt x="1238251" y="660401"/>
                </a:lnTo>
                <a:lnTo>
                  <a:pt x="1222376" y="671513"/>
                </a:lnTo>
                <a:lnTo>
                  <a:pt x="1219201" y="674688"/>
                </a:lnTo>
                <a:lnTo>
                  <a:pt x="1204913" y="649288"/>
                </a:lnTo>
                <a:lnTo>
                  <a:pt x="1208088" y="649288"/>
                </a:lnTo>
                <a:lnTo>
                  <a:pt x="1222376" y="638176"/>
                </a:lnTo>
                <a:close/>
                <a:moveTo>
                  <a:pt x="6094412" y="614363"/>
                </a:moveTo>
                <a:lnTo>
                  <a:pt x="6102350" y="619126"/>
                </a:lnTo>
                <a:lnTo>
                  <a:pt x="6116638" y="625476"/>
                </a:lnTo>
                <a:lnTo>
                  <a:pt x="6121400" y="630238"/>
                </a:lnTo>
                <a:lnTo>
                  <a:pt x="6105525" y="652463"/>
                </a:lnTo>
                <a:lnTo>
                  <a:pt x="6102350" y="652463"/>
                </a:lnTo>
                <a:lnTo>
                  <a:pt x="6086475" y="641351"/>
                </a:lnTo>
                <a:lnTo>
                  <a:pt x="6080125" y="638176"/>
                </a:lnTo>
                <a:close/>
                <a:moveTo>
                  <a:pt x="1323975" y="577850"/>
                </a:moveTo>
                <a:lnTo>
                  <a:pt x="1328737" y="577850"/>
                </a:lnTo>
                <a:lnTo>
                  <a:pt x="1339850" y="603250"/>
                </a:lnTo>
                <a:lnTo>
                  <a:pt x="1320800" y="611188"/>
                </a:lnTo>
                <a:lnTo>
                  <a:pt x="1316037" y="614363"/>
                </a:lnTo>
                <a:lnTo>
                  <a:pt x="1301750" y="592138"/>
                </a:lnTo>
                <a:lnTo>
                  <a:pt x="1309687" y="588963"/>
                </a:lnTo>
                <a:close/>
                <a:moveTo>
                  <a:pt x="5992812" y="555625"/>
                </a:moveTo>
                <a:lnTo>
                  <a:pt x="6000750" y="558800"/>
                </a:lnTo>
                <a:lnTo>
                  <a:pt x="6016625" y="569913"/>
                </a:lnTo>
                <a:lnTo>
                  <a:pt x="6019800" y="569913"/>
                </a:lnTo>
                <a:lnTo>
                  <a:pt x="6003925" y="596900"/>
                </a:lnTo>
                <a:lnTo>
                  <a:pt x="6000750" y="592138"/>
                </a:lnTo>
                <a:lnTo>
                  <a:pt x="5986462" y="584200"/>
                </a:lnTo>
                <a:lnTo>
                  <a:pt x="5981700" y="581025"/>
                </a:lnTo>
                <a:close/>
                <a:moveTo>
                  <a:pt x="1425575" y="520700"/>
                </a:moveTo>
                <a:lnTo>
                  <a:pt x="1439863" y="547688"/>
                </a:lnTo>
                <a:lnTo>
                  <a:pt x="1422400" y="555625"/>
                </a:lnTo>
                <a:lnTo>
                  <a:pt x="1414463" y="561975"/>
                </a:lnTo>
                <a:lnTo>
                  <a:pt x="1403350" y="536575"/>
                </a:lnTo>
                <a:lnTo>
                  <a:pt x="1411287" y="531813"/>
                </a:lnTo>
                <a:close/>
                <a:moveTo>
                  <a:pt x="5892801" y="503238"/>
                </a:moveTo>
                <a:lnTo>
                  <a:pt x="5895976" y="503238"/>
                </a:lnTo>
                <a:lnTo>
                  <a:pt x="5910264" y="514351"/>
                </a:lnTo>
                <a:lnTo>
                  <a:pt x="5918201" y="517526"/>
                </a:lnTo>
                <a:lnTo>
                  <a:pt x="5907089" y="539751"/>
                </a:lnTo>
                <a:lnTo>
                  <a:pt x="5899151" y="536576"/>
                </a:lnTo>
                <a:lnTo>
                  <a:pt x="5881688" y="528638"/>
                </a:lnTo>
                <a:close/>
                <a:moveTo>
                  <a:pt x="1530350" y="468313"/>
                </a:moveTo>
                <a:lnTo>
                  <a:pt x="1541463" y="495301"/>
                </a:lnTo>
                <a:lnTo>
                  <a:pt x="1527175" y="503238"/>
                </a:lnTo>
                <a:lnTo>
                  <a:pt x="1516063" y="509588"/>
                </a:lnTo>
                <a:lnTo>
                  <a:pt x="1504950" y="484188"/>
                </a:lnTo>
                <a:lnTo>
                  <a:pt x="1516063" y="476251"/>
                </a:lnTo>
                <a:close/>
                <a:moveTo>
                  <a:pt x="5791201" y="454025"/>
                </a:moveTo>
                <a:lnTo>
                  <a:pt x="5805489" y="457200"/>
                </a:lnTo>
                <a:lnTo>
                  <a:pt x="5816601" y="465138"/>
                </a:lnTo>
                <a:lnTo>
                  <a:pt x="5805489" y="490538"/>
                </a:lnTo>
                <a:lnTo>
                  <a:pt x="5794376" y="484188"/>
                </a:lnTo>
                <a:lnTo>
                  <a:pt x="5780088" y="476250"/>
                </a:lnTo>
                <a:close/>
                <a:moveTo>
                  <a:pt x="1631950" y="420688"/>
                </a:moveTo>
                <a:lnTo>
                  <a:pt x="1643063" y="446088"/>
                </a:lnTo>
                <a:lnTo>
                  <a:pt x="1635125" y="449263"/>
                </a:lnTo>
                <a:lnTo>
                  <a:pt x="1620838" y="457201"/>
                </a:lnTo>
                <a:lnTo>
                  <a:pt x="1604963" y="431801"/>
                </a:lnTo>
                <a:lnTo>
                  <a:pt x="1624013" y="423863"/>
                </a:lnTo>
                <a:close/>
                <a:moveTo>
                  <a:pt x="5686426" y="404813"/>
                </a:moveTo>
                <a:lnTo>
                  <a:pt x="5697539" y="407988"/>
                </a:lnTo>
                <a:lnTo>
                  <a:pt x="5711826" y="415926"/>
                </a:lnTo>
                <a:lnTo>
                  <a:pt x="5700714" y="442913"/>
                </a:lnTo>
                <a:lnTo>
                  <a:pt x="5686426" y="434976"/>
                </a:lnTo>
                <a:lnTo>
                  <a:pt x="5675313" y="431801"/>
                </a:lnTo>
                <a:close/>
                <a:moveTo>
                  <a:pt x="1736725" y="374650"/>
                </a:moveTo>
                <a:lnTo>
                  <a:pt x="1747838" y="401638"/>
                </a:lnTo>
                <a:lnTo>
                  <a:pt x="1728788" y="407988"/>
                </a:lnTo>
                <a:lnTo>
                  <a:pt x="1722438" y="412750"/>
                </a:lnTo>
                <a:lnTo>
                  <a:pt x="1711325" y="385763"/>
                </a:lnTo>
                <a:lnTo>
                  <a:pt x="1717675" y="382588"/>
                </a:lnTo>
                <a:close/>
                <a:moveTo>
                  <a:pt x="5581650" y="360363"/>
                </a:moveTo>
                <a:lnTo>
                  <a:pt x="5584825" y="360363"/>
                </a:lnTo>
                <a:lnTo>
                  <a:pt x="5603875" y="366713"/>
                </a:lnTo>
                <a:lnTo>
                  <a:pt x="5607050" y="371476"/>
                </a:lnTo>
                <a:lnTo>
                  <a:pt x="5595938" y="396876"/>
                </a:lnTo>
                <a:lnTo>
                  <a:pt x="5592763" y="393701"/>
                </a:lnTo>
                <a:lnTo>
                  <a:pt x="5573713" y="385763"/>
                </a:lnTo>
                <a:lnTo>
                  <a:pt x="5568950" y="385763"/>
                </a:lnTo>
                <a:close/>
                <a:moveTo>
                  <a:pt x="1846263" y="330200"/>
                </a:moveTo>
                <a:lnTo>
                  <a:pt x="1852613" y="360363"/>
                </a:lnTo>
                <a:lnTo>
                  <a:pt x="1841500" y="363538"/>
                </a:lnTo>
                <a:lnTo>
                  <a:pt x="1827212" y="366713"/>
                </a:lnTo>
                <a:lnTo>
                  <a:pt x="1819275" y="341313"/>
                </a:lnTo>
                <a:lnTo>
                  <a:pt x="1830387" y="338138"/>
                </a:lnTo>
                <a:close/>
                <a:moveTo>
                  <a:pt x="5475288" y="314325"/>
                </a:moveTo>
                <a:lnTo>
                  <a:pt x="5486400" y="322263"/>
                </a:lnTo>
                <a:lnTo>
                  <a:pt x="5502275" y="325438"/>
                </a:lnTo>
                <a:lnTo>
                  <a:pt x="5491163" y="352425"/>
                </a:lnTo>
                <a:lnTo>
                  <a:pt x="5480050" y="349250"/>
                </a:lnTo>
                <a:lnTo>
                  <a:pt x="5464175" y="344488"/>
                </a:lnTo>
                <a:close/>
                <a:moveTo>
                  <a:pt x="1946275" y="292100"/>
                </a:moveTo>
                <a:lnTo>
                  <a:pt x="1951037" y="292100"/>
                </a:lnTo>
                <a:lnTo>
                  <a:pt x="1962150" y="319088"/>
                </a:lnTo>
                <a:lnTo>
                  <a:pt x="1957387" y="319088"/>
                </a:lnTo>
                <a:lnTo>
                  <a:pt x="1935162" y="325438"/>
                </a:lnTo>
                <a:lnTo>
                  <a:pt x="1924050" y="300038"/>
                </a:lnTo>
                <a:lnTo>
                  <a:pt x="1928812" y="300038"/>
                </a:lnTo>
                <a:close/>
                <a:moveTo>
                  <a:pt x="5367338" y="277813"/>
                </a:moveTo>
                <a:lnTo>
                  <a:pt x="5370513" y="277813"/>
                </a:lnTo>
                <a:lnTo>
                  <a:pt x="5389563" y="285751"/>
                </a:lnTo>
                <a:lnTo>
                  <a:pt x="5392738" y="288926"/>
                </a:lnTo>
                <a:lnTo>
                  <a:pt x="5386388" y="314326"/>
                </a:lnTo>
                <a:lnTo>
                  <a:pt x="5381626" y="311151"/>
                </a:lnTo>
                <a:lnTo>
                  <a:pt x="5364163" y="307976"/>
                </a:lnTo>
                <a:lnTo>
                  <a:pt x="5359400" y="303213"/>
                </a:lnTo>
                <a:close/>
                <a:moveTo>
                  <a:pt x="2058988" y="255588"/>
                </a:moveTo>
                <a:lnTo>
                  <a:pt x="2070101" y="280988"/>
                </a:lnTo>
                <a:lnTo>
                  <a:pt x="2055813" y="285751"/>
                </a:lnTo>
                <a:lnTo>
                  <a:pt x="2039938" y="288926"/>
                </a:lnTo>
                <a:lnTo>
                  <a:pt x="2033588" y="261938"/>
                </a:lnTo>
                <a:lnTo>
                  <a:pt x="2044700" y="258763"/>
                </a:lnTo>
                <a:close/>
                <a:moveTo>
                  <a:pt x="5257800" y="239713"/>
                </a:moveTo>
                <a:lnTo>
                  <a:pt x="5273676" y="244476"/>
                </a:lnTo>
                <a:lnTo>
                  <a:pt x="5284788" y="250826"/>
                </a:lnTo>
                <a:lnTo>
                  <a:pt x="5276851" y="277813"/>
                </a:lnTo>
                <a:lnTo>
                  <a:pt x="5262563" y="273051"/>
                </a:lnTo>
                <a:lnTo>
                  <a:pt x="5251450" y="266701"/>
                </a:lnTo>
                <a:close/>
                <a:moveTo>
                  <a:pt x="2168526" y="217488"/>
                </a:moveTo>
                <a:lnTo>
                  <a:pt x="2174876" y="247651"/>
                </a:lnTo>
                <a:lnTo>
                  <a:pt x="2157413" y="250826"/>
                </a:lnTo>
                <a:lnTo>
                  <a:pt x="2149475" y="255588"/>
                </a:lnTo>
                <a:lnTo>
                  <a:pt x="2141538" y="228601"/>
                </a:lnTo>
                <a:lnTo>
                  <a:pt x="2146300" y="225426"/>
                </a:lnTo>
                <a:close/>
                <a:moveTo>
                  <a:pt x="5149851" y="206375"/>
                </a:moveTo>
                <a:lnTo>
                  <a:pt x="5172076" y="214313"/>
                </a:lnTo>
                <a:lnTo>
                  <a:pt x="5175251" y="214313"/>
                </a:lnTo>
                <a:lnTo>
                  <a:pt x="5168901" y="244475"/>
                </a:lnTo>
                <a:lnTo>
                  <a:pt x="5160964" y="239713"/>
                </a:lnTo>
                <a:lnTo>
                  <a:pt x="5141913" y="236538"/>
                </a:lnTo>
                <a:lnTo>
                  <a:pt x="5141913" y="231775"/>
                </a:lnTo>
                <a:close/>
                <a:moveTo>
                  <a:pt x="2270125" y="187325"/>
                </a:moveTo>
                <a:lnTo>
                  <a:pt x="2281238" y="187325"/>
                </a:lnTo>
                <a:lnTo>
                  <a:pt x="2287588" y="214313"/>
                </a:lnTo>
                <a:lnTo>
                  <a:pt x="2276475" y="217488"/>
                </a:lnTo>
                <a:lnTo>
                  <a:pt x="2257425" y="220663"/>
                </a:lnTo>
                <a:lnTo>
                  <a:pt x="2251075" y="195263"/>
                </a:lnTo>
                <a:close/>
                <a:moveTo>
                  <a:pt x="5037138" y="176213"/>
                </a:moveTo>
                <a:lnTo>
                  <a:pt x="5048250" y="176213"/>
                </a:lnTo>
                <a:lnTo>
                  <a:pt x="5067300" y="184151"/>
                </a:lnTo>
                <a:lnTo>
                  <a:pt x="5059363" y="209551"/>
                </a:lnTo>
                <a:lnTo>
                  <a:pt x="5040313" y="206376"/>
                </a:lnTo>
                <a:lnTo>
                  <a:pt x="5029200" y="203201"/>
                </a:lnTo>
                <a:close/>
                <a:moveTo>
                  <a:pt x="2389188" y="157163"/>
                </a:moveTo>
                <a:lnTo>
                  <a:pt x="2397126" y="184151"/>
                </a:lnTo>
                <a:lnTo>
                  <a:pt x="2381251" y="187326"/>
                </a:lnTo>
                <a:lnTo>
                  <a:pt x="2370138" y="190501"/>
                </a:lnTo>
                <a:lnTo>
                  <a:pt x="2363788" y="165101"/>
                </a:lnTo>
                <a:lnTo>
                  <a:pt x="2374900" y="161926"/>
                </a:lnTo>
                <a:close/>
                <a:moveTo>
                  <a:pt x="4927600" y="146050"/>
                </a:moveTo>
                <a:lnTo>
                  <a:pt x="4943476" y="149225"/>
                </a:lnTo>
                <a:lnTo>
                  <a:pt x="4954588" y="153988"/>
                </a:lnTo>
                <a:lnTo>
                  <a:pt x="4946651" y="179388"/>
                </a:lnTo>
                <a:lnTo>
                  <a:pt x="4935538" y="176213"/>
                </a:lnTo>
                <a:lnTo>
                  <a:pt x="4921250" y="176213"/>
                </a:lnTo>
                <a:close/>
                <a:moveTo>
                  <a:pt x="2501900" y="131763"/>
                </a:moveTo>
                <a:lnTo>
                  <a:pt x="2509838" y="157163"/>
                </a:lnTo>
                <a:lnTo>
                  <a:pt x="2505075" y="157163"/>
                </a:lnTo>
                <a:lnTo>
                  <a:pt x="2487613" y="161926"/>
                </a:lnTo>
                <a:lnTo>
                  <a:pt x="2479675" y="165101"/>
                </a:lnTo>
                <a:lnTo>
                  <a:pt x="2471738" y="134938"/>
                </a:lnTo>
                <a:lnTo>
                  <a:pt x="2479675" y="134938"/>
                </a:lnTo>
                <a:close/>
                <a:moveTo>
                  <a:pt x="4816476" y="120650"/>
                </a:moveTo>
                <a:lnTo>
                  <a:pt x="4833938" y="123825"/>
                </a:lnTo>
                <a:lnTo>
                  <a:pt x="4846638" y="127000"/>
                </a:lnTo>
                <a:lnTo>
                  <a:pt x="4838701" y="153988"/>
                </a:lnTo>
                <a:lnTo>
                  <a:pt x="4830763" y="153988"/>
                </a:lnTo>
                <a:lnTo>
                  <a:pt x="4808538" y="149225"/>
                </a:lnTo>
                <a:close/>
                <a:moveTo>
                  <a:pt x="2606675" y="104775"/>
                </a:moveTo>
                <a:lnTo>
                  <a:pt x="2614613" y="104775"/>
                </a:lnTo>
                <a:lnTo>
                  <a:pt x="2617788" y="134938"/>
                </a:lnTo>
                <a:lnTo>
                  <a:pt x="2614613" y="134938"/>
                </a:lnTo>
                <a:lnTo>
                  <a:pt x="2592387" y="138113"/>
                </a:lnTo>
                <a:lnTo>
                  <a:pt x="2584450" y="112713"/>
                </a:lnTo>
                <a:lnTo>
                  <a:pt x="2587625" y="112713"/>
                </a:lnTo>
                <a:close/>
                <a:moveTo>
                  <a:pt x="4703763" y="96838"/>
                </a:moveTo>
                <a:lnTo>
                  <a:pt x="4706938" y="96838"/>
                </a:lnTo>
                <a:lnTo>
                  <a:pt x="4729163" y="101601"/>
                </a:lnTo>
                <a:lnTo>
                  <a:pt x="4733925" y="101601"/>
                </a:lnTo>
                <a:lnTo>
                  <a:pt x="4725988" y="131763"/>
                </a:lnTo>
                <a:lnTo>
                  <a:pt x="4722813" y="131763"/>
                </a:lnTo>
                <a:lnTo>
                  <a:pt x="4699000" y="127001"/>
                </a:lnTo>
                <a:lnTo>
                  <a:pt x="4699000" y="123826"/>
                </a:lnTo>
                <a:close/>
                <a:moveTo>
                  <a:pt x="2727326" y="82550"/>
                </a:moveTo>
                <a:lnTo>
                  <a:pt x="2730501" y="112713"/>
                </a:lnTo>
                <a:lnTo>
                  <a:pt x="2722563" y="112713"/>
                </a:lnTo>
                <a:lnTo>
                  <a:pt x="2705100" y="115888"/>
                </a:lnTo>
                <a:lnTo>
                  <a:pt x="2697163" y="90488"/>
                </a:lnTo>
                <a:lnTo>
                  <a:pt x="2716213" y="85725"/>
                </a:lnTo>
                <a:close/>
                <a:moveTo>
                  <a:pt x="4591051" y="74613"/>
                </a:moveTo>
                <a:lnTo>
                  <a:pt x="4598988" y="79375"/>
                </a:lnTo>
                <a:lnTo>
                  <a:pt x="4621213" y="82550"/>
                </a:lnTo>
                <a:lnTo>
                  <a:pt x="4613276" y="109537"/>
                </a:lnTo>
                <a:lnTo>
                  <a:pt x="4591051" y="104775"/>
                </a:lnTo>
                <a:lnTo>
                  <a:pt x="4586288" y="104775"/>
                </a:lnTo>
                <a:close/>
                <a:moveTo>
                  <a:pt x="2840038" y="63500"/>
                </a:moveTo>
                <a:lnTo>
                  <a:pt x="2843213" y="93663"/>
                </a:lnTo>
                <a:lnTo>
                  <a:pt x="2832100" y="93663"/>
                </a:lnTo>
                <a:lnTo>
                  <a:pt x="2816225" y="96838"/>
                </a:lnTo>
                <a:lnTo>
                  <a:pt x="2809875" y="68263"/>
                </a:lnTo>
                <a:lnTo>
                  <a:pt x="2828925" y="68263"/>
                </a:lnTo>
                <a:close/>
                <a:moveTo>
                  <a:pt x="4478338" y="60325"/>
                </a:moveTo>
                <a:lnTo>
                  <a:pt x="4486276" y="60325"/>
                </a:lnTo>
                <a:lnTo>
                  <a:pt x="4508501" y="63500"/>
                </a:lnTo>
                <a:lnTo>
                  <a:pt x="4500564" y="90488"/>
                </a:lnTo>
                <a:lnTo>
                  <a:pt x="4481513" y="85726"/>
                </a:lnTo>
                <a:lnTo>
                  <a:pt x="4475163" y="85726"/>
                </a:lnTo>
                <a:close/>
                <a:moveTo>
                  <a:pt x="2936875" y="49213"/>
                </a:moveTo>
                <a:lnTo>
                  <a:pt x="2951163" y="49213"/>
                </a:lnTo>
                <a:lnTo>
                  <a:pt x="2955926" y="74613"/>
                </a:lnTo>
                <a:lnTo>
                  <a:pt x="2940051" y="79376"/>
                </a:lnTo>
                <a:lnTo>
                  <a:pt x="2928938" y="79376"/>
                </a:lnTo>
                <a:lnTo>
                  <a:pt x="2922588" y="52388"/>
                </a:lnTo>
                <a:close/>
                <a:moveTo>
                  <a:pt x="4365625" y="41275"/>
                </a:moveTo>
                <a:lnTo>
                  <a:pt x="4373563" y="44450"/>
                </a:lnTo>
                <a:lnTo>
                  <a:pt x="4392613" y="44450"/>
                </a:lnTo>
                <a:lnTo>
                  <a:pt x="4387851" y="74613"/>
                </a:lnTo>
                <a:lnTo>
                  <a:pt x="4368800" y="71438"/>
                </a:lnTo>
                <a:lnTo>
                  <a:pt x="4362450" y="71438"/>
                </a:lnTo>
                <a:close/>
                <a:moveTo>
                  <a:pt x="3049587" y="33338"/>
                </a:moveTo>
                <a:lnTo>
                  <a:pt x="3063875" y="33338"/>
                </a:lnTo>
                <a:lnTo>
                  <a:pt x="3068638" y="63501"/>
                </a:lnTo>
                <a:lnTo>
                  <a:pt x="3052762" y="63501"/>
                </a:lnTo>
                <a:lnTo>
                  <a:pt x="3041650" y="63501"/>
                </a:lnTo>
                <a:lnTo>
                  <a:pt x="3038475" y="38101"/>
                </a:lnTo>
                <a:close/>
                <a:moveTo>
                  <a:pt x="4249738" y="30163"/>
                </a:moveTo>
                <a:lnTo>
                  <a:pt x="4260851" y="30163"/>
                </a:lnTo>
                <a:lnTo>
                  <a:pt x="4279901" y="33338"/>
                </a:lnTo>
                <a:lnTo>
                  <a:pt x="4275139" y="60326"/>
                </a:lnTo>
                <a:lnTo>
                  <a:pt x="4257676" y="60326"/>
                </a:lnTo>
                <a:lnTo>
                  <a:pt x="4249738" y="55564"/>
                </a:lnTo>
                <a:close/>
                <a:moveTo>
                  <a:pt x="3165475" y="22225"/>
                </a:moveTo>
                <a:lnTo>
                  <a:pt x="3181351" y="22225"/>
                </a:lnTo>
                <a:lnTo>
                  <a:pt x="3181351" y="49213"/>
                </a:lnTo>
                <a:lnTo>
                  <a:pt x="3168651" y="52388"/>
                </a:lnTo>
                <a:lnTo>
                  <a:pt x="3154363" y="52388"/>
                </a:lnTo>
                <a:lnTo>
                  <a:pt x="3151188" y="26988"/>
                </a:lnTo>
                <a:close/>
                <a:moveTo>
                  <a:pt x="4137025" y="19050"/>
                </a:moveTo>
                <a:lnTo>
                  <a:pt x="4148138" y="19050"/>
                </a:lnTo>
                <a:lnTo>
                  <a:pt x="4167188" y="22226"/>
                </a:lnTo>
                <a:lnTo>
                  <a:pt x="4164013" y="49213"/>
                </a:lnTo>
                <a:lnTo>
                  <a:pt x="4144963" y="49213"/>
                </a:lnTo>
                <a:lnTo>
                  <a:pt x="4133850" y="44451"/>
                </a:lnTo>
                <a:close/>
                <a:moveTo>
                  <a:pt x="3292475" y="11113"/>
                </a:moveTo>
                <a:lnTo>
                  <a:pt x="3297238" y="41276"/>
                </a:lnTo>
                <a:lnTo>
                  <a:pt x="3281362" y="41276"/>
                </a:lnTo>
                <a:lnTo>
                  <a:pt x="3267075" y="44451"/>
                </a:lnTo>
                <a:lnTo>
                  <a:pt x="3267075" y="14288"/>
                </a:lnTo>
                <a:lnTo>
                  <a:pt x="3281362" y="14288"/>
                </a:lnTo>
                <a:close/>
                <a:moveTo>
                  <a:pt x="4021138" y="11113"/>
                </a:moveTo>
                <a:lnTo>
                  <a:pt x="4032251" y="11113"/>
                </a:lnTo>
                <a:lnTo>
                  <a:pt x="4051301" y="11113"/>
                </a:lnTo>
                <a:lnTo>
                  <a:pt x="4051301" y="41276"/>
                </a:lnTo>
                <a:lnTo>
                  <a:pt x="4027488" y="38101"/>
                </a:lnTo>
                <a:lnTo>
                  <a:pt x="4021138" y="38101"/>
                </a:lnTo>
                <a:close/>
                <a:moveTo>
                  <a:pt x="3379788" y="7938"/>
                </a:moveTo>
                <a:lnTo>
                  <a:pt x="3394075" y="7938"/>
                </a:lnTo>
                <a:lnTo>
                  <a:pt x="3409951" y="7938"/>
                </a:lnTo>
                <a:lnTo>
                  <a:pt x="3409951" y="33338"/>
                </a:lnTo>
                <a:lnTo>
                  <a:pt x="3398838" y="33338"/>
                </a:lnTo>
                <a:lnTo>
                  <a:pt x="3382963" y="38101"/>
                </a:lnTo>
                <a:close/>
                <a:moveTo>
                  <a:pt x="3908425" y="3175"/>
                </a:moveTo>
                <a:lnTo>
                  <a:pt x="3916363" y="3175"/>
                </a:lnTo>
                <a:lnTo>
                  <a:pt x="3938588" y="3175"/>
                </a:lnTo>
                <a:lnTo>
                  <a:pt x="3933826" y="33338"/>
                </a:lnTo>
                <a:lnTo>
                  <a:pt x="3911600" y="33338"/>
                </a:lnTo>
                <a:lnTo>
                  <a:pt x="3908425" y="33338"/>
                </a:lnTo>
                <a:close/>
                <a:moveTo>
                  <a:pt x="3792538" y="0"/>
                </a:moveTo>
                <a:lnTo>
                  <a:pt x="3795713" y="0"/>
                </a:lnTo>
                <a:lnTo>
                  <a:pt x="3822701" y="0"/>
                </a:lnTo>
                <a:lnTo>
                  <a:pt x="3822701" y="30163"/>
                </a:lnTo>
                <a:lnTo>
                  <a:pt x="3795713" y="30163"/>
                </a:lnTo>
                <a:lnTo>
                  <a:pt x="3792538" y="30163"/>
                </a:lnTo>
                <a:close/>
                <a:moveTo>
                  <a:pt x="3679825" y="0"/>
                </a:moveTo>
                <a:lnTo>
                  <a:pt x="3702050" y="0"/>
                </a:lnTo>
                <a:lnTo>
                  <a:pt x="3705225" y="0"/>
                </a:lnTo>
                <a:lnTo>
                  <a:pt x="3705225" y="26988"/>
                </a:lnTo>
                <a:lnTo>
                  <a:pt x="3702050" y="26988"/>
                </a:lnTo>
                <a:lnTo>
                  <a:pt x="3679825" y="26988"/>
                </a:lnTo>
                <a:close/>
                <a:moveTo>
                  <a:pt x="3608388" y="0"/>
                </a:moveTo>
                <a:lnTo>
                  <a:pt x="3630613" y="0"/>
                </a:lnTo>
                <a:lnTo>
                  <a:pt x="3638551" y="0"/>
                </a:lnTo>
                <a:lnTo>
                  <a:pt x="3638551" y="26988"/>
                </a:lnTo>
                <a:lnTo>
                  <a:pt x="3630613" y="26988"/>
                </a:lnTo>
                <a:lnTo>
                  <a:pt x="3608388" y="26988"/>
                </a:lnTo>
                <a:close/>
                <a:moveTo>
                  <a:pt x="3514725" y="0"/>
                </a:moveTo>
                <a:lnTo>
                  <a:pt x="3522663" y="0"/>
                </a:lnTo>
                <a:lnTo>
                  <a:pt x="3522663" y="30163"/>
                </a:lnTo>
                <a:lnTo>
                  <a:pt x="3514725" y="30163"/>
                </a:lnTo>
                <a:lnTo>
                  <a:pt x="3495675" y="30163"/>
                </a:lnTo>
                <a:lnTo>
                  <a:pt x="3495675" y="3175"/>
                </a:lnTo>
                <a:close/>
              </a:path>
            </a:pathLst>
          </a:custGeom>
          <a:solidFill>
            <a:srgbClr val="0066CC"/>
          </a:solidFill>
          <a:ln>
            <a:noFill/>
          </a:ln>
        </p:spPr>
        <p:txBody>
          <a:bodyPr vert="horz" wrap="square" lIns="91440" tIns="45720" rIns="91440" bIns="45720" numCol="1" anchor="t" anchorCtr="0" compatLnSpc="1"/>
          <a:lstStyle/>
          <a:p>
            <a:endParaRPr lang="zh-CN" altLang="en-US"/>
          </a:p>
        </p:txBody>
      </p:sp>
      <p:sp>
        <p:nvSpPr>
          <p:cNvPr id="4103" name="Freeform 284"/>
          <p:cNvSpPr/>
          <p:nvPr/>
        </p:nvSpPr>
        <p:spPr bwMode="auto">
          <a:xfrm>
            <a:off x="7262813" y="3040063"/>
            <a:ext cx="688975" cy="690563"/>
          </a:xfrm>
          <a:custGeom>
            <a:avLst/>
            <a:gdLst>
              <a:gd name="T0" fmla="*/ 57 w 184"/>
              <a:gd name="T1" fmla="*/ 20 h 184"/>
              <a:gd name="T2" fmla="*/ 164 w 184"/>
              <a:gd name="T3" fmla="*/ 57 h 184"/>
              <a:gd name="T4" fmla="*/ 127 w 184"/>
              <a:gd name="T5" fmla="*/ 165 h 184"/>
              <a:gd name="T6" fmla="*/ 19 w 184"/>
              <a:gd name="T7" fmla="*/ 128 h 184"/>
              <a:gd name="T8" fmla="*/ 57 w 184"/>
              <a:gd name="T9" fmla="*/ 20 h 184"/>
            </a:gdLst>
            <a:ahLst/>
            <a:cxnLst>
              <a:cxn ang="0">
                <a:pos x="T0" y="T1"/>
              </a:cxn>
              <a:cxn ang="0">
                <a:pos x="T2" y="T3"/>
              </a:cxn>
              <a:cxn ang="0">
                <a:pos x="T4" y="T5"/>
              </a:cxn>
              <a:cxn ang="0">
                <a:pos x="T6" y="T7"/>
              </a:cxn>
              <a:cxn ang="0">
                <a:pos x="T8" y="T9"/>
              </a:cxn>
            </a:cxnLst>
            <a:rect l="0" t="0" r="r" b="b"/>
            <a:pathLst>
              <a:path w="184" h="184">
                <a:moveTo>
                  <a:pt x="57" y="20"/>
                </a:moveTo>
                <a:cubicBezTo>
                  <a:pt x="97" y="0"/>
                  <a:pt x="145" y="17"/>
                  <a:pt x="164" y="57"/>
                </a:cubicBezTo>
                <a:cubicBezTo>
                  <a:pt x="184" y="97"/>
                  <a:pt x="167" y="146"/>
                  <a:pt x="127" y="165"/>
                </a:cubicBezTo>
                <a:cubicBezTo>
                  <a:pt x="87" y="184"/>
                  <a:pt x="39" y="168"/>
                  <a:pt x="19" y="128"/>
                </a:cubicBezTo>
                <a:cubicBezTo>
                  <a:pt x="0" y="87"/>
                  <a:pt x="17" y="39"/>
                  <a:pt x="57" y="20"/>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grpSp>
        <p:nvGrpSpPr>
          <p:cNvPr id="3" name="组合 4664"/>
          <p:cNvGrpSpPr/>
          <p:nvPr/>
        </p:nvGrpSpPr>
        <p:grpSpPr>
          <a:xfrm>
            <a:off x="4221163" y="4776788"/>
            <a:ext cx="685800" cy="688975"/>
            <a:chOff x="4221163" y="4776788"/>
            <a:chExt cx="685800" cy="688975"/>
          </a:xfrm>
        </p:grpSpPr>
        <p:sp>
          <p:nvSpPr>
            <p:cNvPr id="4105" name="Freeform 286"/>
            <p:cNvSpPr/>
            <p:nvPr/>
          </p:nvSpPr>
          <p:spPr bwMode="auto">
            <a:xfrm>
              <a:off x="4221163" y="4776788"/>
              <a:ext cx="685800" cy="688975"/>
            </a:xfrm>
            <a:custGeom>
              <a:avLst/>
              <a:gdLst>
                <a:gd name="T0" fmla="*/ 56 w 183"/>
                <a:gd name="T1" fmla="*/ 20 h 184"/>
                <a:gd name="T2" fmla="*/ 164 w 183"/>
                <a:gd name="T3" fmla="*/ 57 h 184"/>
                <a:gd name="T4" fmla="*/ 127 w 183"/>
                <a:gd name="T5" fmla="*/ 165 h 184"/>
                <a:gd name="T6" fmla="*/ 19 w 183"/>
                <a:gd name="T7" fmla="*/ 127 h 184"/>
                <a:gd name="T8" fmla="*/ 56 w 183"/>
                <a:gd name="T9" fmla="*/ 20 h 184"/>
              </a:gdLst>
              <a:ahLst/>
              <a:cxnLst>
                <a:cxn ang="0">
                  <a:pos x="T0" y="T1"/>
                </a:cxn>
                <a:cxn ang="0">
                  <a:pos x="T2" y="T3"/>
                </a:cxn>
                <a:cxn ang="0">
                  <a:pos x="T4" y="T5"/>
                </a:cxn>
                <a:cxn ang="0">
                  <a:pos x="T6" y="T7"/>
                </a:cxn>
                <a:cxn ang="0">
                  <a:pos x="T8" y="T9"/>
                </a:cxn>
              </a:cxnLst>
              <a:rect l="0" t="0" r="r" b="b"/>
              <a:pathLst>
                <a:path w="183" h="184">
                  <a:moveTo>
                    <a:pt x="56" y="20"/>
                  </a:moveTo>
                  <a:cubicBezTo>
                    <a:pt x="97" y="0"/>
                    <a:pt x="145" y="17"/>
                    <a:pt x="164" y="57"/>
                  </a:cubicBezTo>
                  <a:cubicBezTo>
                    <a:pt x="183" y="97"/>
                    <a:pt x="167" y="145"/>
                    <a:pt x="127" y="165"/>
                  </a:cubicBezTo>
                  <a:cubicBezTo>
                    <a:pt x="87" y="184"/>
                    <a:pt x="38" y="167"/>
                    <a:pt x="19" y="127"/>
                  </a:cubicBezTo>
                  <a:cubicBezTo>
                    <a:pt x="0" y="87"/>
                    <a:pt x="16" y="39"/>
                    <a:pt x="56" y="20"/>
                  </a:cubicBezTo>
                  <a:close/>
                </a:path>
              </a:pathLst>
            </a:custGeom>
            <a:solidFill>
              <a:schemeClr val="tx2">
                <a:lumMod val="60000"/>
                <a:lumOff val="40000"/>
                <a:alpha val="40000"/>
              </a:schemeClr>
            </a:solidFill>
            <a:ln>
              <a:noFill/>
            </a:ln>
            <a:effectLst>
              <a:outerShdw blurRad="254000" algn="ctr" rotWithShape="0">
                <a:srgbClr val="53D2FF">
                  <a:alpha val="80000"/>
                </a:srgb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06" name="Freeform 287"/>
            <p:cNvSpPr/>
            <p:nvPr/>
          </p:nvSpPr>
          <p:spPr bwMode="auto">
            <a:xfrm>
              <a:off x="4402526" y="4954691"/>
              <a:ext cx="325049" cy="331685"/>
            </a:xfrm>
            <a:custGeom>
              <a:avLst/>
              <a:gdLst/>
              <a:ahLst/>
              <a:cxnLst/>
              <a:rect l="l" t="t" r="r" b="b"/>
              <a:pathLst>
                <a:path w="325049" h="331685">
                  <a:moveTo>
                    <a:pt x="305999" y="234847"/>
                  </a:moveTo>
                  <a:lnTo>
                    <a:pt x="325049" y="252310"/>
                  </a:lnTo>
                  <a:lnTo>
                    <a:pt x="242499" y="331685"/>
                  </a:lnTo>
                  <a:lnTo>
                    <a:pt x="226624" y="312635"/>
                  </a:lnTo>
                  <a:close/>
                  <a:moveTo>
                    <a:pt x="126116" y="141"/>
                  </a:moveTo>
                  <a:cubicBezTo>
                    <a:pt x="132679" y="1083"/>
                    <a:pt x="137367" y="6735"/>
                    <a:pt x="137367" y="16155"/>
                  </a:cubicBezTo>
                  <a:cubicBezTo>
                    <a:pt x="137367" y="34994"/>
                    <a:pt x="126116" y="50066"/>
                    <a:pt x="163621" y="72674"/>
                  </a:cubicBezTo>
                  <a:cubicBezTo>
                    <a:pt x="197359" y="95271"/>
                    <a:pt x="219857" y="140454"/>
                    <a:pt x="219878" y="140496"/>
                  </a:cubicBezTo>
                  <a:cubicBezTo>
                    <a:pt x="219878" y="144264"/>
                    <a:pt x="227379" y="148032"/>
                    <a:pt x="231129" y="151800"/>
                  </a:cubicBezTo>
                  <a:cubicBezTo>
                    <a:pt x="231129" y="151800"/>
                    <a:pt x="231129" y="151800"/>
                    <a:pt x="291137" y="212087"/>
                  </a:cubicBezTo>
                  <a:cubicBezTo>
                    <a:pt x="294887" y="215855"/>
                    <a:pt x="294887" y="227159"/>
                    <a:pt x="291137" y="230927"/>
                  </a:cubicBezTo>
                  <a:cubicBezTo>
                    <a:pt x="291137" y="230927"/>
                    <a:pt x="291137" y="230927"/>
                    <a:pt x="223628" y="298749"/>
                  </a:cubicBezTo>
                  <a:cubicBezTo>
                    <a:pt x="219878" y="306285"/>
                    <a:pt x="208626" y="306285"/>
                    <a:pt x="204876" y="298749"/>
                  </a:cubicBezTo>
                  <a:cubicBezTo>
                    <a:pt x="204876" y="298749"/>
                    <a:pt x="204876" y="298749"/>
                    <a:pt x="203938" y="298278"/>
                  </a:cubicBezTo>
                  <a:lnTo>
                    <a:pt x="197375" y="294981"/>
                  </a:lnTo>
                  <a:cubicBezTo>
                    <a:pt x="193624" y="287446"/>
                    <a:pt x="182373" y="283678"/>
                    <a:pt x="174872" y="283678"/>
                  </a:cubicBezTo>
                  <a:cubicBezTo>
                    <a:pt x="174872" y="283678"/>
                    <a:pt x="174872" y="283678"/>
                    <a:pt x="66108" y="283678"/>
                  </a:cubicBezTo>
                  <a:cubicBezTo>
                    <a:pt x="58607" y="283678"/>
                    <a:pt x="51106" y="279910"/>
                    <a:pt x="47356" y="272374"/>
                  </a:cubicBezTo>
                  <a:cubicBezTo>
                    <a:pt x="47356" y="272374"/>
                    <a:pt x="47356" y="272374"/>
                    <a:pt x="2350" y="144264"/>
                  </a:cubicBezTo>
                  <a:cubicBezTo>
                    <a:pt x="-5151" y="125425"/>
                    <a:pt x="6101" y="114121"/>
                    <a:pt x="24853" y="114121"/>
                  </a:cubicBezTo>
                  <a:cubicBezTo>
                    <a:pt x="24853" y="114121"/>
                    <a:pt x="24853" y="114121"/>
                    <a:pt x="114864" y="114121"/>
                  </a:cubicBezTo>
                  <a:cubicBezTo>
                    <a:pt x="118615" y="99049"/>
                    <a:pt x="114864" y="87745"/>
                    <a:pt x="111114" y="83978"/>
                  </a:cubicBezTo>
                  <a:cubicBezTo>
                    <a:pt x="107363" y="76442"/>
                    <a:pt x="92362" y="61370"/>
                    <a:pt x="92362" y="38762"/>
                  </a:cubicBezTo>
                  <a:cubicBezTo>
                    <a:pt x="96112" y="31227"/>
                    <a:pt x="99863" y="19923"/>
                    <a:pt x="103613" y="12387"/>
                  </a:cubicBezTo>
                  <a:cubicBezTo>
                    <a:pt x="111114" y="2967"/>
                    <a:pt x="119552" y="-801"/>
                    <a:pt x="126116" y="141"/>
                  </a:cubicBezTo>
                  <a:close/>
                </a:path>
              </a:pathLst>
            </a:custGeom>
            <a:solidFill>
              <a:srgbClr val="FFFFFF"/>
            </a:solidFill>
            <a:ln>
              <a:noFill/>
            </a:ln>
            <a:effectLst>
              <a:outerShdw blurRad="177800" dist="101600" dir="2700000" algn="tl" rotWithShape="0">
                <a:prstClr val="black">
                  <a:alpha val="32000"/>
                </a:prst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4108" name="Freeform 289"/>
          <p:cNvSpPr/>
          <p:nvPr/>
        </p:nvSpPr>
        <p:spPr bwMode="auto">
          <a:xfrm>
            <a:off x="8368030" y="3505200"/>
            <a:ext cx="690880" cy="690880"/>
          </a:xfrm>
          <a:custGeom>
            <a:avLst/>
            <a:gdLst>
              <a:gd name="T0" fmla="*/ 57 w 184"/>
              <a:gd name="T1" fmla="*/ 19 h 184"/>
              <a:gd name="T2" fmla="*/ 165 w 184"/>
              <a:gd name="T3" fmla="*/ 57 h 184"/>
              <a:gd name="T4" fmla="*/ 127 w 184"/>
              <a:gd name="T5" fmla="*/ 164 h 184"/>
              <a:gd name="T6" fmla="*/ 20 w 184"/>
              <a:gd name="T7" fmla="*/ 127 h 184"/>
              <a:gd name="T8" fmla="*/ 57 w 184"/>
              <a:gd name="T9" fmla="*/ 19 h 184"/>
            </a:gdLst>
            <a:ahLst/>
            <a:cxnLst>
              <a:cxn ang="0">
                <a:pos x="T0" y="T1"/>
              </a:cxn>
              <a:cxn ang="0">
                <a:pos x="T2" y="T3"/>
              </a:cxn>
              <a:cxn ang="0">
                <a:pos x="T4" y="T5"/>
              </a:cxn>
              <a:cxn ang="0">
                <a:pos x="T6" y="T7"/>
              </a:cxn>
              <a:cxn ang="0">
                <a:pos x="T8" y="T9"/>
              </a:cxn>
            </a:cxnLst>
            <a:rect l="0" t="0" r="r" b="b"/>
            <a:pathLst>
              <a:path w="184" h="184">
                <a:moveTo>
                  <a:pt x="57" y="19"/>
                </a:moveTo>
                <a:cubicBezTo>
                  <a:pt x="97" y="0"/>
                  <a:pt x="146" y="17"/>
                  <a:pt x="165" y="57"/>
                </a:cubicBezTo>
                <a:cubicBezTo>
                  <a:pt x="184" y="97"/>
                  <a:pt x="168" y="145"/>
                  <a:pt x="127" y="164"/>
                </a:cubicBezTo>
                <a:cubicBezTo>
                  <a:pt x="87" y="184"/>
                  <a:pt x="39" y="167"/>
                  <a:pt x="20" y="127"/>
                </a:cubicBezTo>
                <a:cubicBezTo>
                  <a:pt x="0" y="87"/>
                  <a:pt x="17" y="39"/>
                  <a:pt x="57" y="19"/>
                </a:cubicBezTo>
                <a:close/>
              </a:path>
            </a:pathLst>
          </a:custGeom>
          <a:solidFill>
            <a:schemeClr val="tx2">
              <a:lumMod val="60000"/>
              <a:lumOff val="40000"/>
              <a:alpha val="40000"/>
            </a:schemeClr>
          </a:solidFill>
          <a:ln>
            <a:noFill/>
          </a:ln>
          <a:effectLst>
            <a:outerShdw blurRad="254000" algn="ctr" rotWithShape="0">
              <a:srgbClr val="53D2FF">
                <a:alpha val="80000"/>
              </a:srgb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15" name="Freeform 296"/>
          <p:cNvSpPr/>
          <p:nvPr/>
        </p:nvSpPr>
        <p:spPr bwMode="auto">
          <a:xfrm>
            <a:off x="5834063" y="5013325"/>
            <a:ext cx="685800" cy="685800"/>
          </a:xfrm>
          <a:custGeom>
            <a:avLst/>
            <a:gdLst>
              <a:gd name="T0" fmla="*/ 56 w 183"/>
              <a:gd name="T1" fmla="*/ 19 h 183"/>
              <a:gd name="T2" fmla="*/ 164 w 183"/>
              <a:gd name="T3" fmla="*/ 56 h 183"/>
              <a:gd name="T4" fmla="*/ 127 w 183"/>
              <a:gd name="T5" fmla="*/ 164 h 183"/>
              <a:gd name="T6" fmla="*/ 19 w 183"/>
              <a:gd name="T7" fmla="*/ 127 h 183"/>
              <a:gd name="T8" fmla="*/ 56 w 183"/>
              <a:gd name="T9" fmla="*/ 19 h 183"/>
            </a:gdLst>
            <a:ahLst/>
            <a:cxnLst>
              <a:cxn ang="0">
                <a:pos x="T0" y="T1"/>
              </a:cxn>
              <a:cxn ang="0">
                <a:pos x="T2" y="T3"/>
              </a:cxn>
              <a:cxn ang="0">
                <a:pos x="T4" y="T5"/>
              </a:cxn>
              <a:cxn ang="0">
                <a:pos x="T6" y="T7"/>
              </a:cxn>
              <a:cxn ang="0">
                <a:pos x="T8" y="T9"/>
              </a:cxn>
            </a:cxnLst>
            <a:rect l="0" t="0" r="r" b="b"/>
            <a:pathLst>
              <a:path w="183" h="183">
                <a:moveTo>
                  <a:pt x="56" y="19"/>
                </a:moveTo>
                <a:cubicBezTo>
                  <a:pt x="97" y="0"/>
                  <a:pt x="145" y="16"/>
                  <a:pt x="164" y="56"/>
                </a:cubicBezTo>
                <a:cubicBezTo>
                  <a:pt x="183" y="96"/>
                  <a:pt x="167" y="145"/>
                  <a:pt x="127" y="164"/>
                </a:cubicBezTo>
                <a:cubicBezTo>
                  <a:pt x="87" y="183"/>
                  <a:pt x="38" y="167"/>
                  <a:pt x="19" y="127"/>
                </a:cubicBezTo>
                <a:cubicBezTo>
                  <a:pt x="0" y="87"/>
                  <a:pt x="16" y="38"/>
                  <a:pt x="56" y="19"/>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grpSp>
        <p:nvGrpSpPr>
          <p:cNvPr id="5" name="组合 4659"/>
          <p:cNvGrpSpPr/>
          <p:nvPr/>
        </p:nvGrpSpPr>
        <p:grpSpPr>
          <a:xfrm>
            <a:off x="6673850" y="1831975"/>
            <a:ext cx="688975" cy="687388"/>
            <a:chOff x="6673850" y="1831975"/>
            <a:chExt cx="688975" cy="687388"/>
          </a:xfrm>
          <a:solidFill>
            <a:srgbClr val="41A0DA"/>
          </a:solidFill>
        </p:grpSpPr>
        <p:sp>
          <p:nvSpPr>
            <p:cNvPr id="4117" name="Freeform 298"/>
            <p:cNvSpPr/>
            <p:nvPr/>
          </p:nvSpPr>
          <p:spPr bwMode="auto">
            <a:xfrm>
              <a:off x="6673850" y="1831975"/>
              <a:ext cx="688975" cy="687388"/>
            </a:xfrm>
            <a:custGeom>
              <a:avLst/>
              <a:gdLst>
                <a:gd name="T0" fmla="*/ 57 w 184"/>
                <a:gd name="T1" fmla="*/ 19 h 183"/>
                <a:gd name="T2" fmla="*/ 165 w 184"/>
                <a:gd name="T3" fmla="*/ 56 h 183"/>
                <a:gd name="T4" fmla="*/ 127 w 184"/>
                <a:gd name="T5" fmla="*/ 164 h 183"/>
                <a:gd name="T6" fmla="*/ 20 w 184"/>
                <a:gd name="T7" fmla="*/ 127 h 183"/>
                <a:gd name="T8" fmla="*/ 57 w 184"/>
                <a:gd name="T9" fmla="*/ 19 h 183"/>
              </a:gdLst>
              <a:ahLst/>
              <a:cxnLst>
                <a:cxn ang="0">
                  <a:pos x="T0" y="T1"/>
                </a:cxn>
                <a:cxn ang="0">
                  <a:pos x="T2" y="T3"/>
                </a:cxn>
                <a:cxn ang="0">
                  <a:pos x="T4" y="T5"/>
                </a:cxn>
                <a:cxn ang="0">
                  <a:pos x="T6" y="T7"/>
                </a:cxn>
                <a:cxn ang="0">
                  <a:pos x="T8" y="T9"/>
                </a:cxn>
              </a:cxnLst>
              <a:rect l="0" t="0" r="r" b="b"/>
              <a:pathLst>
                <a:path w="184" h="183">
                  <a:moveTo>
                    <a:pt x="57" y="19"/>
                  </a:moveTo>
                  <a:cubicBezTo>
                    <a:pt x="97" y="0"/>
                    <a:pt x="145" y="16"/>
                    <a:pt x="165" y="56"/>
                  </a:cubicBezTo>
                  <a:cubicBezTo>
                    <a:pt x="184" y="96"/>
                    <a:pt x="167" y="145"/>
                    <a:pt x="127" y="164"/>
                  </a:cubicBezTo>
                  <a:cubicBezTo>
                    <a:pt x="87" y="183"/>
                    <a:pt x="39" y="167"/>
                    <a:pt x="20" y="127"/>
                  </a:cubicBezTo>
                  <a:cubicBezTo>
                    <a:pt x="0" y="87"/>
                    <a:pt x="17" y="38"/>
                    <a:pt x="57" y="19"/>
                  </a:cubicBezTo>
                  <a:close/>
                </a:path>
              </a:pathLst>
            </a:custGeom>
            <a:solidFill>
              <a:schemeClr val="tx2">
                <a:lumMod val="60000"/>
                <a:lumOff val="40000"/>
              </a:schemeClr>
            </a:solidFill>
            <a:ln>
              <a:noFill/>
            </a:ln>
            <a:effectLst>
              <a:outerShdw blurRad="254000" algn="ctr" rotWithShape="0">
                <a:srgbClr val="53D2FF">
                  <a:alpha val="80000"/>
                </a:srgb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18" name="Freeform 299"/>
            <p:cNvSpPr>
              <a:spLocks noEditPoints="1"/>
            </p:cNvSpPr>
            <p:nvPr/>
          </p:nvSpPr>
          <p:spPr bwMode="auto">
            <a:xfrm>
              <a:off x="6881024" y="2000240"/>
              <a:ext cx="358775" cy="296863"/>
            </a:xfrm>
            <a:custGeom>
              <a:avLst/>
              <a:gdLst>
                <a:gd name="T0" fmla="*/ 89 w 96"/>
                <a:gd name="T1" fmla="*/ 23 h 79"/>
                <a:gd name="T2" fmla="*/ 70 w 96"/>
                <a:gd name="T3" fmla="*/ 33 h 79"/>
                <a:gd name="T4" fmla="*/ 77 w 96"/>
                <a:gd name="T5" fmla="*/ 10 h 79"/>
                <a:gd name="T6" fmla="*/ 70 w 96"/>
                <a:gd name="T7" fmla="*/ 53 h 79"/>
                <a:gd name="T8" fmla="*/ 70 w 96"/>
                <a:gd name="T9" fmla="*/ 75 h 79"/>
                <a:gd name="T10" fmla="*/ 72 w 96"/>
                <a:gd name="T11" fmla="*/ 48 h 79"/>
                <a:gd name="T12" fmla="*/ 96 w 96"/>
                <a:gd name="T13" fmla="*/ 65 h 79"/>
                <a:gd name="T14" fmla="*/ 77 w 96"/>
                <a:gd name="T15" fmla="*/ 39 h 79"/>
                <a:gd name="T16" fmla="*/ 70 w 96"/>
                <a:gd name="T17" fmla="*/ 40 h 79"/>
                <a:gd name="T18" fmla="*/ 66 w 96"/>
                <a:gd name="T19" fmla="*/ 28 h 79"/>
                <a:gd name="T20" fmla="*/ 68 w 96"/>
                <a:gd name="T21" fmla="*/ 13 h 79"/>
                <a:gd name="T22" fmla="*/ 70 w 96"/>
                <a:gd name="T23" fmla="*/ 33 h 79"/>
                <a:gd name="T24" fmla="*/ 70 w 96"/>
                <a:gd name="T25" fmla="*/ 40 h 79"/>
                <a:gd name="T26" fmla="*/ 70 w 96"/>
                <a:gd name="T27" fmla="*/ 37 h 79"/>
                <a:gd name="T28" fmla="*/ 61 w 96"/>
                <a:gd name="T29" fmla="*/ 34 h 79"/>
                <a:gd name="T30" fmla="*/ 35 w 96"/>
                <a:gd name="T31" fmla="*/ 34 h 79"/>
                <a:gd name="T32" fmla="*/ 27 w 96"/>
                <a:gd name="T33" fmla="*/ 75 h 79"/>
                <a:gd name="T34" fmla="*/ 70 w 96"/>
                <a:gd name="T35" fmla="*/ 75 h 79"/>
                <a:gd name="T36" fmla="*/ 27 w 96"/>
                <a:gd name="T37" fmla="*/ 40 h 79"/>
                <a:gd name="T38" fmla="*/ 28 w 96"/>
                <a:gd name="T39" fmla="*/ 36 h 79"/>
                <a:gd name="T40" fmla="*/ 27 w 96"/>
                <a:gd name="T41" fmla="*/ 33 h 79"/>
                <a:gd name="T42" fmla="*/ 28 w 96"/>
                <a:gd name="T43" fmla="*/ 13 h 79"/>
                <a:gd name="T44" fmla="*/ 30 w 96"/>
                <a:gd name="T45" fmla="*/ 28 h 79"/>
                <a:gd name="T46" fmla="*/ 48 w 96"/>
                <a:gd name="T47" fmla="*/ 0 h 79"/>
                <a:gd name="T48" fmla="*/ 48 w 96"/>
                <a:gd name="T49" fmla="*/ 34 h 79"/>
                <a:gd name="T50" fmla="*/ 48 w 96"/>
                <a:gd name="T51" fmla="*/ 0 h 79"/>
                <a:gd name="T52" fmla="*/ 27 w 96"/>
                <a:gd name="T53" fmla="*/ 33 h 79"/>
                <a:gd name="T54" fmla="*/ 7 w 96"/>
                <a:gd name="T55" fmla="*/ 23 h 79"/>
                <a:gd name="T56" fmla="*/ 27 w 96"/>
                <a:gd name="T57" fmla="*/ 12 h 79"/>
                <a:gd name="T58" fmla="*/ 27 w 96"/>
                <a:gd name="T59" fmla="*/ 40 h 79"/>
                <a:gd name="T60" fmla="*/ 19 w 96"/>
                <a:gd name="T61" fmla="*/ 69 h 79"/>
                <a:gd name="T62" fmla="*/ 9 w 96"/>
                <a:gd name="T63" fmla="*/ 36 h 79"/>
                <a:gd name="T64" fmla="*/ 27 w 96"/>
                <a:gd name="T65" fmla="*/ 37 h 79"/>
                <a:gd name="T66" fmla="*/ 23 w 96"/>
                <a:gd name="T67" fmla="*/ 73 h 79"/>
                <a:gd name="T68" fmla="*/ 27 w 96"/>
                <a:gd name="T69" fmla="*/ 5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79">
                  <a:moveTo>
                    <a:pt x="77" y="10"/>
                  </a:moveTo>
                  <a:cubicBezTo>
                    <a:pt x="84" y="10"/>
                    <a:pt x="89" y="16"/>
                    <a:pt x="89" y="23"/>
                  </a:cubicBezTo>
                  <a:cubicBezTo>
                    <a:pt x="89" y="30"/>
                    <a:pt x="84" y="35"/>
                    <a:pt x="77" y="35"/>
                  </a:cubicBezTo>
                  <a:cubicBezTo>
                    <a:pt x="74" y="35"/>
                    <a:pt x="72" y="34"/>
                    <a:pt x="70" y="33"/>
                  </a:cubicBezTo>
                  <a:cubicBezTo>
                    <a:pt x="70" y="12"/>
                    <a:pt x="70" y="12"/>
                    <a:pt x="70" y="12"/>
                  </a:cubicBezTo>
                  <a:cubicBezTo>
                    <a:pt x="72" y="11"/>
                    <a:pt x="74" y="10"/>
                    <a:pt x="77" y="10"/>
                  </a:cubicBezTo>
                  <a:close/>
                  <a:moveTo>
                    <a:pt x="70" y="75"/>
                  </a:moveTo>
                  <a:cubicBezTo>
                    <a:pt x="70" y="53"/>
                    <a:pt x="70" y="53"/>
                    <a:pt x="70" y="53"/>
                  </a:cubicBezTo>
                  <a:cubicBezTo>
                    <a:pt x="71" y="59"/>
                    <a:pt x="72" y="66"/>
                    <a:pt x="74" y="73"/>
                  </a:cubicBezTo>
                  <a:cubicBezTo>
                    <a:pt x="72" y="74"/>
                    <a:pt x="71" y="74"/>
                    <a:pt x="70" y="75"/>
                  </a:cubicBezTo>
                  <a:close/>
                  <a:moveTo>
                    <a:pt x="70" y="40"/>
                  </a:moveTo>
                  <a:cubicBezTo>
                    <a:pt x="71" y="43"/>
                    <a:pt x="72" y="45"/>
                    <a:pt x="72" y="48"/>
                  </a:cubicBezTo>
                  <a:cubicBezTo>
                    <a:pt x="74" y="55"/>
                    <a:pt x="76" y="62"/>
                    <a:pt x="77" y="69"/>
                  </a:cubicBezTo>
                  <a:cubicBezTo>
                    <a:pt x="84" y="69"/>
                    <a:pt x="90" y="67"/>
                    <a:pt x="96" y="65"/>
                  </a:cubicBezTo>
                  <a:cubicBezTo>
                    <a:pt x="94" y="52"/>
                    <a:pt x="91" y="39"/>
                    <a:pt x="87" y="36"/>
                  </a:cubicBezTo>
                  <a:cubicBezTo>
                    <a:pt x="84" y="38"/>
                    <a:pt x="81" y="39"/>
                    <a:pt x="77" y="39"/>
                  </a:cubicBezTo>
                  <a:cubicBezTo>
                    <a:pt x="74" y="39"/>
                    <a:pt x="72" y="38"/>
                    <a:pt x="70" y="37"/>
                  </a:cubicBezTo>
                  <a:lnTo>
                    <a:pt x="70" y="40"/>
                  </a:lnTo>
                  <a:close/>
                  <a:moveTo>
                    <a:pt x="70" y="33"/>
                  </a:moveTo>
                  <a:cubicBezTo>
                    <a:pt x="68" y="32"/>
                    <a:pt x="66" y="30"/>
                    <a:pt x="66" y="28"/>
                  </a:cubicBezTo>
                  <a:cubicBezTo>
                    <a:pt x="68" y="25"/>
                    <a:pt x="69" y="21"/>
                    <a:pt x="69" y="17"/>
                  </a:cubicBezTo>
                  <a:cubicBezTo>
                    <a:pt x="69" y="16"/>
                    <a:pt x="69" y="14"/>
                    <a:pt x="68" y="13"/>
                  </a:cubicBezTo>
                  <a:cubicBezTo>
                    <a:pt x="69" y="13"/>
                    <a:pt x="69" y="13"/>
                    <a:pt x="70" y="12"/>
                  </a:cubicBezTo>
                  <a:cubicBezTo>
                    <a:pt x="70" y="33"/>
                    <a:pt x="70" y="33"/>
                    <a:pt x="70" y="33"/>
                  </a:cubicBezTo>
                  <a:close/>
                  <a:moveTo>
                    <a:pt x="70" y="37"/>
                  </a:moveTo>
                  <a:cubicBezTo>
                    <a:pt x="70" y="40"/>
                    <a:pt x="70" y="40"/>
                    <a:pt x="70" y="40"/>
                  </a:cubicBezTo>
                  <a:cubicBezTo>
                    <a:pt x="69" y="39"/>
                    <a:pt x="68" y="37"/>
                    <a:pt x="68" y="36"/>
                  </a:cubicBezTo>
                  <a:cubicBezTo>
                    <a:pt x="68" y="37"/>
                    <a:pt x="69" y="37"/>
                    <a:pt x="70" y="37"/>
                  </a:cubicBezTo>
                  <a:close/>
                  <a:moveTo>
                    <a:pt x="70" y="53"/>
                  </a:moveTo>
                  <a:cubicBezTo>
                    <a:pt x="67" y="44"/>
                    <a:pt x="65" y="37"/>
                    <a:pt x="61" y="34"/>
                  </a:cubicBezTo>
                  <a:cubicBezTo>
                    <a:pt x="58" y="37"/>
                    <a:pt x="53" y="39"/>
                    <a:pt x="48" y="39"/>
                  </a:cubicBezTo>
                  <a:cubicBezTo>
                    <a:pt x="43" y="39"/>
                    <a:pt x="38" y="37"/>
                    <a:pt x="35" y="34"/>
                  </a:cubicBezTo>
                  <a:cubicBezTo>
                    <a:pt x="31" y="37"/>
                    <a:pt x="29" y="44"/>
                    <a:pt x="27" y="53"/>
                  </a:cubicBezTo>
                  <a:cubicBezTo>
                    <a:pt x="27" y="75"/>
                    <a:pt x="27" y="75"/>
                    <a:pt x="27" y="75"/>
                  </a:cubicBezTo>
                  <a:cubicBezTo>
                    <a:pt x="33" y="77"/>
                    <a:pt x="40" y="79"/>
                    <a:pt x="48" y="79"/>
                  </a:cubicBezTo>
                  <a:cubicBezTo>
                    <a:pt x="56" y="79"/>
                    <a:pt x="63" y="77"/>
                    <a:pt x="70" y="75"/>
                  </a:cubicBezTo>
                  <a:cubicBezTo>
                    <a:pt x="70" y="53"/>
                    <a:pt x="70" y="53"/>
                    <a:pt x="70" y="53"/>
                  </a:cubicBezTo>
                  <a:close/>
                  <a:moveTo>
                    <a:pt x="27" y="40"/>
                  </a:moveTo>
                  <a:cubicBezTo>
                    <a:pt x="27" y="37"/>
                    <a:pt x="27" y="37"/>
                    <a:pt x="27" y="37"/>
                  </a:cubicBezTo>
                  <a:cubicBezTo>
                    <a:pt x="27" y="37"/>
                    <a:pt x="28" y="37"/>
                    <a:pt x="28" y="36"/>
                  </a:cubicBezTo>
                  <a:cubicBezTo>
                    <a:pt x="28" y="37"/>
                    <a:pt x="27" y="39"/>
                    <a:pt x="27" y="40"/>
                  </a:cubicBezTo>
                  <a:close/>
                  <a:moveTo>
                    <a:pt x="27" y="33"/>
                  </a:moveTo>
                  <a:cubicBezTo>
                    <a:pt x="27" y="12"/>
                    <a:pt x="27" y="12"/>
                    <a:pt x="27" y="12"/>
                  </a:cubicBezTo>
                  <a:cubicBezTo>
                    <a:pt x="27" y="13"/>
                    <a:pt x="27" y="13"/>
                    <a:pt x="28" y="13"/>
                  </a:cubicBezTo>
                  <a:cubicBezTo>
                    <a:pt x="27" y="14"/>
                    <a:pt x="27" y="16"/>
                    <a:pt x="27" y="17"/>
                  </a:cubicBezTo>
                  <a:cubicBezTo>
                    <a:pt x="27" y="21"/>
                    <a:pt x="28" y="25"/>
                    <a:pt x="30" y="28"/>
                  </a:cubicBezTo>
                  <a:cubicBezTo>
                    <a:pt x="30" y="30"/>
                    <a:pt x="28" y="32"/>
                    <a:pt x="27" y="33"/>
                  </a:cubicBezTo>
                  <a:close/>
                  <a:moveTo>
                    <a:pt x="48" y="0"/>
                  </a:moveTo>
                  <a:cubicBezTo>
                    <a:pt x="57" y="0"/>
                    <a:pt x="65" y="8"/>
                    <a:pt x="65" y="17"/>
                  </a:cubicBezTo>
                  <a:cubicBezTo>
                    <a:pt x="65" y="26"/>
                    <a:pt x="57" y="34"/>
                    <a:pt x="48" y="34"/>
                  </a:cubicBezTo>
                  <a:cubicBezTo>
                    <a:pt x="39" y="34"/>
                    <a:pt x="31" y="26"/>
                    <a:pt x="31" y="17"/>
                  </a:cubicBezTo>
                  <a:cubicBezTo>
                    <a:pt x="31" y="8"/>
                    <a:pt x="39" y="0"/>
                    <a:pt x="48" y="0"/>
                  </a:cubicBezTo>
                  <a:close/>
                  <a:moveTo>
                    <a:pt x="27" y="12"/>
                  </a:moveTo>
                  <a:cubicBezTo>
                    <a:pt x="27" y="33"/>
                    <a:pt x="27" y="33"/>
                    <a:pt x="27" y="33"/>
                  </a:cubicBezTo>
                  <a:cubicBezTo>
                    <a:pt x="24" y="34"/>
                    <a:pt x="22" y="35"/>
                    <a:pt x="19" y="35"/>
                  </a:cubicBezTo>
                  <a:cubicBezTo>
                    <a:pt x="12" y="35"/>
                    <a:pt x="7" y="30"/>
                    <a:pt x="7" y="23"/>
                  </a:cubicBezTo>
                  <a:cubicBezTo>
                    <a:pt x="7" y="16"/>
                    <a:pt x="12" y="10"/>
                    <a:pt x="19" y="10"/>
                  </a:cubicBezTo>
                  <a:cubicBezTo>
                    <a:pt x="22" y="10"/>
                    <a:pt x="24" y="11"/>
                    <a:pt x="27" y="12"/>
                  </a:cubicBezTo>
                  <a:close/>
                  <a:moveTo>
                    <a:pt x="27" y="37"/>
                  </a:moveTo>
                  <a:cubicBezTo>
                    <a:pt x="27" y="40"/>
                    <a:pt x="27" y="40"/>
                    <a:pt x="27" y="40"/>
                  </a:cubicBezTo>
                  <a:cubicBezTo>
                    <a:pt x="25" y="43"/>
                    <a:pt x="24" y="45"/>
                    <a:pt x="24" y="48"/>
                  </a:cubicBezTo>
                  <a:cubicBezTo>
                    <a:pt x="22" y="55"/>
                    <a:pt x="20" y="62"/>
                    <a:pt x="19" y="69"/>
                  </a:cubicBezTo>
                  <a:cubicBezTo>
                    <a:pt x="12" y="69"/>
                    <a:pt x="6" y="67"/>
                    <a:pt x="0" y="65"/>
                  </a:cubicBezTo>
                  <a:cubicBezTo>
                    <a:pt x="2" y="52"/>
                    <a:pt x="5" y="39"/>
                    <a:pt x="9" y="36"/>
                  </a:cubicBezTo>
                  <a:cubicBezTo>
                    <a:pt x="12" y="38"/>
                    <a:pt x="15" y="39"/>
                    <a:pt x="19" y="39"/>
                  </a:cubicBezTo>
                  <a:cubicBezTo>
                    <a:pt x="22" y="39"/>
                    <a:pt x="24" y="38"/>
                    <a:pt x="27" y="37"/>
                  </a:cubicBezTo>
                  <a:close/>
                  <a:moveTo>
                    <a:pt x="27" y="53"/>
                  </a:moveTo>
                  <a:cubicBezTo>
                    <a:pt x="25" y="59"/>
                    <a:pt x="24" y="66"/>
                    <a:pt x="23" y="73"/>
                  </a:cubicBezTo>
                  <a:cubicBezTo>
                    <a:pt x="24" y="74"/>
                    <a:pt x="25" y="74"/>
                    <a:pt x="27" y="75"/>
                  </a:cubicBezTo>
                  <a:lnTo>
                    <a:pt x="27" y="53"/>
                  </a:lnTo>
                  <a:close/>
                </a:path>
              </a:pathLst>
            </a:custGeom>
            <a:solidFill>
              <a:schemeClr val="bg1"/>
            </a:solidFill>
            <a:ln>
              <a:noFill/>
            </a:ln>
            <a:effectLst>
              <a:outerShdw blurRad="177800" dist="101600" dir="2700000" algn="tl" rotWithShape="0">
                <a:prstClr val="black">
                  <a:alpha val="32000"/>
                </a:prst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4119" name="Freeform 300"/>
          <p:cNvSpPr/>
          <p:nvPr/>
        </p:nvSpPr>
        <p:spPr bwMode="auto">
          <a:xfrm>
            <a:off x="8931275" y="2691130"/>
            <a:ext cx="688975" cy="690880"/>
          </a:xfrm>
          <a:custGeom>
            <a:avLst/>
            <a:gdLst>
              <a:gd name="T0" fmla="*/ 57 w 184"/>
              <a:gd name="T1" fmla="*/ 20 h 184"/>
              <a:gd name="T2" fmla="*/ 165 w 184"/>
              <a:gd name="T3" fmla="*/ 57 h 184"/>
              <a:gd name="T4" fmla="*/ 127 w 184"/>
              <a:gd name="T5" fmla="*/ 165 h 184"/>
              <a:gd name="T6" fmla="*/ 20 w 184"/>
              <a:gd name="T7" fmla="*/ 127 h 184"/>
              <a:gd name="T8" fmla="*/ 57 w 184"/>
              <a:gd name="T9" fmla="*/ 20 h 184"/>
            </a:gdLst>
            <a:ahLst/>
            <a:cxnLst>
              <a:cxn ang="0">
                <a:pos x="T0" y="T1"/>
              </a:cxn>
              <a:cxn ang="0">
                <a:pos x="T2" y="T3"/>
              </a:cxn>
              <a:cxn ang="0">
                <a:pos x="T4" y="T5"/>
              </a:cxn>
              <a:cxn ang="0">
                <a:pos x="T6" y="T7"/>
              </a:cxn>
              <a:cxn ang="0">
                <a:pos x="T8" y="T9"/>
              </a:cxn>
            </a:cxnLst>
            <a:rect l="0" t="0" r="r" b="b"/>
            <a:pathLst>
              <a:path w="184" h="184">
                <a:moveTo>
                  <a:pt x="57" y="20"/>
                </a:moveTo>
                <a:cubicBezTo>
                  <a:pt x="97" y="0"/>
                  <a:pt x="145" y="17"/>
                  <a:pt x="165" y="57"/>
                </a:cubicBezTo>
                <a:cubicBezTo>
                  <a:pt x="184" y="97"/>
                  <a:pt x="167" y="145"/>
                  <a:pt x="127" y="165"/>
                </a:cubicBezTo>
                <a:cubicBezTo>
                  <a:pt x="87" y="184"/>
                  <a:pt x="39" y="167"/>
                  <a:pt x="20" y="127"/>
                </a:cubicBezTo>
                <a:cubicBezTo>
                  <a:pt x="0" y="87"/>
                  <a:pt x="17" y="39"/>
                  <a:pt x="57" y="20"/>
                </a:cubicBezTo>
                <a:close/>
              </a:path>
            </a:pathLst>
          </a:custGeom>
          <a:solidFill>
            <a:schemeClr val="tx2">
              <a:lumMod val="60000"/>
              <a:lumOff val="40000"/>
              <a:alpha val="40000"/>
            </a:schemeClr>
          </a:solidFill>
          <a:ln>
            <a:noFill/>
          </a:ln>
          <a:effectLst>
            <a:outerShdw blurRad="254000" algn="ctr" rotWithShape="0">
              <a:srgbClr val="53D2FF">
                <a:alpha val="80000"/>
              </a:srgb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21" name="Freeform 302"/>
          <p:cNvSpPr/>
          <p:nvPr/>
        </p:nvSpPr>
        <p:spPr bwMode="auto">
          <a:xfrm>
            <a:off x="2990850" y="2335213"/>
            <a:ext cx="685800" cy="690563"/>
          </a:xfrm>
          <a:custGeom>
            <a:avLst/>
            <a:gdLst>
              <a:gd name="T0" fmla="*/ 56 w 183"/>
              <a:gd name="T1" fmla="*/ 20 h 184"/>
              <a:gd name="T2" fmla="*/ 164 w 183"/>
              <a:gd name="T3" fmla="*/ 57 h 184"/>
              <a:gd name="T4" fmla="*/ 127 w 183"/>
              <a:gd name="T5" fmla="*/ 165 h 184"/>
              <a:gd name="T6" fmla="*/ 19 w 183"/>
              <a:gd name="T7" fmla="*/ 127 h 184"/>
              <a:gd name="T8" fmla="*/ 56 w 183"/>
              <a:gd name="T9" fmla="*/ 20 h 184"/>
            </a:gdLst>
            <a:ahLst/>
            <a:cxnLst>
              <a:cxn ang="0">
                <a:pos x="T0" y="T1"/>
              </a:cxn>
              <a:cxn ang="0">
                <a:pos x="T2" y="T3"/>
              </a:cxn>
              <a:cxn ang="0">
                <a:pos x="T4" y="T5"/>
              </a:cxn>
              <a:cxn ang="0">
                <a:pos x="T6" y="T7"/>
              </a:cxn>
              <a:cxn ang="0">
                <a:pos x="T8" y="T9"/>
              </a:cxn>
            </a:cxnLst>
            <a:rect l="0" t="0" r="r" b="b"/>
            <a:pathLst>
              <a:path w="183" h="184">
                <a:moveTo>
                  <a:pt x="56" y="20"/>
                </a:moveTo>
                <a:cubicBezTo>
                  <a:pt x="96" y="0"/>
                  <a:pt x="145" y="17"/>
                  <a:pt x="164" y="57"/>
                </a:cubicBezTo>
                <a:cubicBezTo>
                  <a:pt x="183" y="97"/>
                  <a:pt x="167" y="145"/>
                  <a:pt x="127" y="165"/>
                </a:cubicBezTo>
                <a:cubicBezTo>
                  <a:pt x="87" y="184"/>
                  <a:pt x="38" y="167"/>
                  <a:pt x="19" y="127"/>
                </a:cubicBezTo>
                <a:cubicBezTo>
                  <a:pt x="0" y="87"/>
                  <a:pt x="16" y="39"/>
                  <a:pt x="56" y="20"/>
                </a:cubicBezTo>
                <a:close/>
              </a:path>
            </a:pathLst>
          </a:custGeom>
          <a:solidFill>
            <a:srgbClr val="41A0DA">
              <a:alpha val="40000"/>
            </a:srgbClr>
          </a:solidFill>
          <a:ln>
            <a:noFill/>
          </a:ln>
          <a:effectLst>
            <a:outerShdw blurRad="254000" algn="ctr" rotWithShape="0">
              <a:srgbClr val="53D2FF">
                <a:alpha val="80000"/>
              </a:srgb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23" name="Freeform 304"/>
          <p:cNvSpPr/>
          <p:nvPr/>
        </p:nvSpPr>
        <p:spPr bwMode="auto">
          <a:xfrm>
            <a:off x="5897563" y="1096963"/>
            <a:ext cx="688975" cy="690563"/>
          </a:xfrm>
          <a:custGeom>
            <a:avLst/>
            <a:gdLst>
              <a:gd name="T0" fmla="*/ 57 w 184"/>
              <a:gd name="T1" fmla="*/ 20 h 184"/>
              <a:gd name="T2" fmla="*/ 164 w 184"/>
              <a:gd name="T3" fmla="*/ 57 h 184"/>
              <a:gd name="T4" fmla="*/ 127 w 184"/>
              <a:gd name="T5" fmla="*/ 165 h 184"/>
              <a:gd name="T6" fmla="*/ 19 w 184"/>
              <a:gd name="T7" fmla="*/ 127 h 184"/>
              <a:gd name="T8" fmla="*/ 57 w 184"/>
              <a:gd name="T9" fmla="*/ 20 h 184"/>
            </a:gdLst>
            <a:ahLst/>
            <a:cxnLst>
              <a:cxn ang="0">
                <a:pos x="T0" y="T1"/>
              </a:cxn>
              <a:cxn ang="0">
                <a:pos x="T2" y="T3"/>
              </a:cxn>
              <a:cxn ang="0">
                <a:pos x="T4" y="T5"/>
              </a:cxn>
              <a:cxn ang="0">
                <a:pos x="T6" y="T7"/>
              </a:cxn>
              <a:cxn ang="0">
                <a:pos x="T8" y="T9"/>
              </a:cxn>
            </a:cxnLst>
            <a:rect l="0" t="0" r="r" b="b"/>
            <a:pathLst>
              <a:path w="184" h="184">
                <a:moveTo>
                  <a:pt x="57" y="20"/>
                </a:moveTo>
                <a:cubicBezTo>
                  <a:pt x="97" y="0"/>
                  <a:pt x="145" y="17"/>
                  <a:pt x="164" y="57"/>
                </a:cubicBezTo>
                <a:cubicBezTo>
                  <a:pt x="184" y="97"/>
                  <a:pt x="167" y="145"/>
                  <a:pt x="127" y="165"/>
                </a:cubicBezTo>
                <a:cubicBezTo>
                  <a:pt x="87" y="184"/>
                  <a:pt x="39" y="167"/>
                  <a:pt x="19" y="127"/>
                </a:cubicBezTo>
                <a:cubicBezTo>
                  <a:pt x="0" y="87"/>
                  <a:pt x="17" y="39"/>
                  <a:pt x="57" y="20"/>
                </a:cubicBezTo>
                <a:close/>
              </a:path>
            </a:pathLst>
          </a:custGeom>
          <a:solidFill>
            <a:schemeClr val="tx2">
              <a:lumMod val="60000"/>
              <a:lumOff val="40000"/>
              <a:alpha val="40000"/>
            </a:schemeClr>
          </a:solidFill>
          <a:ln>
            <a:noFill/>
          </a:ln>
          <a:effectLst>
            <a:outerShdw blurRad="254000" algn="ctr" rotWithShape="0">
              <a:srgbClr val="53D2FF">
                <a:alpha val="80000"/>
              </a:srgb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25" name="Freeform 306"/>
          <p:cNvSpPr/>
          <p:nvPr/>
        </p:nvSpPr>
        <p:spPr bwMode="auto">
          <a:xfrm>
            <a:off x="5083175" y="4314825"/>
            <a:ext cx="685800" cy="690880"/>
          </a:xfrm>
          <a:custGeom>
            <a:avLst/>
            <a:gdLst>
              <a:gd name="T0" fmla="*/ 56 w 183"/>
              <a:gd name="T1" fmla="*/ 20 h 184"/>
              <a:gd name="T2" fmla="*/ 164 w 183"/>
              <a:gd name="T3" fmla="*/ 57 h 184"/>
              <a:gd name="T4" fmla="*/ 127 w 183"/>
              <a:gd name="T5" fmla="*/ 165 h 184"/>
              <a:gd name="T6" fmla="*/ 19 w 183"/>
              <a:gd name="T7" fmla="*/ 127 h 184"/>
              <a:gd name="T8" fmla="*/ 56 w 183"/>
              <a:gd name="T9" fmla="*/ 20 h 184"/>
            </a:gdLst>
            <a:ahLst/>
            <a:cxnLst>
              <a:cxn ang="0">
                <a:pos x="T0" y="T1"/>
              </a:cxn>
              <a:cxn ang="0">
                <a:pos x="T2" y="T3"/>
              </a:cxn>
              <a:cxn ang="0">
                <a:pos x="T4" y="T5"/>
              </a:cxn>
              <a:cxn ang="0">
                <a:pos x="T6" y="T7"/>
              </a:cxn>
              <a:cxn ang="0">
                <a:pos x="T8" y="T9"/>
              </a:cxn>
            </a:cxnLst>
            <a:rect l="0" t="0" r="r" b="b"/>
            <a:pathLst>
              <a:path w="183" h="184">
                <a:moveTo>
                  <a:pt x="56" y="20"/>
                </a:moveTo>
                <a:cubicBezTo>
                  <a:pt x="97" y="0"/>
                  <a:pt x="145" y="17"/>
                  <a:pt x="164" y="57"/>
                </a:cubicBezTo>
                <a:cubicBezTo>
                  <a:pt x="183" y="97"/>
                  <a:pt x="167" y="145"/>
                  <a:pt x="127" y="165"/>
                </a:cubicBezTo>
                <a:cubicBezTo>
                  <a:pt x="87" y="184"/>
                  <a:pt x="38" y="168"/>
                  <a:pt x="19" y="127"/>
                </a:cubicBezTo>
                <a:cubicBezTo>
                  <a:pt x="0" y="87"/>
                  <a:pt x="16" y="39"/>
                  <a:pt x="56" y="20"/>
                </a:cubicBezTo>
                <a:close/>
              </a:path>
            </a:pathLst>
          </a:custGeom>
          <a:solidFill>
            <a:schemeClr val="tx2">
              <a:lumMod val="60000"/>
              <a:lumOff val="40000"/>
              <a:alpha val="40000"/>
            </a:schemeClr>
          </a:solidFill>
          <a:ln>
            <a:noFill/>
          </a:ln>
          <a:effectLst>
            <a:outerShdw blurRad="254000" algn="ctr" rotWithShape="0">
              <a:srgbClr val="53D2FF">
                <a:alpha val="80000"/>
              </a:srgb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27" name="Freeform 308"/>
          <p:cNvSpPr/>
          <p:nvPr/>
        </p:nvSpPr>
        <p:spPr bwMode="auto">
          <a:xfrm>
            <a:off x="4210050" y="3001963"/>
            <a:ext cx="685800" cy="687388"/>
          </a:xfrm>
          <a:custGeom>
            <a:avLst/>
            <a:gdLst>
              <a:gd name="T0" fmla="*/ 56 w 183"/>
              <a:gd name="T1" fmla="*/ 19 h 183"/>
              <a:gd name="T2" fmla="*/ 163 w 183"/>
              <a:gd name="T3" fmla="*/ 57 h 183"/>
              <a:gd name="T4" fmla="*/ 126 w 183"/>
              <a:gd name="T5" fmla="*/ 164 h 183"/>
              <a:gd name="T6" fmla="*/ 19 w 183"/>
              <a:gd name="T7" fmla="*/ 127 h 183"/>
              <a:gd name="T8" fmla="*/ 56 w 183"/>
              <a:gd name="T9" fmla="*/ 19 h 183"/>
            </a:gdLst>
            <a:ahLst/>
            <a:cxnLst>
              <a:cxn ang="0">
                <a:pos x="T0" y="T1"/>
              </a:cxn>
              <a:cxn ang="0">
                <a:pos x="T2" y="T3"/>
              </a:cxn>
              <a:cxn ang="0">
                <a:pos x="T4" y="T5"/>
              </a:cxn>
              <a:cxn ang="0">
                <a:pos x="T6" y="T7"/>
              </a:cxn>
              <a:cxn ang="0">
                <a:pos x="T8" y="T9"/>
              </a:cxn>
            </a:cxnLst>
            <a:rect l="0" t="0" r="r" b="b"/>
            <a:pathLst>
              <a:path w="183" h="183">
                <a:moveTo>
                  <a:pt x="56" y="19"/>
                </a:moveTo>
                <a:cubicBezTo>
                  <a:pt x="96" y="0"/>
                  <a:pt x="144" y="17"/>
                  <a:pt x="163" y="57"/>
                </a:cubicBezTo>
                <a:cubicBezTo>
                  <a:pt x="183" y="97"/>
                  <a:pt x="166" y="145"/>
                  <a:pt x="126" y="164"/>
                </a:cubicBezTo>
                <a:cubicBezTo>
                  <a:pt x="86" y="183"/>
                  <a:pt x="38" y="166"/>
                  <a:pt x="19" y="127"/>
                </a:cubicBezTo>
                <a:cubicBezTo>
                  <a:pt x="0" y="87"/>
                  <a:pt x="16" y="39"/>
                  <a:pt x="56" y="19"/>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96" name="Freeform 309"/>
          <p:cNvSpPr/>
          <p:nvPr/>
        </p:nvSpPr>
        <p:spPr bwMode="auto">
          <a:xfrm>
            <a:off x="5980113" y="815975"/>
            <a:ext cx="239713" cy="244475"/>
          </a:xfrm>
          <a:custGeom>
            <a:avLst/>
            <a:gdLst>
              <a:gd name="T0" fmla="*/ 20 w 64"/>
              <a:gd name="T1" fmla="*/ 7 h 65"/>
              <a:gd name="T2" fmla="*/ 57 w 64"/>
              <a:gd name="T3" fmla="*/ 20 h 65"/>
              <a:gd name="T4" fmla="*/ 44 w 64"/>
              <a:gd name="T5" fmla="*/ 58 h 65"/>
              <a:gd name="T6" fmla="*/ 6 w 64"/>
              <a:gd name="T7" fmla="*/ 45 h 65"/>
              <a:gd name="T8" fmla="*/ 20 w 64"/>
              <a:gd name="T9" fmla="*/ 7 h 65"/>
            </a:gdLst>
            <a:ahLst/>
            <a:cxnLst>
              <a:cxn ang="0">
                <a:pos x="T0" y="T1"/>
              </a:cxn>
              <a:cxn ang="0">
                <a:pos x="T2" y="T3"/>
              </a:cxn>
              <a:cxn ang="0">
                <a:pos x="T4" y="T5"/>
              </a:cxn>
              <a:cxn ang="0">
                <a:pos x="T6" y="T7"/>
              </a:cxn>
              <a:cxn ang="0">
                <a:pos x="T8" y="T9"/>
              </a:cxn>
            </a:cxnLst>
            <a:rect l="0" t="0" r="r" b="b"/>
            <a:pathLst>
              <a:path w="64" h="65">
                <a:moveTo>
                  <a:pt x="20" y="7"/>
                </a:moveTo>
                <a:cubicBezTo>
                  <a:pt x="34" y="0"/>
                  <a:pt x="50" y="6"/>
                  <a:pt x="57" y="20"/>
                </a:cubicBezTo>
                <a:cubicBezTo>
                  <a:pt x="64" y="34"/>
                  <a:pt x="58" y="51"/>
                  <a:pt x="44" y="58"/>
                </a:cubicBezTo>
                <a:cubicBezTo>
                  <a:pt x="30" y="65"/>
                  <a:pt x="13" y="59"/>
                  <a:pt x="6" y="45"/>
                </a:cubicBezTo>
                <a:cubicBezTo>
                  <a:pt x="0" y="31"/>
                  <a:pt x="5" y="14"/>
                  <a:pt x="20" y="7"/>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97" name="Freeform 310"/>
          <p:cNvSpPr/>
          <p:nvPr/>
        </p:nvSpPr>
        <p:spPr bwMode="auto">
          <a:xfrm>
            <a:off x="7577138" y="1066800"/>
            <a:ext cx="239713" cy="241300"/>
          </a:xfrm>
          <a:custGeom>
            <a:avLst/>
            <a:gdLst>
              <a:gd name="T0" fmla="*/ 20 w 64"/>
              <a:gd name="T1" fmla="*/ 6 h 64"/>
              <a:gd name="T2" fmla="*/ 58 w 64"/>
              <a:gd name="T3" fmla="*/ 20 h 64"/>
              <a:gd name="T4" fmla="*/ 44 w 64"/>
              <a:gd name="T5" fmla="*/ 57 h 64"/>
              <a:gd name="T6" fmla="*/ 7 w 64"/>
              <a:gd name="T7" fmla="*/ 44 h 64"/>
              <a:gd name="T8" fmla="*/ 20 w 64"/>
              <a:gd name="T9" fmla="*/ 6 h 64"/>
            </a:gdLst>
            <a:ahLst/>
            <a:cxnLst>
              <a:cxn ang="0">
                <a:pos x="T0" y="T1"/>
              </a:cxn>
              <a:cxn ang="0">
                <a:pos x="T2" y="T3"/>
              </a:cxn>
              <a:cxn ang="0">
                <a:pos x="T4" y="T5"/>
              </a:cxn>
              <a:cxn ang="0">
                <a:pos x="T6" y="T7"/>
              </a:cxn>
              <a:cxn ang="0">
                <a:pos x="T8" y="T9"/>
              </a:cxn>
            </a:cxnLst>
            <a:rect l="0" t="0" r="r" b="b"/>
            <a:pathLst>
              <a:path w="64" h="64">
                <a:moveTo>
                  <a:pt x="20" y="6"/>
                </a:moveTo>
                <a:cubicBezTo>
                  <a:pt x="34" y="0"/>
                  <a:pt x="51" y="6"/>
                  <a:pt x="58" y="20"/>
                </a:cubicBezTo>
                <a:cubicBezTo>
                  <a:pt x="64" y="34"/>
                  <a:pt x="59" y="51"/>
                  <a:pt x="44" y="57"/>
                </a:cubicBezTo>
                <a:cubicBezTo>
                  <a:pt x="30" y="64"/>
                  <a:pt x="14" y="58"/>
                  <a:pt x="7" y="44"/>
                </a:cubicBezTo>
                <a:cubicBezTo>
                  <a:pt x="0" y="30"/>
                  <a:pt x="6" y="13"/>
                  <a:pt x="20" y="6"/>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99" name="Freeform 311"/>
          <p:cNvSpPr/>
          <p:nvPr/>
        </p:nvSpPr>
        <p:spPr bwMode="auto">
          <a:xfrm>
            <a:off x="8972550" y="1870075"/>
            <a:ext cx="242888" cy="244475"/>
          </a:xfrm>
          <a:custGeom>
            <a:avLst/>
            <a:gdLst>
              <a:gd name="T0" fmla="*/ 20 w 65"/>
              <a:gd name="T1" fmla="*/ 7 h 65"/>
              <a:gd name="T2" fmla="*/ 58 w 65"/>
              <a:gd name="T3" fmla="*/ 20 h 65"/>
              <a:gd name="T4" fmla="*/ 45 w 65"/>
              <a:gd name="T5" fmla="*/ 58 h 65"/>
              <a:gd name="T6" fmla="*/ 7 w 65"/>
              <a:gd name="T7" fmla="*/ 45 h 65"/>
              <a:gd name="T8" fmla="*/ 20 w 65"/>
              <a:gd name="T9" fmla="*/ 7 h 65"/>
            </a:gdLst>
            <a:ahLst/>
            <a:cxnLst>
              <a:cxn ang="0">
                <a:pos x="T0" y="T1"/>
              </a:cxn>
              <a:cxn ang="0">
                <a:pos x="T2" y="T3"/>
              </a:cxn>
              <a:cxn ang="0">
                <a:pos x="T4" y="T5"/>
              </a:cxn>
              <a:cxn ang="0">
                <a:pos x="T6" y="T7"/>
              </a:cxn>
              <a:cxn ang="0">
                <a:pos x="T8" y="T9"/>
              </a:cxn>
            </a:cxnLst>
            <a:rect l="0" t="0" r="r" b="b"/>
            <a:pathLst>
              <a:path w="65" h="65">
                <a:moveTo>
                  <a:pt x="20" y="7"/>
                </a:moveTo>
                <a:cubicBezTo>
                  <a:pt x="34" y="0"/>
                  <a:pt x="51" y="6"/>
                  <a:pt x="58" y="20"/>
                </a:cubicBezTo>
                <a:cubicBezTo>
                  <a:pt x="65" y="34"/>
                  <a:pt x="59" y="51"/>
                  <a:pt x="45" y="58"/>
                </a:cubicBezTo>
                <a:cubicBezTo>
                  <a:pt x="31" y="65"/>
                  <a:pt x="14" y="59"/>
                  <a:pt x="7" y="45"/>
                </a:cubicBezTo>
                <a:cubicBezTo>
                  <a:pt x="0" y="31"/>
                  <a:pt x="6" y="14"/>
                  <a:pt x="20" y="7"/>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00" name="Freeform 312"/>
          <p:cNvSpPr/>
          <p:nvPr/>
        </p:nvSpPr>
        <p:spPr bwMode="auto">
          <a:xfrm>
            <a:off x="9644063" y="3302000"/>
            <a:ext cx="239713" cy="244475"/>
          </a:xfrm>
          <a:custGeom>
            <a:avLst/>
            <a:gdLst>
              <a:gd name="T0" fmla="*/ 19 w 64"/>
              <a:gd name="T1" fmla="*/ 7 h 65"/>
              <a:gd name="T2" fmla="*/ 57 w 64"/>
              <a:gd name="T3" fmla="*/ 20 h 65"/>
              <a:gd name="T4" fmla="*/ 44 w 64"/>
              <a:gd name="T5" fmla="*/ 58 h 65"/>
              <a:gd name="T6" fmla="*/ 6 w 64"/>
              <a:gd name="T7" fmla="*/ 45 h 65"/>
              <a:gd name="T8" fmla="*/ 19 w 64"/>
              <a:gd name="T9" fmla="*/ 7 h 65"/>
            </a:gdLst>
            <a:ahLst/>
            <a:cxnLst>
              <a:cxn ang="0">
                <a:pos x="T0" y="T1"/>
              </a:cxn>
              <a:cxn ang="0">
                <a:pos x="T2" y="T3"/>
              </a:cxn>
              <a:cxn ang="0">
                <a:pos x="T4" y="T5"/>
              </a:cxn>
              <a:cxn ang="0">
                <a:pos x="T6" y="T7"/>
              </a:cxn>
              <a:cxn ang="0">
                <a:pos x="T8" y="T9"/>
              </a:cxn>
            </a:cxnLst>
            <a:rect l="0" t="0" r="r" b="b"/>
            <a:pathLst>
              <a:path w="64" h="65">
                <a:moveTo>
                  <a:pt x="19" y="7"/>
                </a:moveTo>
                <a:cubicBezTo>
                  <a:pt x="34" y="0"/>
                  <a:pt x="50" y="6"/>
                  <a:pt x="57" y="20"/>
                </a:cubicBezTo>
                <a:cubicBezTo>
                  <a:pt x="64" y="34"/>
                  <a:pt x="58" y="51"/>
                  <a:pt x="44" y="58"/>
                </a:cubicBezTo>
                <a:cubicBezTo>
                  <a:pt x="30" y="65"/>
                  <a:pt x="13" y="59"/>
                  <a:pt x="6" y="45"/>
                </a:cubicBezTo>
                <a:cubicBezTo>
                  <a:pt x="0" y="31"/>
                  <a:pt x="5" y="14"/>
                  <a:pt x="19" y="7"/>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02" name="Freeform 313"/>
          <p:cNvSpPr/>
          <p:nvPr/>
        </p:nvSpPr>
        <p:spPr bwMode="auto">
          <a:xfrm>
            <a:off x="5980113" y="5789613"/>
            <a:ext cx="239713" cy="242888"/>
          </a:xfrm>
          <a:custGeom>
            <a:avLst/>
            <a:gdLst>
              <a:gd name="T0" fmla="*/ 20 w 64"/>
              <a:gd name="T1" fmla="*/ 7 h 65"/>
              <a:gd name="T2" fmla="*/ 57 w 64"/>
              <a:gd name="T3" fmla="*/ 20 h 65"/>
              <a:gd name="T4" fmla="*/ 44 w 64"/>
              <a:gd name="T5" fmla="*/ 58 h 65"/>
              <a:gd name="T6" fmla="*/ 6 w 64"/>
              <a:gd name="T7" fmla="*/ 45 h 65"/>
              <a:gd name="T8" fmla="*/ 20 w 64"/>
              <a:gd name="T9" fmla="*/ 7 h 65"/>
            </a:gdLst>
            <a:ahLst/>
            <a:cxnLst>
              <a:cxn ang="0">
                <a:pos x="T0" y="T1"/>
              </a:cxn>
              <a:cxn ang="0">
                <a:pos x="T2" y="T3"/>
              </a:cxn>
              <a:cxn ang="0">
                <a:pos x="T4" y="T5"/>
              </a:cxn>
              <a:cxn ang="0">
                <a:pos x="T6" y="T7"/>
              </a:cxn>
              <a:cxn ang="0">
                <a:pos x="T8" y="T9"/>
              </a:cxn>
            </a:cxnLst>
            <a:rect l="0" t="0" r="r" b="b"/>
            <a:pathLst>
              <a:path w="64" h="65">
                <a:moveTo>
                  <a:pt x="20" y="7"/>
                </a:moveTo>
                <a:cubicBezTo>
                  <a:pt x="34" y="0"/>
                  <a:pt x="50" y="6"/>
                  <a:pt x="57" y="20"/>
                </a:cubicBezTo>
                <a:cubicBezTo>
                  <a:pt x="64" y="34"/>
                  <a:pt x="58" y="51"/>
                  <a:pt x="44" y="58"/>
                </a:cubicBezTo>
                <a:cubicBezTo>
                  <a:pt x="30" y="65"/>
                  <a:pt x="13" y="59"/>
                  <a:pt x="6" y="45"/>
                </a:cubicBezTo>
                <a:cubicBezTo>
                  <a:pt x="0" y="31"/>
                  <a:pt x="5" y="14"/>
                  <a:pt x="20" y="7"/>
                </a:cubicBezTo>
                <a:close/>
              </a:path>
            </a:pathLst>
          </a:custGeom>
          <a:solidFill>
            <a:srgbClr val="41A0DA">
              <a:alpha val="60000"/>
            </a:srgbClr>
          </a:solidFill>
          <a:ln>
            <a:noFill/>
          </a:ln>
        </p:spPr>
        <p:txBody>
          <a:bodyPr vert="horz" wrap="square" lIns="91440" tIns="45720" rIns="91440" bIns="45720" numCol="1" anchor="t" anchorCtr="0" compatLnSpc="1"/>
          <a:lstStyle/>
          <a:p>
            <a:endParaRPr lang="zh-CN" altLang="en-US"/>
          </a:p>
        </p:txBody>
      </p:sp>
      <p:sp>
        <p:nvSpPr>
          <p:cNvPr id="103" name="Freeform 314"/>
          <p:cNvSpPr/>
          <p:nvPr/>
        </p:nvSpPr>
        <p:spPr bwMode="auto">
          <a:xfrm>
            <a:off x="2316163" y="3302000"/>
            <a:ext cx="239713" cy="244475"/>
          </a:xfrm>
          <a:custGeom>
            <a:avLst/>
            <a:gdLst>
              <a:gd name="T0" fmla="*/ 20 w 64"/>
              <a:gd name="T1" fmla="*/ 7 h 65"/>
              <a:gd name="T2" fmla="*/ 57 w 64"/>
              <a:gd name="T3" fmla="*/ 20 h 65"/>
              <a:gd name="T4" fmla="*/ 44 w 64"/>
              <a:gd name="T5" fmla="*/ 58 h 65"/>
              <a:gd name="T6" fmla="*/ 6 w 64"/>
              <a:gd name="T7" fmla="*/ 45 h 65"/>
              <a:gd name="T8" fmla="*/ 20 w 64"/>
              <a:gd name="T9" fmla="*/ 7 h 65"/>
            </a:gdLst>
            <a:ahLst/>
            <a:cxnLst>
              <a:cxn ang="0">
                <a:pos x="T0" y="T1"/>
              </a:cxn>
              <a:cxn ang="0">
                <a:pos x="T2" y="T3"/>
              </a:cxn>
              <a:cxn ang="0">
                <a:pos x="T4" y="T5"/>
              </a:cxn>
              <a:cxn ang="0">
                <a:pos x="T6" y="T7"/>
              </a:cxn>
              <a:cxn ang="0">
                <a:pos x="T8" y="T9"/>
              </a:cxn>
            </a:cxnLst>
            <a:rect l="0" t="0" r="r" b="b"/>
            <a:pathLst>
              <a:path w="64" h="65">
                <a:moveTo>
                  <a:pt x="20" y="7"/>
                </a:moveTo>
                <a:cubicBezTo>
                  <a:pt x="34" y="0"/>
                  <a:pt x="51" y="6"/>
                  <a:pt x="57" y="20"/>
                </a:cubicBezTo>
                <a:cubicBezTo>
                  <a:pt x="64" y="34"/>
                  <a:pt x="58" y="51"/>
                  <a:pt x="44" y="58"/>
                </a:cubicBezTo>
                <a:cubicBezTo>
                  <a:pt x="30" y="65"/>
                  <a:pt x="13" y="59"/>
                  <a:pt x="6" y="45"/>
                </a:cubicBezTo>
                <a:cubicBezTo>
                  <a:pt x="0" y="31"/>
                  <a:pt x="6" y="14"/>
                  <a:pt x="20" y="7"/>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05" name="Freeform 315"/>
          <p:cNvSpPr/>
          <p:nvPr/>
        </p:nvSpPr>
        <p:spPr bwMode="auto">
          <a:xfrm>
            <a:off x="4378325" y="1066800"/>
            <a:ext cx="244475" cy="241300"/>
          </a:xfrm>
          <a:custGeom>
            <a:avLst/>
            <a:gdLst>
              <a:gd name="T0" fmla="*/ 45 w 65"/>
              <a:gd name="T1" fmla="*/ 6 h 64"/>
              <a:gd name="T2" fmla="*/ 7 w 65"/>
              <a:gd name="T3" fmla="*/ 20 h 64"/>
              <a:gd name="T4" fmla="*/ 20 w 65"/>
              <a:gd name="T5" fmla="*/ 57 h 64"/>
              <a:gd name="T6" fmla="*/ 58 w 65"/>
              <a:gd name="T7" fmla="*/ 44 h 64"/>
              <a:gd name="T8" fmla="*/ 45 w 65"/>
              <a:gd name="T9" fmla="*/ 6 h 64"/>
            </a:gdLst>
            <a:ahLst/>
            <a:cxnLst>
              <a:cxn ang="0">
                <a:pos x="T0" y="T1"/>
              </a:cxn>
              <a:cxn ang="0">
                <a:pos x="T2" y="T3"/>
              </a:cxn>
              <a:cxn ang="0">
                <a:pos x="T4" y="T5"/>
              </a:cxn>
              <a:cxn ang="0">
                <a:pos x="T6" y="T7"/>
              </a:cxn>
              <a:cxn ang="0">
                <a:pos x="T8" y="T9"/>
              </a:cxn>
            </a:cxnLst>
            <a:rect l="0" t="0" r="r" b="b"/>
            <a:pathLst>
              <a:path w="65" h="64">
                <a:moveTo>
                  <a:pt x="45" y="6"/>
                </a:moveTo>
                <a:cubicBezTo>
                  <a:pt x="31" y="0"/>
                  <a:pt x="14" y="6"/>
                  <a:pt x="7" y="20"/>
                </a:cubicBezTo>
                <a:cubicBezTo>
                  <a:pt x="0" y="34"/>
                  <a:pt x="6" y="51"/>
                  <a:pt x="20" y="57"/>
                </a:cubicBezTo>
                <a:cubicBezTo>
                  <a:pt x="34" y="64"/>
                  <a:pt x="51" y="58"/>
                  <a:pt x="58" y="44"/>
                </a:cubicBezTo>
                <a:cubicBezTo>
                  <a:pt x="65" y="30"/>
                  <a:pt x="59" y="13"/>
                  <a:pt x="45" y="6"/>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06" name="Freeform 316"/>
          <p:cNvSpPr/>
          <p:nvPr/>
        </p:nvSpPr>
        <p:spPr bwMode="auto">
          <a:xfrm>
            <a:off x="2982913" y="1870075"/>
            <a:ext cx="244475" cy="244475"/>
          </a:xfrm>
          <a:custGeom>
            <a:avLst/>
            <a:gdLst>
              <a:gd name="T0" fmla="*/ 45 w 65"/>
              <a:gd name="T1" fmla="*/ 7 h 65"/>
              <a:gd name="T2" fmla="*/ 7 w 65"/>
              <a:gd name="T3" fmla="*/ 20 h 65"/>
              <a:gd name="T4" fmla="*/ 20 w 65"/>
              <a:gd name="T5" fmla="*/ 58 h 65"/>
              <a:gd name="T6" fmla="*/ 58 w 65"/>
              <a:gd name="T7" fmla="*/ 45 h 65"/>
              <a:gd name="T8" fmla="*/ 45 w 65"/>
              <a:gd name="T9" fmla="*/ 7 h 65"/>
            </a:gdLst>
            <a:ahLst/>
            <a:cxnLst>
              <a:cxn ang="0">
                <a:pos x="T0" y="T1"/>
              </a:cxn>
              <a:cxn ang="0">
                <a:pos x="T2" y="T3"/>
              </a:cxn>
              <a:cxn ang="0">
                <a:pos x="T4" y="T5"/>
              </a:cxn>
              <a:cxn ang="0">
                <a:pos x="T6" y="T7"/>
              </a:cxn>
              <a:cxn ang="0">
                <a:pos x="T8" y="T9"/>
              </a:cxn>
            </a:cxnLst>
            <a:rect l="0" t="0" r="r" b="b"/>
            <a:pathLst>
              <a:path w="65" h="65">
                <a:moveTo>
                  <a:pt x="45" y="7"/>
                </a:moveTo>
                <a:cubicBezTo>
                  <a:pt x="31" y="0"/>
                  <a:pt x="14" y="6"/>
                  <a:pt x="7" y="20"/>
                </a:cubicBezTo>
                <a:cubicBezTo>
                  <a:pt x="0" y="34"/>
                  <a:pt x="6" y="51"/>
                  <a:pt x="20" y="58"/>
                </a:cubicBezTo>
                <a:cubicBezTo>
                  <a:pt x="34" y="65"/>
                  <a:pt x="51" y="59"/>
                  <a:pt x="58" y="45"/>
                </a:cubicBezTo>
                <a:cubicBezTo>
                  <a:pt x="65" y="31"/>
                  <a:pt x="59" y="14"/>
                  <a:pt x="45" y="7"/>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07" name="Freeform 317"/>
          <p:cNvSpPr/>
          <p:nvPr/>
        </p:nvSpPr>
        <p:spPr bwMode="auto">
          <a:xfrm>
            <a:off x="7577138" y="5541963"/>
            <a:ext cx="239713" cy="239713"/>
          </a:xfrm>
          <a:custGeom>
            <a:avLst/>
            <a:gdLst>
              <a:gd name="T0" fmla="*/ 20 w 64"/>
              <a:gd name="T1" fmla="*/ 57 h 64"/>
              <a:gd name="T2" fmla="*/ 58 w 64"/>
              <a:gd name="T3" fmla="*/ 44 h 64"/>
              <a:gd name="T4" fmla="*/ 44 w 64"/>
              <a:gd name="T5" fmla="*/ 7 h 64"/>
              <a:gd name="T6" fmla="*/ 7 w 64"/>
              <a:gd name="T7" fmla="*/ 20 h 64"/>
              <a:gd name="T8" fmla="*/ 20 w 64"/>
              <a:gd name="T9" fmla="*/ 57 h 64"/>
            </a:gdLst>
            <a:ahLst/>
            <a:cxnLst>
              <a:cxn ang="0">
                <a:pos x="T0" y="T1"/>
              </a:cxn>
              <a:cxn ang="0">
                <a:pos x="T2" y="T3"/>
              </a:cxn>
              <a:cxn ang="0">
                <a:pos x="T4" y="T5"/>
              </a:cxn>
              <a:cxn ang="0">
                <a:pos x="T6" y="T7"/>
              </a:cxn>
              <a:cxn ang="0">
                <a:pos x="T8" y="T9"/>
              </a:cxn>
            </a:cxnLst>
            <a:rect l="0" t="0" r="r" b="b"/>
            <a:pathLst>
              <a:path w="64" h="64">
                <a:moveTo>
                  <a:pt x="20" y="57"/>
                </a:moveTo>
                <a:cubicBezTo>
                  <a:pt x="34" y="64"/>
                  <a:pt x="51" y="58"/>
                  <a:pt x="58" y="44"/>
                </a:cubicBezTo>
                <a:cubicBezTo>
                  <a:pt x="64" y="30"/>
                  <a:pt x="59" y="13"/>
                  <a:pt x="44" y="7"/>
                </a:cubicBezTo>
                <a:cubicBezTo>
                  <a:pt x="30" y="0"/>
                  <a:pt x="14" y="6"/>
                  <a:pt x="7" y="20"/>
                </a:cubicBezTo>
                <a:cubicBezTo>
                  <a:pt x="0" y="34"/>
                  <a:pt x="6" y="51"/>
                  <a:pt x="20" y="57"/>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08" name="Freeform 318"/>
          <p:cNvSpPr/>
          <p:nvPr/>
        </p:nvSpPr>
        <p:spPr bwMode="auto">
          <a:xfrm>
            <a:off x="8972550" y="4735513"/>
            <a:ext cx="242888" cy="239713"/>
          </a:xfrm>
          <a:custGeom>
            <a:avLst/>
            <a:gdLst>
              <a:gd name="T0" fmla="*/ 20 w 65"/>
              <a:gd name="T1" fmla="*/ 58 h 64"/>
              <a:gd name="T2" fmla="*/ 58 w 65"/>
              <a:gd name="T3" fmla="*/ 44 h 64"/>
              <a:gd name="T4" fmla="*/ 45 w 65"/>
              <a:gd name="T5" fmla="*/ 7 h 64"/>
              <a:gd name="T6" fmla="*/ 7 w 65"/>
              <a:gd name="T7" fmla="*/ 20 h 64"/>
              <a:gd name="T8" fmla="*/ 20 w 65"/>
              <a:gd name="T9" fmla="*/ 58 h 64"/>
            </a:gdLst>
            <a:ahLst/>
            <a:cxnLst>
              <a:cxn ang="0">
                <a:pos x="T0" y="T1"/>
              </a:cxn>
              <a:cxn ang="0">
                <a:pos x="T2" y="T3"/>
              </a:cxn>
              <a:cxn ang="0">
                <a:pos x="T4" y="T5"/>
              </a:cxn>
              <a:cxn ang="0">
                <a:pos x="T6" y="T7"/>
              </a:cxn>
              <a:cxn ang="0">
                <a:pos x="T8" y="T9"/>
              </a:cxn>
            </a:cxnLst>
            <a:rect l="0" t="0" r="r" b="b"/>
            <a:pathLst>
              <a:path w="65" h="64">
                <a:moveTo>
                  <a:pt x="20" y="58"/>
                </a:moveTo>
                <a:cubicBezTo>
                  <a:pt x="34" y="64"/>
                  <a:pt x="51" y="59"/>
                  <a:pt x="58" y="44"/>
                </a:cubicBezTo>
                <a:cubicBezTo>
                  <a:pt x="65" y="30"/>
                  <a:pt x="59" y="14"/>
                  <a:pt x="45" y="7"/>
                </a:cubicBezTo>
                <a:cubicBezTo>
                  <a:pt x="31" y="0"/>
                  <a:pt x="14" y="6"/>
                  <a:pt x="7" y="20"/>
                </a:cubicBezTo>
                <a:cubicBezTo>
                  <a:pt x="0" y="34"/>
                  <a:pt x="6" y="51"/>
                  <a:pt x="20" y="58"/>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09" name="Freeform 319"/>
          <p:cNvSpPr/>
          <p:nvPr/>
        </p:nvSpPr>
        <p:spPr bwMode="auto">
          <a:xfrm>
            <a:off x="4378325" y="5541963"/>
            <a:ext cx="244475" cy="239713"/>
          </a:xfrm>
          <a:custGeom>
            <a:avLst/>
            <a:gdLst>
              <a:gd name="T0" fmla="*/ 45 w 65"/>
              <a:gd name="T1" fmla="*/ 57 h 64"/>
              <a:gd name="T2" fmla="*/ 7 w 65"/>
              <a:gd name="T3" fmla="*/ 44 h 64"/>
              <a:gd name="T4" fmla="*/ 20 w 65"/>
              <a:gd name="T5" fmla="*/ 7 h 64"/>
              <a:gd name="T6" fmla="*/ 58 w 65"/>
              <a:gd name="T7" fmla="*/ 20 h 64"/>
              <a:gd name="T8" fmla="*/ 45 w 65"/>
              <a:gd name="T9" fmla="*/ 57 h 64"/>
            </a:gdLst>
            <a:ahLst/>
            <a:cxnLst>
              <a:cxn ang="0">
                <a:pos x="T0" y="T1"/>
              </a:cxn>
              <a:cxn ang="0">
                <a:pos x="T2" y="T3"/>
              </a:cxn>
              <a:cxn ang="0">
                <a:pos x="T4" y="T5"/>
              </a:cxn>
              <a:cxn ang="0">
                <a:pos x="T6" y="T7"/>
              </a:cxn>
              <a:cxn ang="0">
                <a:pos x="T8" y="T9"/>
              </a:cxn>
            </a:cxnLst>
            <a:rect l="0" t="0" r="r" b="b"/>
            <a:pathLst>
              <a:path w="65" h="64">
                <a:moveTo>
                  <a:pt x="45" y="57"/>
                </a:moveTo>
                <a:cubicBezTo>
                  <a:pt x="31" y="64"/>
                  <a:pt x="14" y="58"/>
                  <a:pt x="7" y="44"/>
                </a:cubicBezTo>
                <a:cubicBezTo>
                  <a:pt x="0" y="30"/>
                  <a:pt x="6" y="13"/>
                  <a:pt x="20" y="7"/>
                </a:cubicBezTo>
                <a:cubicBezTo>
                  <a:pt x="34" y="0"/>
                  <a:pt x="51" y="6"/>
                  <a:pt x="58" y="20"/>
                </a:cubicBezTo>
                <a:cubicBezTo>
                  <a:pt x="65" y="34"/>
                  <a:pt x="59" y="51"/>
                  <a:pt x="45" y="57"/>
                </a:cubicBezTo>
                <a:close/>
              </a:path>
            </a:pathLst>
          </a:custGeom>
          <a:solidFill>
            <a:srgbClr val="41A0DA">
              <a:alpha val="60000"/>
            </a:srgbClr>
          </a:solidFill>
          <a:ln>
            <a:noFill/>
          </a:ln>
        </p:spPr>
        <p:txBody>
          <a:bodyPr vert="horz" wrap="square" lIns="91440" tIns="45720" rIns="91440" bIns="45720" numCol="1" anchor="t" anchorCtr="0" compatLnSpc="1"/>
          <a:lstStyle/>
          <a:p>
            <a:endParaRPr lang="zh-CN" altLang="en-US"/>
          </a:p>
        </p:txBody>
      </p:sp>
      <p:sp>
        <p:nvSpPr>
          <p:cNvPr id="110" name="Freeform 320"/>
          <p:cNvSpPr/>
          <p:nvPr/>
        </p:nvSpPr>
        <p:spPr bwMode="auto">
          <a:xfrm>
            <a:off x="2982913" y="4735513"/>
            <a:ext cx="244475" cy="239713"/>
          </a:xfrm>
          <a:custGeom>
            <a:avLst/>
            <a:gdLst>
              <a:gd name="T0" fmla="*/ 45 w 65"/>
              <a:gd name="T1" fmla="*/ 58 h 64"/>
              <a:gd name="T2" fmla="*/ 7 w 65"/>
              <a:gd name="T3" fmla="*/ 44 h 64"/>
              <a:gd name="T4" fmla="*/ 20 w 65"/>
              <a:gd name="T5" fmla="*/ 7 h 64"/>
              <a:gd name="T6" fmla="*/ 58 w 65"/>
              <a:gd name="T7" fmla="*/ 20 h 64"/>
              <a:gd name="T8" fmla="*/ 45 w 65"/>
              <a:gd name="T9" fmla="*/ 58 h 64"/>
            </a:gdLst>
            <a:ahLst/>
            <a:cxnLst>
              <a:cxn ang="0">
                <a:pos x="T0" y="T1"/>
              </a:cxn>
              <a:cxn ang="0">
                <a:pos x="T2" y="T3"/>
              </a:cxn>
              <a:cxn ang="0">
                <a:pos x="T4" y="T5"/>
              </a:cxn>
              <a:cxn ang="0">
                <a:pos x="T6" y="T7"/>
              </a:cxn>
              <a:cxn ang="0">
                <a:pos x="T8" y="T9"/>
              </a:cxn>
            </a:cxnLst>
            <a:rect l="0" t="0" r="r" b="b"/>
            <a:pathLst>
              <a:path w="65" h="64">
                <a:moveTo>
                  <a:pt x="45" y="58"/>
                </a:moveTo>
                <a:cubicBezTo>
                  <a:pt x="31" y="64"/>
                  <a:pt x="14" y="59"/>
                  <a:pt x="7" y="44"/>
                </a:cubicBezTo>
                <a:cubicBezTo>
                  <a:pt x="0" y="30"/>
                  <a:pt x="6" y="14"/>
                  <a:pt x="20" y="7"/>
                </a:cubicBezTo>
                <a:cubicBezTo>
                  <a:pt x="34" y="0"/>
                  <a:pt x="51" y="6"/>
                  <a:pt x="58" y="20"/>
                </a:cubicBezTo>
                <a:cubicBezTo>
                  <a:pt x="65" y="34"/>
                  <a:pt x="59" y="51"/>
                  <a:pt x="45" y="58"/>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11" name="Freeform 321"/>
          <p:cNvSpPr/>
          <p:nvPr/>
        </p:nvSpPr>
        <p:spPr bwMode="auto">
          <a:xfrm>
            <a:off x="7262813" y="2747963"/>
            <a:ext cx="239713" cy="239713"/>
          </a:xfrm>
          <a:custGeom>
            <a:avLst/>
            <a:gdLst>
              <a:gd name="T0" fmla="*/ 20 w 64"/>
              <a:gd name="T1" fmla="*/ 7 h 64"/>
              <a:gd name="T2" fmla="*/ 57 w 64"/>
              <a:gd name="T3" fmla="*/ 20 h 64"/>
              <a:gd name="T4" fmla="*/ 44 w 64"/>
              <a:gd name="T5" fmla="*/ 58 h 64"/>
              <a:gd name="T6" fmla="*/ 7 w 64"/>
              <a:gd name="T7" fmla="*/ 44 h 64"/>
              <a:gd name="T8" fmla="*/ 20 w 64"/>
              <a:gd name="T9" fmla="*/ 7 h 64"/>
            </a:gdLst>
            <a:ahLst/>
            <a:cxnLst>
              <a:cxn ang="0">
                <a:pos x="T0" y="T1"/>
              </a:cxn>
              <a:cxn ang="0">
                <a:pos x="T2" y="T3"/>
              </a:cxn>
              <a:cxn ang="0">
                <a:pos x="T4" y="T5"/>
              </a:cxn>
              <a:cxn ang="0">
                <a:pos x="T6" y="T7"/>
              </a:cxn>
              <a:cxn ang="0">
                <a:pos x="T8" y="T9"/>
              </a:cxn>
            </a:cxnLst>
            <a:rect l="0" t="0" r="r" b="b"/>
            <a:pathLst>
              <a:path w="64" h="64">
                <a:moveTo>
                  <a:pt x="20" y="7"/>
                </a:moveTo>
                <a:cubicBezTo>
                  <a:pt x="34" y="0"/>
                  <a:pt x="51" y="6"/>
                  <a:pt x="57" y="20"/>
                </a:cubicBezTo>
                <a:cubicBezTo>
                  <a:pt x="64" y="34"/>
                  <a:pt x="58" y="51"/>
                  <a:pt x="44" y="58"/>
                </a:cubicBezTo>
                <a:cubicBezTo>
                  <a:pt x="30" y="64"/>
                  <a:pt x="13" y="59"/>
                  <a:pt x="7" y="44"/>
                </a:cubicBezTo>
                <a:cubicBezTo>
                  <a:pt x="0" y="30"/>
                  <a:pt x="6" y="13"/>
                  <a:pt x="20" y="7"/>
                </a:cubicBezTo>
                <a:close/>
              </a:path>
            </a:pathLst>
          </a:custGeom>
          <a:solidFill>
            <a:srgbClr val="41A0DA">
              <a:alpha val="60000"/>
            </a:srgbClr>
          </a:solidFill>
          <a:ln>
            <a:noFill/>
          </a:ln>
        </p:spPr>
        <p:txBody>
          <a:bodyPr vert="horz" wrap="square" lIns="91440" tIns="45720" rIns="91440" bIns="45720" numCol="1" anchor="t" anchorCtr="0" compatLnSpc="1"/>
          <a:lstStyle/>
          <a:p>
            <a:endParaRPr lang="zh-CN" altLang="en-US"/>
          </a:p>
        </p:txBody>
      </p:sp>
      <p:sp>
        <p:nvSpPr>
          <p:cNvPr id="112" name="Freeform 322"/>
          <p:cNvSpPr/>
          <p:nvPr/>
        </p:nvSpPr>
        <p:spPr bwMode="auto">
          <a:xfrm>
            <a:off x="6054725" y="4570413"/>
            <a:ext cx="242888" cy="239713"/>
          </a:xfrm>
          <a:custGeom>
            <a:avLst/>
            <a:gdLst>
              <a:gd name="T0" fmla="*/ 20 w 65"/>
              <a:gd name="T1" fmla="*/ 7 h 64"/>
              <a:gd name="T2" fmla="*/ 58 w 65"/>
              <a:gd name="T3" fmla="*/ 20 h 64"/>
              <a:gd name="T4" fmla="*/ 45 w 65"/>
              <a:gd name="T5" fmla="*/ 57 h 64"/>
              <a:gd name="T6" fmla="*/ 7 w 65"/>
              <a:gd name="T7" fmla="*/ 44 h 64"/>
              <a:gd name="T8" fmla="*/ 20 w 65"/>
              <a:gd name="T9" fmla="*/ 7 h 64"/>
            </a:gdLst>
            <a:ahLst/>
            <a:cxnLst>
              <a:cxn ang="0">
                <a:pos x="T0" y="T1"/>
              </a:cxn>
              <a:cxn ang="0">
                <a:pos x="T2" y="T3"/>
              </a:cxn>
              <a:cxn ang="0">
                <a:pos x="T4" y="T5"/>
              </a:cxn>
              <a:cxn ang="0">
                <a:pos x="T6" y="T7"/>
              </a:cxn>
              <a:cxn ang="0">
                <a:pos x="T8" y="T9"/>
              </a:cxn>
            </a:cxnLst>
            <a:rect l="0" t="0" r="r" b="b"/>
            <a:pathLst>
              <a:path w="65" h="64">
                <a:moveTo>
                  <a:pt x="20" y="7"/>
                </a:moveTo>
                <a:cubicBezTo>
                  <a:pt x="34" y="0"/>
                  <a:pt x="51" y="6"/>
                  <a:pt x="58" y="20"/>
                </a:cubicBezTo>
                <a:cubicBezTo>
                  <a:pt x="65" y="34"/>
                  <a:pt x="59" y="51"/>
                  <a:pt x="45" y="57"/>
                </a:cubicBezTo>
                <a:cubicBezTo>
                  <a:pt x="31" y="64"/>
                  <a:pt x="14" y="58"/>
                  <a:pt x="7" y="44"/>
                </a:cubicBezTo>
                <a:cubicBezTo>
                  <a:pt x="0" y="30"/>
                  <a:pt x="6" y="13"/>
                  <a:pt x="20" y="7"/>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113" name="Freeform 323"/>
          <p:cNvSpPr/>
          <p:nvPr/>
        </p:nvSpPr>
        <p:spPr bwMode="auto">
          <a:xfrm>
            <a:off x="3387725" y="3246438"/>
            <a:ext cx="244475" cy="244475"/>
          </a:xfrm>
          <a:custGeom>
            <a:avLst/>
            <a:gdLst>
              <a:gd name="T0" fmla="*/ 20 w 65"/>
              <a:gd name="T1" fmla="*/ 58 h 65"/>
              <a:gd name="T2" fmla="*/ 58 w 65"/>
              <a:gd name="T3" fmla="*/ 45 h 65"/>
              <a:gd name="T4" fmla="*/ 45 w 65"/>
              <a:gd name="T5" fmla="*/ 7 h 65"/>
              <a:gd name="T6" fmla="*/ 7 w 65"/>
              <a:gd name="T7" fmla="*/ 20 h 65"/>
              <a:gd name="T8" fmla="*/ 20 w 65"/>
              <a:gd name="T9" fmla="*/ 58 h 65"/>
            </a:gdLst>
            <a:ahLst/>
            <a:cxnLst>
              <a:cxn ang="0">
                <a:pos x="T0" y="T1"/>
              </a:cxn>
              <a:cxn ang="0">
                <a:pos x="T2" y="T3"/>
              </a:cxn>
              <a:cxn ang="0">
                <a:pos x="T4" y="T5"/>
              </a:cxn>
              <a:cxn ang="0">
                <a:pos x="T6" y="T7"/>
              </a:cxn>
              <a:cxn ang="0">
                <a:pos x="T8" y="T9"/>
              </a:cxn>
            </a:cxnLst>
            <a:rect l="0" t="0" r="r" b="b"/>
            <a:pathLst>
              <a:path w="65" h="65">
                <a:moveTo>
                  <a:pt x="20" y="58"/>
                </a:moveTo>
                <a:cubicBezTo>
                  <a:pt x="34" y="65"/>
                  <a:pt x="51" y="59"/>
                  <a:pt x="58" y="45"/>
                </a:cubicBezTo>
                <a:cubicBezTo>
                  <a:pt x="65" y="31"/>
                  <a:pt x="59" y="14"/>
                  <a:pt x="45" y="7"/>
                </a:cubicBezTo>
                <a:cubicBezTo>
                  <a:pt x="31" y="0"/>
                  <a:pt x="14" y="6"/>
                  <a:pt x="7" y="20"/>
                </a:cubicBezTo>
                <a:cubicBezTo>
                  <a:pt x="0" y="34"/>
                  <a:pt x="6" y="51"/>
                  <a:pt x="20" y="58"/>
                </a:cubicBezTo>
                <a:close/>
              </a:path>
            </a:pathLst>
          </a:custGeom>
          <a:solidFill>
            <a:schemeClr val="tx2">
              <a:lumMod val="60000"/>
              <a:lumOff val="40000"/>
              <a:alpha val="60000"/>
            </a:schemeClr>
          </a:solidFill>
          <a:ln>
            <a:noFill/>
          </a:ln>
        </p:spPr>
        <p:txBody>
          <a:bodyPr vert="horz" wrap="square" lIns="91440" tIns="45720" rIns="91440" bIns="45720" numCol="1" anchor="t" anchorCtr="0" compatLnSpc="1"/>
          <a:lstStyle/>
          <a:p>
            <a:endParaRPr lang="zh-CN" altLang="en-US"/>
          </a:p>
        </p:txBody>
      </p:sp>
      <p:sp>
        <p:nvSpPr>
          <p:cNvPr id="4102" name="Oval 283"/>
          <p:cNvSpPr>
            <a:spLocks noChangeArrowheads="1"/>
          </p:cNvSpPr>
          <p:nvPr/>
        </p:nvSpPr>
        <p:spPr bwMode="auto">
          <a:xfrm>
            <a:off x="4152900" y="1397000"/>
            <a:ext cx="1192213" cy="1189038"/>
          </a:xfrm>
          <a:prstGeom prst="ellipse">
            <a:avLst/>
          </a:prstGeom>
          <a:solidFill>
            <a:schemeClr val="tx2">
              <a:lumMod val="60000"/>
              <a:lumOff val="40000"/>
              <a:alpha val="40000"/>
            </a:schemeClr>
          </a:solid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26" name="Oval 224"/>
          <p:cNvSpPr>
            <a:spLocks noChangeArrowheads="1"/>
          </p:cNvSpPr>
          <p:nvPr/>
        </p:nvSpPr>
        <p:spPr bwMode="auto">
          <a:xfrm>
            <a:off x="7896225" y="1873250"/>
            <a:ext cx="1035050" cy="1039813"/>
          </a:xfrm>
          <a:prstGeom prst="ellipse">
            <a:avLst/>
          </a:prstGeom>
          <a:solidFill>
            <a:schemeClr val="tx2">
              <a:lumMod val="60000"/>
              <a:lumOff val="40000"/>
              <a:alpha val="40000"/>
            </a:schemeClr>
          </a:solidFill>
          <a:ln>
            <a:noFill/>
          </a:ln>
          <a:effectLst>
            <a:outerShdw blurRad="254000" algn="ctr" rotWithShape="0">
              <a:srgbClr val="53D2FF">
                <a:alpha val="80000"/>
              </a:srgb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Oval 270"/>
          <p:cNvSpPr>
            <a:spLocks noChangeArrowheads="1"/>
          </p:cNvSpPr>
          <p:nvPr/>
        </p:nvSpPr>
        <p:spPr bwMode="auto">
          <a:xfrm>
            <a:off x="3208338" y="3568700"/>
            <a:ext cx="1031875" cy="1031875"/>
          </a:xfrm>
          <a:prstGeom prst="ellipse">
            <a:avLst/>
          </a:prstGeom>
          <a:solidFill>
            <a:schemeClr val="tx2">
              <a:lumMod val="60000"/>
              <a:lumOff val="40000"/>
              <a:alpha val="40000"/>
            </a:schemeClr>
          </a:solid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85" name="Oval 271"/>
          <p:cNvSpPr>
            <a:spLocks noChangeArrowheads="1"/>
          </p:cNvSpPr>
          <p:nvPr/>
        </p:nvSpPr>
        <p:spPr bwMode="auto">
          <a:xfrm>
            <a:off x="6935788" y="4149725"/>
            <a:ext cx="1189038" cy="1189038"/>
          </a:xfrm>
          <a:prstGeom prst="ellipse">
            <a:avLst/>
          </a:prstGeom>
          <a:solidFill>
            <a:schemeClr val="tx2">
              <a:lumMod val="60000"/>
              <a:lumOff val="40000"/>
              <a:alpha val="40000"/>
            </a:schemeClr>
          </a:solidFill>
          <a:ln>
            <a:noFill/>
          </a:ln>
          <a:effectLst>
            <a:outerShdw blurRad="254000" algn="ctr" rotWithShape="0">
              <a:srgbClr val="53D2FF">
                <a:alpha val="80000"/>
              </a:srgb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Oval 272"/>
          <p:cNvSpPr>
            <a:spLocks noChangeArrowheads="1"/>
          </p:cNvSpPr>
          <p:nvPr/>
        </p:nvSpPr>
        <p:spPr bwMode="auto">
          <a:xfrm>
            <a:off x="5351145" y="2682875"/>
            <a:ext cx="1500505" cy="1503680"/>
          </a:xfrm>
          <a:prstGeom prst="ellipse">
            <a:avLst/>
          </a:prstGeom>
          <a:solidFill>
            <a:schemeClr val="tx2">
              <a:lumMod val="60000"/>
              <a:lumOff val="40000"/>
              <a:alpha val="60000"/>
            </a:schemeClr>
          </a:solidFill>
          <a:ln>
            <a:noFill/>
          </a:ln>
          <a:effectLst>
            <a:outerShdw blurRad="254000" algn="ctr" rotWithShape="0">
              <a:srgbClr val="53D2FF">
                <a:alpha val="80000"/>
              </a:srgbClr>
            </a:outerShdw>
          </a:effectLst>
        </p:spPr>
        <p:txBody>
          <a:bodyPr vert="horz" wrap="square" lIns="91440" tIns="45720" rIns="91440" bIns="45720" numCol="1" anchor="t" anchorCtr="0" compatLnSpc="1"/>
          <a:lstStyle/>
          <a:p>
            <a:endParaRPr lang="zh-CN" altLang="en-US"/>
          </a:p>
        </p:txBody>
      </p:sp>
      <p:sp>
        <p:nvSpPr>
          <p:cNvPr id="124" name="Freeform 273"/>
          <p:cNvSpPr/>
          <p:nvPr/>
        </p:nvSpPr>
        <p:spPr bwMode="auto">
          <a:xfrm>
            <a:off x="5673725" y="2895600"/>
            <a:ext cx="855980" cy="1290955"/>
          </a:xfrm>
          <a:custGeom>
            <a:avLst/>
            <a:gdLst/>
            <a:ahLst/>
            <a:cxnLst/>
            <a:rect l="l" t="t" r="r" b="b"/>
            <a:pathLst>
              <a:path w="855663" h="1290638">
                <a:moveTo>
                  <a:pt x="434826" y="0"/>
                </a:moveTo>
                <a:cubicBezTo>
                  <a:pt x="627732" y="0"/>
                  <a:pt x="714811" y="206642"/>
                  <a:pt x="720634" y="315721"/>
                </a:cubicBezTo>
                <a:cubicBezTo>
                  <a:pt x="732473" y="324657"/>
                  <a:pt x="737178" y="354237"/>
                  <a:pt x="730727" y="386617"/>
                </a:cubicBezTo>
                <a:cubicBezTo>
                  <a:pt x="719535" y="424066"/>
                  <a:pt x="700881" y="454025"/>
                  <a:pt x="685959" y="450280"/>
                </a:cubicBezTo>
                <a:lnTo>
                  <a:pt x="683822" y="448757"/>
                </a:lnTo>
                <a:cubicBezTo>
                  <a:pt x="661814" y="540743"/>
                  <a:pt x="604561" y="626224"/>
                  <a:pt x="531812" y="670006"/>
                </a:cubicBezTo>
                <a:cubicBezTo>
                  <a:pt x="531812" y="692082"/>
                  <a:pt x="531812" y="709754"/>
                  <a:pt x="531812" y="723900"/>
                </a:cubicBezTo>
                <a:lnTo>
                  <a:pt x="600075" y="792163"/>
                </a:lnTo>
                <a:lnTo>
                  <a:pt x="602863" y="824829"/>
                </a:lnTo>
                <a:cubicBezTo>
                  <a:pt x="634604" y="837965"/>
                  <a:pt x="669347" y="857145"/>
                  <a:pt x="709300" y="882218"/>
                </a:cubicBezTo>
                <a:cubicBezTo>
                  <a:pt x="784358" y="927182"/>
                  <a:pt x="814381" y="1032097"/>
                  <a:pt x="855663" y="1155747"/>
                </a:cubicBezTo>
                <a:cubicBezTo>
                  <a:pt x="735570" y="1238181"/>
                  <a:pt x="585454" y="1290638"/>
                  <a:pt x="427831" y="1290638"/>
                </a:cubicBezTo>
                <a:cubicBezTo>
                  <a:pt x="266456" y="1290638"/>
                  <a:pt x="120093" y="1238181"/>
                  <a:pt x="0" y="1155747"/>
                </a:cubicBezTo>
                <a:cubicBezTo>
                  <a:pt x="41282" y="1032097"/>
                  <a:pt x="71305" y="930929"/>
                  <a:pt x="146363" y="882218"/>
                </a:cubicBezTo>
                <a:cubicBezTo>
                  <a:pt x="185694" y="856809"/>
                  <a:pt x="220034" y="837451"/>
                  <a:pt x="251670" y="824283"/>
                </a:cubicBezTo>
                <a:lnTo>
                  <a:pt x="255587" y="792163"/>
                </a:lnTo>
                <a:lnTo>
                  <a:pt x="319087" y="723900"/>
                </a:lnTo>
                <a:lnTo>
                  <a:pt x="322262" y="725824"/>
                </a:lnTo>
                <a:lnTo>
                  <a:pt x="322262" y="668916"/>
                </a:lnTo>
                <a:cubicBezTo>
                  <a:pt x="250231" y="624845"/>
                  <a:pt x="193615" y="539912"/>
                  <a:pt x="169597" y="449053"/>
                </a:cubicBezTo>
                <a:lnTo>
                  <a:pt x="168116" y="450280"/>
                </a:lnTo>
                <a:cubicBezTo>
                  <a:pt x="153193" y="454025"/>
                  <a:pt x="130810" y="424066"/>
                  <a:pt x="123348" y="386617"/>
                </a:cubicBezTo>
                <a:cubicBezTo>
                  <a:pt x="116900" y="354255"/>
                  <a:pt x="121596" y="324690"/>
                  <a:pt x="133424" y="315735"/>
                </a:cubicBezTo>
                <a:cubicBezTo>
                  <a:pt x="125519" y="185658"/>
                  <a:pt x="225429" y="0"/>
                  <a:pt x="434826" y="0"/>
                </a:cubicBezTo>
                <a:close/>
              </a:path>
            </a:pathLst>
          </a:custGeom>
          <a:solidFill>
            <a:schemeClr val="bg1"/>
          </a:solidFill>
          <a:ln>
            <a:noFill/>
          </a:ln>
          <a:effectLst>
            <a:outerShdw blurRad="177800" dist="101600" dir="2700000" algn="tl" rotWithShape="0">
              <a:prstClr val="black">
                <a:alpha val="32000"/>
              </a:prstClr>
            </a:outerShdw>
          </a:effectLst>
        </p:spPr>
        <p:txBody>
          <a:bodyPr vert="horz" wrap="square" lIns="91440" tIns="45720" rIns="91440" bIns="45720" numCol="1" anchor="t" anchorCtr="0" compatLnSpc="1"/>
          <a:lstStyle/>
          <a:p>
            <a:endParaRPr lang="zh-CN" altLang="en-US"/>
          </a:p>
        </p:txBody>
      </p:sp>
      <p:sp>
        <p:nvSpPr>
          <p:cNvPr id="114" name="矩形 113"/>
          <p:cNvSpPr/>
          <p:nvPr/>
        </p:nvSpPr>
        <p:spPr>
          <a:xfrm>
            <a:off x="1237422" y="714356"/>
            <a:ext cx="2560955" cy="453457"/>
          </a:xfrm>
          <a:prstGeom prst="rect">
            <a:avLst/>
          </a:prstGeom>
        </p:spPr>
        <p:txBody>
          <a:bodyPr wrap="square">
            <a:spAutoFit/>
          </a:bodyPr>
          <a:lstStyle/>
          <a:p>
            <a:pPr>
              <a:lnSpc>
                <a:spcPct val="130000"/>
              </a:lnSpc>
            </a:pPr>
            <a:r>
              <a:rPr lang="zh-CN" altLang="en-US" sz="2000" b="1" dirty="0">
                <a:latin typeface="微软雅黑" panose="020B0503020204020204" pitchFamily="34" charset="-122"/>
                <a:ea typeface="微软雅黑" panose="020B0503020204020204" pitchFamily="34" charset="-122"/>
              </a:rPr>
              <a:t>战略合作伙伴</a:t>
            </a:r>
            <a:endParaRPr lang="zh-CN" altLang="en-US" sz="2000" b="1" dirty="0">
              <a:latin typeface="微软雅黑" panose="020B0503020204020204" pitchFamily="34" charset="-122"/>
              <a:ea typeface="微软雅黑" panose="020B0503020204020204" pitchFamily="34" charset="-122"/>
            </a:endParaRPr>
          </a:p>
        </p:txBody>
      </p:sp>
      <p:pic>
        <p:nvPicPr>
          <p:cNvPr id="115" name="Picture 1" descr="D:\用户目录\我的文档\Tencent Files\3227735287\Image\27an%l{(layhbg@usa)[)r4.jpg"/>
          <p:cNvPicPr>
            <a:picLocks noChangeAspect="1" noChangeArrowheads="1"/>
          </p:cNvPicPr>
          <p:nvPr/>
        </p:nvPicPr>
        <p:blipFill>
          <a:blip r:embed="rId1"/>
          <a:stretch>
            <a:fillRect/>
          </a:stretch>
        </p:blipFill>
        <p:spPr bwMode="auto">
          <a:xfrm>
            <a:off x="3380563" y="3714752"/>
            <a:ext cx="682422" cy="642942"/>
          </a:xfrm>
          <a:prstGeom prst="rect">
            <a:avLst/>
          </a:prstGeom>
          <a:noFill/>
          <a:ln>
            <a:noFill/>
          </a:ln>
        </p:spPr>
      </p:pic>
      <p:pic>
        <p:nvPicPr>
          <p:cNvPr id="119811" name="Picture 3" descr="D:\用户目录\我的文档\Tencent Files\3227735287\Image\19y7}wt5[x7i`m3ayot]o~r.jpg"/>
          <p:cNvPicPr>
            <a:picLocks noChangeAspect="1" noChangeArrowheads="1"/>
          </p:cNvPicPr>
          <p:nvPr/>
        </p:nvPicPr>
        <p:blipFill>
          <a:blip r:embed="rId2"/>
          <a:srcRect/>
          <a:stretch>
            <a:fillRect/>
          </a:stretch>
        </p:blipFill>
        <p:spPr bwMode="auto">
          <a:xfrm>
            <a:off x="7166776" y="4357694"/>
            <a:ext cx="785818" cy="857256"/>
          </a:xfrm>
          <a:prstGeom prst="rect">
            <a:avLst/>
          </a:prstGeom>
          <a:noFill/>
        </p:spPr>
      </p:pic>
      <p:sp>
        <p:nvSpPr>
          <p:cNvPr id="119812" name="AutoShape 4" descr="D:\用户目录\我的文档\Tencent Files\3227735287\Image\l_gfzcxy4g;wop@[i~4nv.jpg"/>
          <p:cNvSpPr>
            <a:spLocks noChangeAspect="1" noChangeArrowheads="1"/>
          </p:cNvSpPr>
          <p:nvPr/>
        </p:nvSpPr>
        <p:spPr bwMode="auto">
          <a:xfrm>
            <a:off x="0" y="0"/>
            <a:ext cx="304800" cy="304800"/>
          </a:xfrm>
          <a:prstGeom prst="rect">
            <a:avLst/>
          </a:prstGeom>
          <a:noFill/>
        </p:spPr>
        <p:txBody>
          <a:bodyPr vert="horz" wrap="square" lIns="91440" tIns="45720" rIns="91440" bIns="45720" numCol="1" anchor="t" anchorCtr="0" compatLnSpc="1"/>
          <a:lstStyle/>
          <a:p>
            <a:endParaRPr lang="zh-CN" altLang="en-US"/>
          </a:p>
        </p:txBody>
      </p:sp>
      <p:sp>
        <p:nvSpPr>
          <p:cNvPr id="119813" name="AutoShape 5" descr="D:\用户目录\我的文档\Tencent Files\3227735287\Image\l_gfzcxy4g;wop@[i~4nv.jpg"/>
          <p:cNvSpPr>
            <a:spLocks noChangeAspect="1" noChangeArrowheads="1"/>
          </p:cNvSpPr>
          <p:nvPr/>
        </p:nvSpPr>
        <p:spPr bwMode="auto">
          <a:xfrm>
            <a:off x="0" y="0"/>
            <a:ext cx="304800" cy="304800"/>
          </a:xfrm>
          <a:prstGeom prst="rect">
            <a:avLst/>
          </a:prstGeom>
          <a:noFill/>
        </p:spPr>
        <p:txBody>
          <a:bodyPr vert="horz" wrap="square" lIns="91440" tIns="45720" rIns="91440" bIns="45720" numCol="1" anchor="t" anchorCtr="0" compatLnSpc="1"/>
          <a:lstStyle/>
          <a:p>
            <a:endParaRPr lang="zh-CN" altLang="en-US"/>
          </a:p>
        </p:txBody>
      </p:sp>
      <p:sp>
        <p:nvSpPr>
          <p:cNvPr id="119814" name="AutoShape 6" descr="D:\用户目录\我的文档\Tencent Files\3227735287\Image\l_gfzcxy4g;wop@[i~4nv.jpg"/>
          <p:cNvSpPr>
            <a:spLocks noChangeAspect="1" noChangeArrowheads="1"/>
          </p:cNvSpPr>
          <p:nvPr/>
        </p:nvSpPr>
        <p:spPr bwMode="auto">
          <a:xfrm>
            <a:off x="0" y="0"/>
            <a:ext cx="304800" cy="304800"/>
          </a:xfrm>
          <a:prstGeom prst="rect">
            <a:avLst/>
          </a:prstGeom>
          <a:noFill/>
        </p:spPr>
        <p:txBody>
          <a:bodyPr vert="horz" wrap="square" lIns="91440" tIns="45720" rIns="91440" bIns="45720" numCol="1" anchor="t" anchorCtr="0" compatLnSpc="1"/>
          <a:lstStyle/>
          <a:p>
            <a:endParaRPr lang="zh-CN" altLang="en-US"/>
          </a:p>
        </p:txBody>
      </p:sp>
      <p:sp>
        <p:nvSpPr>
          <p:cNvPr id="119815" name="AutoShape 7" descr="D:\用户目录\我的文档\Tencent Files\3227735287\Image\l_gfzcxy4g;wop@[i~4nv.jpg"/>
          <p:cNvSpPr>
            <a:spLocks noChangeAspect="1" noChangeArrowheads="1"/>
          </p:cNvSpPr>
          <p:nvPr/>
        </p:nvSpPr>
        <p:spPr bwMode="auto">
          <a:xfrm>
            <a:off x="0" y="0"/>
            <a:ext cx="304800" cy="304800"/>
          </a:xfrm>
          <a:prstGeom prst="rect">
            <a:avLst/>
          </a:prstGeom>
          <a:noFill/>
        </p:spPr>
        <p:txBody>
          <a:bodyPr vert="horz" wrap="square" lIns="91440" tIns="45720" rIns="91440" bIns="45720" numCol="1" anchor="t" anchorCtr="0" compatLnSpc="1"/>
          <a:lstStyle/>
          <a:p>
            <a:endParaRPr lang="zh-CN" altLang="en-US"/>
          </a:p>
        </p:txBody>
      </p:sp>
      <p:pic>
        <p:nvPicPr>
          <p:cNvPr id="119816" name="Picture 8" descr="D:\用户目录\我的文档\Tencent Files\3227735287\Image\a6{5t147plnlj8f6}k]lhef.jpg"/>
          <p:cNvPicPr>
            <a:picLocks noChangeAspect="1" noChangeArrowheads="1"/>
          </p:cNvPicPr>
          <p:nvPr/>
        </p:nvPicPr>
        <p:blipFill>
          <a:blip r:embed="rId3"/>
          <a:srcRect/>
          <a:stretch>
            <a:fillRect/>
          </a:stretch>
        </p:blipFill>
        <p:spPr bwMode="auto">
          <a:xfrm>
            <a:off x="8095470" y="2071678"/>
            <a:ext cx="714380" cy="642942"/>
          </a:xfrm>
          <a:prstGeom prst="rect">
            <a:avLst/>
          </a:prstGeom>
          <a:noFill/>
        </p:spPr>
      </p:pic>
      <p:pic>
        <p:nvPicPr>
          <p:cNvPr id="119817" name="Picture 9" descr="D:\用户目录\我的文档\Tencent Files\3227735287\Image\`1%ezas62ep_rd`u}g7b8ec.jpg"/>
          <p:cNvPicPr>
            <a:picLocks noChangeAspect="1" noChangeArrowheads="1"/>
          </p:cNvPicPr>
          <p:nvPr/>
        </p:nvPicPr>
        <p:blipFill>
          <a:blip r:embed="rId4"/>
          <a:srcRect/>
          <a:stretch>
            <a:fillRect/>
          </a:stretch>
        </p:blipFill>
        <p:spPr bwMode="auto">
          <a:xfrm>
            <a:off x="4380695" y="1714488"/>
            <a:ext cx="642942" cy="571500"/>
          </a:xfrm>
          <a:prstGeom prst="rect">
            <a:avLst/>
          </a:prstGeom>
          <a:noFill/>
        </p:spPr>
      </p:pic>
      <p:pic>
        <p:nvPicPr>
          <p:cNvPr id="119818" name="Picture 10" descr="D:\用户目录\我的文档\Tencent Files\3227735287\Image\5l8e2l}d37l(~%_a26rz[f3.jpg"/>
          <p:cNvPicPr>
            <a:picLocks noChangeAspect="1" noChangeArrowheads="1"/>
          </p:cNvPicPr>
          <p:nvPr/>
        </p:nvPicPr>
        <p:blipFill>
          <a:blip r:embed="rId5"/>
          <a:srcRect/>
          <a:stretch>
            <a:fillRect/>
          </a:stretch>
        </p:blipFill>
        <p:spPr bwMode="auto">
          <a:xfrm>
            <a:off x="3094810" y="2500306"/>
            <a:ext cx="428627" cy="357190"/>
          </a:xfrm>
          <a:prstGeom prst="rect">
            <a:avLst/>
          </a:prstGeom>
          <a:noFill/>
        </p:spPr>
      </p:pic>
      <p:pic>
        <p:nvPicPr>
          <p:cNvPr id="119819" name="Picture 11" descr="D:\用户目录\我的文档\Tencent Files\3227735287\Image\6t4a5atmu1wv41a]9049`vu.jpg"/>
          <p:cNvPicPr>
            <a:picLocks noChangeAspect="1" noChangeArrowheads="1"/>
          </p:cNvPicPr>
          <p:nvPr/>
        </p:nvPicPr>
        <p:blipFill>
          <a:blip r:embed="rId6"/>
          <a:srcRect/>
          <a:stretch>
            <a:fillRect/>
          </a:stretch>
        </p:blipFill>
        <p:spPr bwMode="auto">
          <a:xfrm>
            <a:off x="7381090" y="3143248"/>
            <a:ext cx="428628" cy="428629"/>
          </a:xfrm>
          <a:prstGeom prst="rect">
            <a:avLst/>
          </a:prstGeom>
          <a:noFill/>
        </p:spPr>
      </p:pic>
      <p:pic>
        <p:nvPicPr>
          <p:cNvPr id="119820" name="Picture 12" descr="D:\用户目录\我的文档\Tencent Files\3227735287\Image\mm)}cqi@h{d$vfcx{~9{%xi.jpg"/>
          <p:cNvPicPr>
            <a:picLocks noChangeAspect="1" noChangeArrowheads="1"/>
          </p:cNvPicPr>
          <p:nvPr/>
        </p:nvPicPr>
        <p:blipFill>
          <a:blip r:embed="rId7"/>
          <a:srcRect/>
          <a:stretch>
            <a:fillRect/>
          </a:stretch>
        </p:blipFill>
        <p:spPr bwMode="auto">
          <a:xfrm>
            <a:off x="6023768" y="1214421"/>
            <a:ext cx="428628" cy="457203"/>
          </a:xfrm>
          <a:prstGeom prst="rect">
            <a:avLst/>
          </a:prstGeom>
          <a:noFill/>
        </p:spPr>
      </p:pic>
      <p:sp>
        <p:nvSpPr>
          <p:cNvPr id="7" name="文本框 6"/>
          <p:cNvSpPr txBox="1"/>
          <p:nvPr/>
        </p:nvSpPr>
        <p:spPr>
          <a:xfrm>
            <a:off x="5906135" y="5140960"/>
            <a:ext cx="546100" cy="460375"/>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济南城建</a:t>
            </a:r>
            <a:endParaRPr lang="zh-CN" altLang="en-US" sz="1200" dirty="0" smtClean="0">
              <a:latin typeface="微软雅黑" panose="020B0503020204020204" pitchFamily="34" charset="-122"/>
              <a:ea typeface="微软雅黑" panose="020B0503020204020204" pitchFamily="34" charset="-122"/>
            </a:endParaRPr>
          </a:p>
        </p:txBody>
      </p:sp>
      <p:sp>
        <p:nvSpPr>
          <p:cNvPr id="10" name="文本框 9"/>
          <p:cNvSpPr txBox="1"/>
          <p:nvPr/>
        </p:nvSpPr>
        <p:spPr>
          <a:xfrm>
            <a:off x="4279900" y="3097530"/>
            <a:ext cx="546100" cy="460375"/>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青岛地铁</a:t>
            </a:r>
            <a:endParaRPr lang="zh-CN" altLang="en-US" sz="1200" dirty="0" smtClean="0">
              <a:latin typeface="微软雅黑" panose="020B0503020204020204" pitchFamily="34" charset="-122"/>
              <a:ea typeface="微软雅黑" panose="020B0503020204020204" pitchFamily="34" charset="-122"/>
            </a:endParaRPr>
          </a:p>
        </p:txBody>
      </p:sp>
      <p:sp>
        <p:nvSpPr>
          <p:cNvPr id="11" name="文本框 10"/>
          <p:cNvSpPr txBox="1"/>
          <p:nvPr/>
        </p:nvSpPr>
        <p:spPr>
          <a:xfrm>
            <a:off x="8420735" y="3633788"/>
            <a:ext cx="747395" cy="460375"/>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济南高新控股</a:t>
            </a:r>
            <a:endParaRPr lang="zh-CN" altLang="en-US" sz="1200" dirty="0" smtClean="0">
              <a:latin typeface="微软雅黑" panose="020B0503020204020204" pitchFamily="34" charset="-122"/>
              <a:ea typeface="微软雅黑" panose="020B0503020204020204" pitchFamily="34" charset="-122"/>
            </a:endParaRPr>
          </a:p>
        </p:txBody>
      </p:sp>
      <p:sp>
        <p:nvSpPr>
          <p:cNvPr id="12" name="文本框 11"/>
          <p:cNvSpPr txBox="1"/>
          <p:nvPr/>
        </p:nvSpPr>
        <p:spPr>
          <a:xfrm>
            <a:off x="5153025" y="4430395"/>
            <a:ext cx="546100" cy="460375"/>
          </a:xfrm>
          <a:prstGeom prst="rect">
            <a:avLst/>
          </a:prstGeom>
          <a:noFill/>
        </p:spPr>
        <p:txBody>
          <a:bodyPr wrap="square" rtlCol="0" anchor="ctr">
            <a:spAutoFit/>
          </a:bodyPr>
          <a:lstStyle/>
          <a:p>
            <a:r>
              <a:rPr lang="zh-CN" altLang="en-US" sz="1200" dirty="0" smtClean="0">
                <a:latin typeface="微软雅黑" panose="020B0503020204020204" pitchFamily="34" charset="-122"/>
                <a:ea typeface="微软雅黑" panose="020B0503020204020204" pitchFamily="34" charset="-122"/>
              </a:rPr>
              <a:t>济南日报</a:t>
            </a:r>
            <a:endParaRPr lang="zh-CN" altLang="en-US" sz="1200" dirty="0" smtClean="0">
              <a:latin typeface="微软雅黑" panose="020B0503020204020204" pitchFamily="34" charset="-122"/>
              <a:ea typeface="微软雅黑" panose="020B0503020204020204" pitchFamily="34" charset="-122"/>
            </a:endParaRPr>
          </a:p>
        </p:txBody>
      </p:sp>
      <p:sp>
        <p:nvSpPr>
          <p:cNvPr id="15" name="Freeform 287"/>
          <p:cNvSpPr/>
          <p:nvPr/>
        </p:nvSpPr>
        <p:spPr bwMode="auto">
          <a:xfrm>
            <a:off x="9116766" y="2895386"/>
            <a:ext cx="325049" cy="331685"/>
          </a:xfrm>
          <a:custGeom>
            <a:avLst/>
            <a:gdLst/>
            <a:ahLst/>
            <a:cxnLst/>
            <a:rect l="l" t="t" r="r" b="b"/>
            <a:pathLst>
              <a:path w="325049" h="331685">
                <a:moveTo>
                  <a:pt x="305999" y="234847"/>
                </a:moveTo>
                <a:lnTo>
                  <a:pt x="325049" y="252310"/>
                </a:lnTo>
                <a:lnTo>
                  <a:pt x="242499" y="331685"/>
                </a:lnTo>
                <a:lnTo>
                  <a:pt x="226624" y="312635"/>
                </a:lnTo>
                <a:close/>
                <a:moveTo>
                  <a:pt x="126116" y="141"/>
                </a:moveTo>
                <a:cubicBezTo>
                  <a:pt x="132679" y="1083"/>
                  <a:pt x="137367" y="6735"/>
                  <a:pt x="137367" y="16155"/>
                </a:cubicBezTo>
                <a:cubicBezTo>
                  <a:pt x="137367" y="34994"/>
                  <a:pt x="126116" y="50066"/>
                  <a:pt x="163621" y="72674"/>
                </a:cubicBezTo>
                <a:cubicBezTo>
                  <a:pt x="197359" y="95271"/>
                  <a:pt x="219857" y="140454"/>
                  <a:pt x="219878" y="140496"/>
                </a:cubicBezTo>
                <a:cubicBezTo>
                  <a:pt x="219878" y="144264"/>
                  <a:pt x="227379" y="148032"/>
                  <a:pt x="231129" y="151800"/>
                </a:cubicBezTo>
                <a:cubicBezTo>
                  <a:pt x="231129" y="151800"/>
                  <a:pt x="231129" y="151800"/>
                  <a:pt x="291137" y="212087"/>
                </a:cubicBezTo>
                <a:cubicBezTo>
                  <a:pt x="294887" y="215855"/>
                  <a:pt x="294887" y="227159"/>
                  <a:pt x="291137" y="230927"/>
                </a:cubicBezTo>
                <a:cubicBezTo>
                  <a:pt x="291137" y="230927"/>
                  <a:pt x="291137" y="230927"/>
                  <a:pt x="223628" y="298749"/>
                </a:cubicBezTo>
                <a:cubicBezTo>
                  <a:pt x="219878" y="306285"/>
                  <a:pt x="208626" y="306285"/>
                  <a:pt x="204876" y="298749"/>
                </a:cubicBezTo>
                <a:cubicBezTo>
                  <a:pt x="204876" y="298749"/>
                  <a:pt x="204876" y="298749"/>
                  <a:pt x="203938" y="298278"/>
                </a:cubicBezTo>
                <a:lnTo>
                  <a:pt x="197375" y="294981"/>
                </a:lnTo>
                <a:cubicBezTo>
                  <a:pt x="193624" y="287446"/>
                  <a:pt x="182373" y="283678"/>
                  <a:pt x="174872" y="283678"/>
                </a:cubicBezTo>
                <a:cubicBezTo>
                  <a:pt x="174872" y="283678"/>
                  <a:pt x="174872" y="283678"/>
                  <a:pt x="66108" y="283678"/>
                </a:cubicBezTo>
                <a:cubicBezTo>
                  <a:pt x="58607" y="283678"/>
                  <a:pt x="51106" y="279910"/>
                  <a:pt x="47356" y="272374"/>
                </a:cubicBezTo>
                <a:cubicBezTo>
                  <a:pt x="47356" y="272374"/>
                  <a:pt x="47356" y="272374"/>
                  <a:pt x="2350" y="144264"/>
                </a:cubicBezTo>
                <a:cubicBezTo>
                  <a:pt x="-5151" y="125425"/>
                  <a:pt x="6101" y="114121"/>
                  <a:pt x="24853" y="114121"/>
                </a:cubicBezTo>
                <a:cubicBezTo>
                  <a:pt x="24853" y="114121"/>
                  <a:pt x="24853" y="114121"/>
                  <a:pt x="114864" y="114121"/>
                </a:cubicBezTo>
                <a:cubicBezTo>
                  <a:pt x="118615" y="99049"/>
                  <a:pt x="114864" y="87745"/>
                  <a:pt x="111114" y="83978"/>
                </a:cubicBezTo>
                <a:cubicBezTo>
                  <a:pt x="107363" y="76442"/>
                  <a:pt x="92362" y="61370"/>
                  <a:pt x="92362" y="38762"/>
                </a:cubicBezTo>
                <a:cubicBezTo>
                  <a:pt x="96112" y="31227"/>
                  <a:pt x="99863" y="19923"/>
                  <a:pt x="103613" y="12387"/>
                </a:cubicBezTo>
                <a:cubicBezTo>
                  <a:pt x="111114" y="2967"/>
                  <a:pt x="119552" y="-801"/>
                  <a:pt x="126116" y="141"/>
                </a:cubicBezTo>
                <a:close/>
              </a:path>
            </a:pathLst>
          </a:custGeom>
          <a:solidFill>
            <a:srgbClr val="FFFFFF"/>
          </a:solidFill>
          <a:ln>
            <a:noFill/>
          </a:ln>
          <a:effectLst>
            <a:outerShdw blurRad="177800" dist="101600" dir="2700000" algn="tl" rotWithShape="0">
              <a:prstClr val="black">
                <a:alpha val="32000"/>
              </a:prst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 name="TextBox 100"/>
          <p:cNvSpPr txBox="1"/>
          <p:nvPr/>
        </p:nvSpPr>
        <p:spPr>
          <a:xfrm>
            <a:off x="1308860" y="142852"/>
            <a:ext cx="2214578" cy="461665"/>
          </a:xfrm>
          <a:prstGeom prst="rect">
            <a:avLst/>
          </a:prstGeom>
          <a:noFill/>
        </p:spPr>
        <p:txBody>
          <a:bodyPr wrap="square" rtlCol="0" anchor="ctr">
            <a:spAutoFit/>
          </a:bodyPr>
          <a:lstStyle/>
          <a:p>
            <a:r>
              <a:rPr lang="zh-CN" altLang="en-US" sz="2400" b="1" dirty="0" smtClean="0">
                <a:latin typeface="微软雅黑" panose="020B0503020204020204" pitchFamily="34" charset="-122"/>
                <a:ea typeface="微软雅黑" panose="020B0503020204020204" pitchFamily="34" charset="-122"/>
              </a:rPr>
              <a:t>公司介绍</a:t>
            </a:r>
            <a:endParaRPr lang="zh-CN" altLang="en-US" sz="2400" b="1" dirty="0" smtClean="0">
              <a:latin typeface="微软雅黑" panose="020B0503020204020204" pitchFamily="34" charset="-122"/>
              <a:ea typeface="微软雅黑" panose="020B0503020204020204" pitchFamily="34" charset="-122"/>
            </a:endParaRPr>
          </a:p>
        </p:txBody>
      </p:sp>
    </p:spTree>
    <p:custDataLst>
      <p:tags r:id="rId8"/>
    </p:custDataLst>
  </p:cSld>
  <p:clrMapOvr>
    <a:masterClrMapping/>
  </p:clrMapOvr>
  <mc:AlternateContent xmlns:mc="http://schemas.openxmlformats.org/markup-compatibility/2006">
    <mc:Choice xmlns:p14="http://schemas.microsoft.com/office/powerpoint/2010/main" Requires="p14">
      <p:transition spd="slow" p14:dur="1300" advTm="5431">
        <p14:pan dir="d"/>
      </p:transition>
    </mc:Choice>
    <mc:Fallback>
      <p:transition spd="slow" advTm="543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127"/>
                                        </p:tgtEl>
                                        <p:attrNameLst>
                                          <p:attrName>style.visibility</p:attrName>
                                        </p:attrNameLst>
                                      </p:cBhvr>
                                      <p:to>
                                        <p:strVal val="visible"/>
                                      </p:to>
                                    </p:set>
                                    <p:animEffect transition="in" filter="fade">
                                      <p:cBhvr>
                                        <p:cTn id="10" dur="500"/>
                                        <p:tgtEl>
                                          <p:spTgt spid="4127"/>
                                        </p:tgtEl>
                                      </p:cBhvr>
                                    </p:animEffect>
                                  </p:childTnLst>
                                </p:cTn>
                              </p:par>
                              <p:par>
                                <p:cTn id="11" presetID="10" presetClass="entr" presetSubtype="0" fill="hold" nodeType="withEffect">
                                  <p:stCondLst>
                                    <p:cond delay="3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200"/>
                                  </p:stCondLst>
                                  <p:childTnLst>
                                    <p:set>
                                      <p:cBhvr>
                                        <p:cTn id="15" dur="1" fill="hold">
                                          <p:stCondLst>
                                            <p:cond delay="0"/>
                                          </p:stCondLst>
                                        </p:cTn>
                                        <p:tgtEl>
                                          <p:spTgt spid="111"/>
                                        </p:tgtEl>
                                        <p:attrNameLst>
                                          <p:attrName>style.visibility</p:attrName>
                                        </p:attrNameLst>
                                      </p:cBhvr>
                                      <p:to>
                                        <p:strVal val="visible"/>
                                      </p:to>
                                    </p:set>
                                    <p:animEffect transition="in" filter="fade">
                                      <p:cBhvr>
                                        <p:cTn id="16" dur="500"/>
                                        <p:tgtEl>
                                          <p:spTgt spid="111"/>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4103"/>
                                        </p:tgtEl>
                                        <p:attrNameLst>
                                          <p:attrName>style.visibility</p:attrName>
                                        </p:attrNameLst>
                                      </p:cBhvr>
                                      <p:to>
                                        <p:strVal val="visible"/>
                                      </p:to>
                                    </p:set>
                                    <p:animEffect transition="in" filter="fade">
                                      <p:cBhvr>
                                        <p:cTn id="19" dur="500"/>
                                        <p:tgtEl>
                                          <p:spTgt spid="410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115"/>
                                        </p:tgtEl>
                                        <p:attrNameLst>
                                          <p:attrName>style.visibility</p:attrName>
                                        </p:attrNameLst>
                                      </p:cBhvr>
                                      <p:to>
                                        <p:strVal val="visible"/>
                                      </p:to>
                                    </p:set>
                                    <p:animEffect transition="in" filter="fade">
                                      <p:cBhvr>
                                        <p:cTn id="22" dur="500"/>
                                        <p:tgtEl>
                                          <p:spTgt spid="4115"/>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112"/>
                                        </p:tgtEl>
                                        <p:attrNameLst>
                                          <p:attrName>style.visibility</p:attrName>
                                        </p:attrNameLst>
                                      </p:cBhvr>
                                      <p:to>
                                        <p:strVal val="visible"/>
                                      </p:to>
                                    </p:set>
                                    <p:animEffect transition="in" filter="fade">
                                      <p:cBhvr>
                                        <p:cTn id="25" dur="500"/>
                                        <p:tgtEl>
                                          <p:spTgt spid="112"/>
                                        </p:tgtEl>
                                      </p:cBhvr>
                                    </p:animEffect>
                                  </p:childTnLst>
                                </p:cTn>
                              </p:par>
                              <p:par>
                                <p:cTn id="26" presetID="10" presetClass="entr" presetSubtype="0" fill="hold" nodeType="withEffect">
                                  <p:stCondLst>
                                    <p:cond delay="30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6" presetClass="entr" presetSubtype="32" fill="hold" nodeType="withEffect">
                                  <p:stCondLst>
                                    <p:cond delay="400"/>
                                  </p:stCondLst>
                                  <p:childTnLst>
                                    <p:set>
                                      <p:cBhvr>
                                        <p:cTn id="30" dur="1" fill="hold">
                                          <p:stCondLst>
                                            <p:cond delay="0"/>
                                          </p:stCondLst>
                                        </p:cTn>
                                        <p:tgtEl>
                                          <p:spTgt spid="2"/>
                                        </p:tgtEl>
                                        <p:attrNameLst>
                                          <p:attrName>style.visibility</p:attrName>
                                        </p:attrNameLst>
                                      </p:cBhvr>
                                      <p:to>
                                        <p:strVal val="visible"/>
                                      </p:to>
                                    </p:set>
                                    <p:animEffect transition="in" filter="circle(out)">
                                      <p:cBhvr>
                                        <p:cTn id="31" dur="2000"/>
                                        <p:tgtEl>
                                          <p:spTgt spid="2"/>
                                        </p:tgtEl>
                                      </p:cBhvr>
                                    </p:animEffect>
                                  </p:childTnLst>
                                </p:cTn>
                              </p:par>
                              <p:par>
                                <p:cTn id="32" presetID="23" presetClass="entr" presetSubtype="528" fill="hold" grpId="0" nodeType="withEffect">
                                  <p:stCondLst>
                                    <p:cond delay="1200"/>
                                  </p:stCondLst>
                                  <p:childTnLst>
                                    <p:set>
                                      <p:cBhvr>
                                        <p:cTn id="33" dur="1" fill="hold">
                                          <p:stCondLst>
                                            <p:cond delay="0"/>
                                          </p:stCondLst>
                                        </p:cTn>
                                        <p:tgtEl>
                                          <p:spTgt spid="97"/>
                                        </p:tgtEl>
                                        <p:attrNameLst>
                                          <p:attrName>style.visibility</p:attrName>
                                        </p:attrNameLst>
                                      </p:cBhvr>
                                      <p:to>
                                        <p:strVal val="visible"/>
                                      </p:to>
                                    </p:set>
                                    <p:anim calcmode="lin" valueType="num">
                                      <p:cBhvr>
                                        <p:cTn id="34" dur="500" fill="hold"/>
                                        <p:tgtEl>
                                          <p:spTgt spid="97"/>
                                        </p:tgtEl>
                                        <p:attrNameLst>
                                          <p:attrName>ppt_w</p:attrName>
                                        </p:attrNameLst>
                                      </p:cBhvr>
                                      <p:tavLst>
                                        <p:tav tm="0">
                                          <p:val>
                                            <p:fltVal val="0"/>
                                          </p:val>
                                        </p:tav>
                                        <p:tav tm="100000">
                                          <p:val>
                                            <p:strVal val="#ppt_w"/>
                                          </p:val>
                                        </p:tav>
                                      </p:tavLst>
                                    </p:anim>
                                    <p:anim calcmode="lin" valueType="num">
                                      <p:cBhvr>
                                        <p:cTn id="35" dur="500" fill="hold"/>
                                        <p:tgtEl>
                                          <p:spTgt spid="97"/>
                                        </p:tgtEl>
                                        <p:attrNameLst>
                                          <p:attrName>ppt_h</p:attrName>
                                        </p:attrNameLst>
                                      </p:cBhvr>
                                      <p:tavLst>
                                        <p:tav tm="0">
                                          <p:val>
                                            <p:fltVal val="0"/>
                                          </p:val>
                                        </p:tav>
                                        <p:tav tm="100000">
                                          <p:val>
                                            <p:strVal val="#ppt_h"/>
                                          </p:val>
                                        </p:tav>
                                      </p:tavLst>
                                    </p:anim>
                                    <p:anim calcmode="lin" valueType="num">
                                      <p:cBhvr>
                                        <p:cTn id="36" dur="500" fill="hold"/>
                                        <p:tgtEl>
                                          <p:spTgt spid="97"/>
                                        </p:tgtEl>
                                        <p:attrNameLst>
                                          <p:attrName>ppt_x</p:attrName>
                                        </p:attrNameLst>
                                      </p:cBhvr>
                                      <p:tavLst>
                                        <p:tav tm="0">
                                          <p:val>
                                            <p:fltVal val="0.5"/>
                                          </p:val>
                                        </p:tav>
                                        <p:tav tm="100000">
                                          <p:val>
                                            <p:strVal val="#ppt_x"/>
                                          </p:val>
                                        </p:tav>
                                      </p:tavLst>
                                    </p:anim>
                                    <p:anim calcmode="lin" valueType="num">
                                      <p:cBhvr>
                                        <p:cTn id="37" dur="500" fill="hold"/>
                                        <p:tgtEl>
                                          <p:spTgt spid="97"/>
                                        </p:tgtEl>
                                        <p:attrNameLst>
                                          <p:attrName>ppt_y</p:attrName>
                                        </p:attrNameLst>
                                      </p:cBhvr>
                                      <p:tavLst>
                                        <p:tav tm="0">
                                          <p:val>
                                            <p:fltVal val="0.5"/>
                                          </p:val>
                                        </p:tav>
                                        <p:tav tm="100000">
                                          <p:val>
                                            <p:strVal val="#ppt_y"/>
                                          </p:val>
                                        </p:tav>
                                      </p:tavLst>
                                    </p:anim>
                                  </p:childTnLst>
                                </p:cTn>
                              </p:par>
                              <p:par>
                                <p:cTn id="38" presetID="23" presetClass="entr" presetSubtype="528" fill="hold" grpId="0" nodeType="withEffect">
                                  <p:stCondLst>
                                    <p:cond delay="1200"/>
                                  </p:stCondLst>
                                  <p:childTnLst>
                                    <p:set>
                                      <p:cBhvr>
                                        <p:cTn id="39" dur="1" fill="hold">
                                          <p:stCondLst>
                                            <p:cond delay="0"/>
                                          </p:stCondLst>
                                        </p:cTn>
                                        <p:tgtEl>
                                          <p:spTgt spid="99"/>
                                        </p:tgtEl>
                                        <p:attrNameLst>
                                          <p:attrName>style.visibility</p:attrName>
                                        </p:attrNameLst>
                                      </p:cBhvr>
                                      <p:to>
                                        <p:strVal val="visible"/>
                                      </p:to>
                                    </p:set>
                                    <p:anim calcmode="lin" valueType="num">
                                      <p:cBhvr>
                                        <p:cTn id="40" dur="500" fill="hold"/>
                                        <p:tgtEl>
                                          <p:spTgt spid="99"/>
                                        </p:tgtEl>
                                        <p:attrNameLst>
                                          <p:attrName>ppt_w</p:attrName>
                                        </p:attrNameLst>
                                      </p:cBhvr>
                                      <p:tavLst>
                                        <p:tav tm="0">
                                          <p:val>
                                            <p:fltVal val="0"/>
                                          </p:val>
                                        </p:tav>
                                        <p:tav tm="100000">
                                          <p:val>
                                            <p:strVal val="#ppt_w"/>
                                          </p:val>
                                        </p:tav>
                                      </p:tavLst>
                                    </p:anim>
                                    <p:anim calcmode="lin" valueType="num">
                                      <p:cBhvr>
                                        <p:cTn id="41" dur="500" fill="hold"/>
                                        <p:tgtEl>
                                          <p:spTgt spid="99"/>
                                        </p:tgtEl>
                                        <p:attrNameLst>
                                          <p:attrName>ppt_h</p:attrName>
                                        </p:attrNameLst>
                                      </p:cBhvr>
                                      <p:tavLst>
                                        <p:tav tm="0">
                                          <p:val>
                                            <p:fltVal val="0"/>
                                          </p:val>
                                        </p:tav>
                                        <p:tav tm="100000">
                                          <p:val>
                                            <p:strVal val="#ppt_h"/>
                                          </p:val>
                                        </p:tav>
                                      </p:tavLst>
                                    </p:anim>
                                    <p:anim calcmode="lin" valueType="num">
                                      <p:cBhvr>
                                        <p:cTn id="42" dur="500" fill="hold"/>
                                        <p:tgtEl>
                                          <p:spTgt spid="99"/>
                                        </p:tgtEl>
                                        <p:attrNameLst>
                                          <p:attrName>ppt_x</p:attrName>
                                        </p:attrNameLst>
                                      </p:cBhvr>
                                      <p:tavLst>
                                        <p:tav tm="0">
                                          <p:val>
                                            <p:fltVal val="0.5"/>
                                          </p:val>
                                        </p:tav>
                                        <p:tav tm="100000">
                                          <p:val>
                                            <p:strVal val="#ppt_x"/>
                                          </p:val>
                                        </p:tav>
                                      </p:tavLst>
                                    </p:anim>
                                    <p:anim calcmode="lin" valueType="num">
                                      <p:cBhvr>
                                        <p:cTn id="43" dur="500" fill="hold"/>
                                        <p:tgtEl>
                                          <p:spTgt spid="99"/>
                                        </p:tgtEl>
                                        <p:attrNameLst>
                                          <p:attrName>ppt_y</p:attrName>
                                        </p:attrNameLst>
                                      </p:cBhvr>
                                      <p:tavLst>
                                        <p:tav tm="0">
                                          <p:val>
                                            <p:fltVal val="0.5"/>
                                          </p:val>
                                        </p:tav>
                                        <p:tav tm="100000">
                                          <p:val>
                                            <p:strVal val="#ppt_y"/>
                                          </p:val>
                                        </p:tav>
                                      </p:tavLst>
                                    </p:anim>
                                  </p:childTnLst>
                                </p:cTn>
                              </p:par>
                              <p:par>
                                <p:cTn id="44" presetID="23" presetClass="entr" presetSubtype="528" fill="hold" grpId="0" nodeType="withEffect">
                                  <p:stCondLst>
                                    <p:cond delay="1200"/>
                                  </p:stCondLst>
                                  <p:childTnLst>
                                    <p:set>
                                      <p:cBhvr>
                                        <p:cTn id="45" dur="1" fill="hold">
                                          <p:stCondLst>
                                            <p:cond delay="0"/>
                                          </p:stCondLst>
                                        </p:cTn>
                                        <p:tgtEl>
                                          <p:spTgt spid="100"/>
                                        </p:tgtEl>
                                        <p:attrNameLst>
                                          <p:attrName>style.visibility</p:attrName>
                                        </p:attrNameLst>
                                      </p:cBhvr>
                                      <p:to>
                                        <p:strVal val="visible"/>
                                      </p:to>
                                    </p:set>
                                    <p:anim calcmode="lin" valueType="num">
                                      <p:cBhvr>
                                        <p:cTn id="46" dur="500" fill="hold"/>
                                        <p:tgtEl>
                                          <p:spTgt spid="100"/>
                                        </p:tgtEl>
                                        <p:attrNameLst>
                                          <p:attrName>ppt_w</p:attrName>
                                        </p:attrNameLst>
                                      </p:cBhvr>
                                      <p:tavLst>
                                        <p:tav tm="0">
                                          <p:val>
                                            <p:fltVal val="0"/>
                                          </p:val>
                                        </p:tav>
                                        <p:tav tm="100000">
                                          <p:val>
                                            <p:strVal val="#ppt_w"/>
                                          </p:val>
                                        </p:tav>
                                      </p:tavLst>
                                    </p:anim>
                                    <p:anim calcmode="lin" valueType="num">
                                      <p:cBhvr>
                                        <p:cTn id="47" dur="500" fill="hold"/>
                                        <p:tgtEl>
                                          <p:spTgt spid="100"/>
                                        </p:tgtEl>
                                        <p:attrNameLst>
                                          <p:attrName>ppt_h</p:attrName>
                                        </p:attrNameLst>
                                      </p:cBhvr>
                                      <p:tavLst>
                                        <p:tav tm="0">
                                          <p:val>
                                            <p:fltVal val="0"/>
                                          </p:val>
                                        </p:tav>
                                        <p:tav tm="100000">
                                          <p:val>
                                            <p:strVal val="#ppt_h"/>
                                          </p:val>
                                        </p:tav>
                                      </p:tavLst>
                                    </p:anim>
                                    <p:anim calcmode="lin" valueType="num">
                                      <p:cBhvr>
                                        <p:cTn id="48" dur="500" fill="hold"/>
                                        <p:tgtEl>
                                          <p:spTgt spid="100"/>
                                        </p:tgtEl>
                                        <p:attrNameLst>
                                          <p:attrName>ppt_x</p:attrName>
                                        </p:attrNameLst>
                                      </p:cBhvr>
                                      <p:tavLst>
                                        <p:tav tm="0">
                                          <p:val>
                                            <p:fltVal val="0.5"/>
                                          </p:val>
                                        </p:tav>
                                        <p:tav tm="100000">
                                          <p:val>
                                            <p:strVal val="#ppt_x"/>
                                          </p:val>
                                        </p:tav>
                                      </p:tavLst>
                                    </p:anim>
                                    <p:anim calcmode="lin" valueType="num">
                                      <p:cBhvr>
                                        <p:cTn id="49" dur="500" fill="hold"/>
                                        <p:tgtEl>
                                          <p:spTgt spid="100"/>
                                        </p:tgtEl>
                                        <p:attrNameLst>
                                          <p:attrName>ppt_y</p:attrName>
                                        </p:attrNameLst>
                                      </p:cBhvr>
                                      <p:tavLst>
                                        <p:tav tm="0">
                                          <p:val>
                                            <p:fltVal val="0.5"/>
                                          </p:val>
                                        </p:tav>
                                        <p:tav tm="100000">
                                          <p:val>
                                            <p:strVal val="#ppt_y"/>
                                          </p:val>
                                        </p:tav>
                                      </p:tavLst>
                                    </p:anim>
                                  </p:childTnLst>
                                </p:cTn>
                              </p:par>
                              <p:par>
                                <p:cTn id="50" presetID="23" presetClass="entr" presetSubtype="528" fill="hold" grpId="0" nodeType="withEffect">
                                  <p:stCondLst>
                                    <p:cond delay="1200"/>
                                  </p:stCondLst>
                                  <p:childTnLst>
                                    <p:set>
                                      <p:cBhvr>
                                        <p:cTn id="51" dur="1" fill="hold">
                                          <p:stCondLst>
                                            <p:cond delay="0"/>
                                          </p:stCondLst>
                                        </p:cTn>
                                        <p:tgtEl>
                                          <p:spTgt spid="108"/>
                                        </p:tgtEl>
                                        <p:attrNameLst>
                                          <p:attrName>style.visibility</p:attrName>
                                        </p:attrNameLst>
                                      </p:cBhvr>
                                      <p:to>
                                        <p:strVal val="visible"/>
                                      </p:to>
                                    </p:set>
                                    <p:anim calcmode="lin" valueType="num">
                                      <p:cBhvr>
                                        <p:cTn id="52" dur="500" fill="hold"/>
                                        <p:tgtEl>
                                          <p:spTgt spid="108"/>
                                        </p:tgtEl>
                                        <p:attrNameLst>
                                          <p:attrName>ppt_w</p:attrName>
                                        </p:attrNameLst>
                                      </p:cBhvr>
                                      <p:tavLst>
                                        <p:tav tm="0">
                                          <p:val>
                                            <p:fltVal val="0"/>
                                          </p:val>
                                        </p:tav>
                                        <p:tav tm="100000">
                                          <p:val>
                                            <p:strVal val="#ppt_w"/>
                                          </p:val>
                                        </p:tav>
                                      </p:tavLst>
                                    </p:anim>
                                    <p:anim calcmode="lin" valueType="num">
                                      <p:cBhvr>
                                        <p:cTn id="53" dur="500" fill="hold"/>
                                        <p:tgtEl>
                                          <p:spTgt spid="108"/>
                                        </p:tgtEl>
                                        <p:attrNameLst>
                                          <p:attrName>ppt_h</p:attrName>
                                        </p:attrNameLst>
                                      </p:cBhvr>
                                      <p:tavLst>
                                        <p:tav tm="0">
                                          <p:val>
                                            <p:fltVal val="0"/>
                                          </p:val>
                                        </p:tav>
                                        <p:tav tm="100000">
                                          <p:val>
                                            <p:strVal val="#ppt_h"/>
                                          </p:val>
                                        </p:tav>
                                      </p:tavLst>
                                    </p:anim>
                                    <p:anim calcmode="lin" valueType="num">
                                      <p:cBhvr>
                                        <p:cTn id="54" dur="500" fill="hold"/>
                                        <p:tgtEl>
                                          <p:spTgt spid="108"/>
                                        </p:tgtEl>
                                        <p:attrNameLst>
                                          <p:attrName>ppt_x</p:attrName>
                                        </p:attrNameLst>
                                      </p:cBhvr>
                                      <p:tavLst>
                                        <p:tav tm="0">
                                          <p:val>
                                            <p:fltVal val="0.5"/>
                                          </p:val>
                                        </p:tav>
                                        <p:tav tm="100000">
                                          <p:val>
                                            <p:strVal val="#ppt_x"/>
                                          </p:val>
                                        </p:tav>
                                      </p:tavLst>
                                    </p:anim>
                                    <p:anim calcmode="lin" valueType="num">
                                      <p:cBhvr>
                                        <p:cTn id="55" dur="500" fill="hold"/>
                                        <p:tgtEl>
                                          <p:spTgt spid="108"/>
                                        </p:tgtEl>
                                        <p:attrNameLst>
                                          <p:attrName>ppt_y</p:attrName>
                                        </p:attrNameLst>
                                      </p:cBhvr>
                                      <p:tavLst>
                                        <p:tav tm="0">
                                          <p:val>
                                            <p:fltVal val="0.5"/>
                                          </p:val>
                                        </p:tav>
                                        <p:tav tm="100000">
                                          <p:val>
                                            <p:strVal val="#ppt_y"/>
                                          </p:val>
                                        </p:tav>
                                      </p:tavLst>
                                    </p:anim>
                                  </p:childTnLst>
                                </p:cTn>
                              </p:par>
                              <p:par>
                                <p:cTn id="56" presetID="23" presetClass="entr" presetSubtype="528" fill="hold" grpId="0" nodeType="withEffect">
                                  <p:stCondLst>
                                    <p:cond delay="1200"/>
                                  </p:stCondLst>
                                  <p:childTnLst>
                                    <p:set>
                                      <p:cBhvr>
                                        <p:cTn id="57" dur="1" fill="hold">
                                          <p:stCondLst>
                                            <p:cond delay="0"/>
                                          </p:stCondLst>
                                        </p:cTn>
                                        <p:tgtEl>
                                          <p:spTgt spid="107"/>
                                        </p:tgtEl>
                                        <p:attrNameLst>
                                          <p:attrName>style.visibility</p:attrName>
                                        </p:attrNameLst>
                                      </p:cBhvr>
                                      <p:to>
                                        <p:strVal val="visible"/>
                                      </p:to>
                                    </p:set>
                                    <p:anim calcmode="lin" valueType="num">
                                      <p:cBhvr>
                                        <p:cTn id="58" dur="500" fill="hold"/>
                                        <p:tgtEl>
                                          <p:spTgt spid="107"/>
                                        </p:tgtEl>
                                        <p:attrNameLst>
                                          <p:attrName>ppt_w</p:attrName>
                                        </p:attrNameLst>
                                      </p:cBhvr>
                                      <p:tavLst>
                                        <p:tav tm="0">
                                          <p:val>
                                            <p:fltVal val="0"/>
                                          </p:val>
                                        </p:tav>
                                        <p:tav tm="100000">
                                          <p:val>
                                            <p:strVal val="#ppt_w"/>
                                          </p:val>
                                        </p:tav>
                                      </p:tavLst>
                                    </p:anim>
                                    <p:anim calcmode="lin" valueType="num">
                                      <p:cBhvr>
                                        <p:cTn id="59" dur="500" fill="hold"/>
                                        <p:tgtEl>
                                          <p:spTgt spid="107"/>
                                        </p:tgtEl>
                                        <p:attrNameLst>
                                          <p:attrName>ppt_h</p:attrName>
                                        </p:attrNameLst>
                                      </p:cBhvr>
                                      <p:tavLst>
                                        <p:tav tm="0">
                                          <p:val>
                                            <p:fltVal val="0"/>
                                          </p:val>
                                        </p:tav>
                                        <p:tav tm="100000">
                                          <p:val>
                                            <p:strVal val="#ppt_h"/>
                                          </p:val>
                                        </p:tav>
                                      </p:tavLst>
                                    </p:anim>
                                    <p:anim calcmode="lin" valueType="num">
                                      <p:cBhvr>
                                        <p:cTn id="60" dur="500" fill="hold"/>
                                        <p:tgtEl>
                                          <p:spTgt spid="107"/>
                                        </p:tgtEl>
                                        <p:attrNameLst>
                                          <p:attrName>ppt_x</p:attrName>
                                        </p:attrNameLst>
                                      </p:cBhvr>
                                      <p:tavLst>
                                        <p:tav tm="0">
                                          <p:val>
                                            <p:fltVal val="0.5"/>
                                          </p:val>
                                        </p:tav>
                                        <p:tav tm="100000">
                                          <p:val>
                                            <p:strVal val="#ppt_x"/>
                                          </p:val>
                                        </p:tav>
                                      </p:tavLst>
                                    </p:anim>
                                    <p:anim calcmode="lin" valueType="num">
                                      <p:cBhvr>
                                        <p:cTn id="61" dur="500" fill="hold"/>
                                        <p:tgtEl>
                                          <p:spTgt spid="107"/>
                                        </p:tgtEl>
                                        <p:attrNameLst>
                                          <p:attrName>ppt_y</p:attrName>
                                        </p:attrNameLst>
                                      </p:cBhvr>
                                      <p:tavLst>
                                        <p:tav tm="0">
                                          <p:val>
                                            <p:fltVal val="0.5"/>
                                          </p:val>
                                        </p:tav>
                                        <p:tav tm="100000">
                                          <p:val>
                                            <p:strVal val="#ppt_y"/>
                                          </p:val>
                                        </p:tav>
                                      </p:tavLst>
                                    </p:anim>
                                  </p:childTnLst>
                                </p:cTn>
                              </p:par>
                              <p:par>
                                <p:cTn id="62" presetID="23" presetClass="entr" presetSubtype="528" fill="hold" grpId="0" nodeType="withEffect">
                                  <p:stCondLst>
                                    <p:cond delay="1200"/>
                                  </p:stCondLst>
                                  <p:childTnLst>
                                    <p:set>
                                      <p:cBhvr>
                                        <p:cTn id="63" dur="1" fill="hold">
                                          <p:stCondLst>
                                            <p:cond delay="0"/>
                                          </p:stCondLst>
                                        </p:cTn>
                                        <p:tgtEl>
                                          <p:spTgt spid="102"/>
                                        </p:tgtEl>
                                        <p:attrNameLst>
                                          <p:attrName>style.visibility</p:attrName>
                                        </p:attrNameLst>
                                      </p:cBhvr>
                                      <p:to>
                                        <p:strVal val="visible"/>
                                      </p:to>
                                    </p:set>
                                    <p:anim calcmode="lin" valueType="num">
                                      <p:cBhvr>
                                        <p:cTn id="64" dur="500" fill="hold"/>
                                        <p:tgtEl>
                                          <p:spTgt spid="102"/>
                                        </p:tgtEl>
                                        <p:attrNameLst>
                                          <p:attrName>ppt_w</p:attrName>
                                        </p:attrNameLst>
                                      </p:cBhvr>
                                      <p:tavLst>
                                        <p:tav tm="0">
                                          <p:val>
                                            <p:fltVal val="0"/>
                                          </p:val>
                                        </p:tav>
                                        <p:tav tm="100000">
                                          <p:val>
                                            <p:strVal val="#ppt_w"/>
                                          </p:val>
                                        </p:tav>
                                      </p:tavLst>
                                    </p:anim>
                                    <p:anim calcmode="lin" valueType="num">
                                      <p:cBhvr>
                                        <p:cTn id="65" dur="500" fill="hold"/>
                                        <p:tgtEl>
                                          <p:spTgt spid="102"/>
                                        </p:tgtEl>
                                        <p:attrNameLst>
                                          <p:attrName>ppt_h</p:attrName>
                                        </p:attrNameLst>
                                      </p:cBhvr>
                                      <p:tavLst>
                                        <p:tav tm="0">
                                          <p:val>
                                            <p:fltVal val="0"/>
                                          </p:val>
                                        </p:tav>
                                        <p:tav tm="100000">
                                          <p:val>
                                            <p:strVal val="#ppt_h"/>
                                          </p:val>
                                        </p:tav>
                                      </p:tavLst>
                                    </p:anim>
                                    <p:anim calcmode="lin" valueType="num">
                                      <p:cBhvr>
                                        <p:cTn id="66" dur="500" fill="hold"/>
                                        <p:tgtEl>
                                          <p:spTgt spid="102"/>
                                        </p:tgtEl>
                                        <p:attrNameLst>
                                          <p:attrName>ppt_x</p:attrName>
                                        </p:attrNameLst>
                                      </p:cBhvr>
                                      <p:tavLst>
                                        <p:tav tm="0">
                                          <p:val>
                                            <p:fltVal val="0.5"/>
                                          </p:val>
                                        </p:tav>
                                        <p:tav tm="100000">
                                          <p:val>
                                            <p:strVal val="#ppt_x"/>
                                          </p:val>
                                        </p:tav>
                                      </p:tavLst>
                                    </p:anim>
                                    <p:anim calcmode="lin" valueType="num">
                                      <p:cBhvr>
                                        <p:cTn id="67" dur="500" fill="hold"/>
                                        <p:tgtEl>
                                          <p:spTgt spid="102"/>
                                        </p:tgtEl>
                                        <p:attrNameLst>
                                          <p:attrName>ppt_y</p:attrName>
                                        </p:attrNameLst>
                                      </p:cBhvr>
                                      <p:tavLst>
                                        <p:tav tm="0">
                                          <p:val>
                                            <p:fltVal val="0.5"/>
                                          </p:val>
                                        </p:tav>
                                        <p:tav tm="100000">
                                          <p:val>
                                            <p:strVal val="#ppt_y"/>
                                          </p:val>
                                        </p:tav>
                                      </p:tavLst>
                                    </p:anim>
                                  </p:childTnLst>
                                </p:cTn>
                              </p:par>
                              <p:par>
                                <p:cTn id="68" presetID="23" presetClass="entr" presetSubtype="528" fill="hold" grpId="0" nodeType="withEffect">
                                  <p:stCondLst>
                                    <p:cond delay="1200"/>
                                  </p:stCondLst>
                                  <p:childTnLst>
                                    <p:set>
                                      <p:cBhvr>
                                        <p:cTn id="69" dur="1" fill="hold">
                                          <p:stCondLst>
                                            <p:cond delay="0"/>
                                          </p:stCondLst>
                                        </p:cTn>
                                        <p:tgtEl>
                                          <p:spTgt spid="109"/>
                                        </p:tgtEl>
                                        <p:attrNameLst>
                                          <p:attrName>style.visibility</p:attrName>
                                        </p:attrNameLst>
                                      </p:cBhvr>
                                      <p:to>
                                        <p:strVal val="visible"/>
                                      </p:to>
                                    </p:set>
                                    <p:anim calcmode="lin" valueType="num">
                                      <p:cBhvr>
                                        <p:cTn id="70" dur="500" fill="hold"/>
                                        <p:tgtEl>
                                          <p:spTgt spid="109"/>
                                        </p:tgtEl>
                                        <p:attrNameLst>
                                          <p:attrName>ppt_w</p:attrName>
                                        </p:attrNameLst>
                                      </p:cBhvr>
                                      <p:tavLst>
                                        <p:tav tm="0">
                                          <p:val>
                                            <p:fltVal val="0"/>
                                          </p:val>
                                        </p:tav>
                                        <p:tav tm="100000">
                                          <p:val>
                                            <p:strVal val="#ppt_w"/>
                                          </p:val>
                                        </p:tav>
                                      </p:tavLst>
                                    </p:anim>
                                    <p:anim calcmode="lin" valueType="num">
                                      <p:cBhvr>
                                        <p:cTn id="71" dur="500" fill="hold"/>
                                        <p:tgtEl>
                                          <p:spTgt spid="109"/>
                                        </p:tgtEl>
                                        <p:attrNameLst>
                                          <p:attrName>ppt_h</p:attrName>
                                        </p:attrNameLst>
                                      </p:cBhvr>
                                      <p:tavLst>
                                        <p:tav tm="0">
                                          <p:val>
                                            <p:fltVal val="0"/>
                                          </p:val>
                                        </p:tav>
                                        <p:tav tm="100000">
                                          <p:val>
                                            <p:strVal val="#ppt_h"/>
                                          </p:val>
                                        </p:tav>
                                      </p:tavLst>
                                    </p:anim>
                                    <p:anim calcmode="lin" valueType="num">
                                      <p:cBhvr>
                                        <p:cTn id="72" dur="500" fill="hold"/>
                                        <p:tgtEl>
                                          <p:spTgt spid="109"/>
                                        </p:tgtEl>
                                        <p:attrNameLst>
                                          <p:attrName>ppt_x</p:attrName>
                                        </p:attrNameLst>
                                      </p:cBhvr>
                                      <p:tavLst>
                                        <p:tav tm="0">
                                          <p:val>
                                            <p:fltVal val="0.5"/>
                                          </p:val>
                                        </p:tav>
                                        <p:tav tm="100000">
                                          <p:val>
                                            <p:strVal val="#ppt_x"/>
                                          </p:val>
                                        </p:tav>
                                      </p:tavLst>
                                    </p:anim>
                                    <p:anim calcmode="lin" valueType="num">
                                      <p:cBhvr>
                                        <p:cTn id="73" dur="500" fill="hold"/>
                                        <p:tgtEl>
                                          <p:spTgt spid="109"/>
                                        </p:tgtEl>
                                        <p:attrNameLst>
                                          <p:attrName>ppt_y</p:attrName>
                                        </p:attrNameLst>
                                      </p:cBhvr>
                                      <p:tavLst>
                                        <p:tav tm="0">
                                          <p:val>
                                            <p:fltVal val="0.5"/>
                                          </p:val>
                                        </p:tav>
                                        <p:tav tm="100000">
                                          <p:val>
                                            <p:strVal val="#ppt_y"/>
                                          </p:val>
                                        </p:tav>
                                      </p:tavLst>
                                    </p:anim>
                                  </p:childTnLst>
                                </p:cTn>
                              </p:par>
                              <p:par>
                                <p:cTn id="74" presetID="23" presetClass="entr" presetSubtype="528" fill="hold" grpId="0" nodeType="withEffect">
                                  <p:stCondLst>
                                    <p:cond delay="1200"/>
                                  </p:stCondLst>
                                  <p:childTnLst>
                                    <p:set>
                                      <p:cBhvr>
                                        <p:cTn id="75" dur="1" fill="hold">
                                          <p:stCondLst>
                                            <p:cond delay="0"/>
                                          </p:stCondLst>
                                        </p:cTn>
                                        <p:tgtEl>
                                          <p:spTgt spid="110"/>
                                        </p:tgtEl>
                                        <p:attrNameLst>
                                          <p:attrName>style.visibility</p:attrName>
                                        </p:attrNameLst>
                                      </p:cBhvr>
                                      <p:to>
                                        <p:strVal val="visible"/>
                                      </p:to>
                                    </p:set>
                                    <p:anim calcmode="lin" valueType="num">
                                      <p:cBhvr>
                                        <p:cTn id="76" dur="500" fill="hold"/>
                                        <p:tgtEl>
                                          <p:spTgt spid="110"/>
                                        </p:tgtEl>
                                        <p:attrNameLst>
                                          <p:attrName>ppt_w</p:attrName>
                                        </p:attrNameLst>
                                      </p:cBhvr>
                                      <p:tavLst>
                                        <p:tav tm="0">
                                          <p:val>
                                            <p:fltVal val="0"/>
                                          </p:val>
                                        </p:tav>
                                        <p:tav tm="100000">
                                          <p:val>
                                            <p:strVal val="#ppt_w"/>
                                          </p:val>
                                        </p:tav>
                                      </p:tavLst>
                                    </p:anim>
                                    <p:anim calcmode="lin" valueType="num">
                                      <p:cBhvr>
                                        <p:cTn id="77" dur="500" fill="hold"/>
                                        <p:tgtEl>
                                          <p:spTgt spid="110"/>
                                        </p:tgtEl>
                                        <p:attrNameLst>
                                          <p:attrName>ppt_h</p:attrName>
                                        </p:attrNameLst>
                                      </p:cBhvr>
                                      <p:tavLst>
                                        <p:tav tm="0">
                                          <p:val>
                                            <p:fltVal val="0"/>
                                          </p:val>
                                        </p:tav>
                                        <p:tav tm="100000">
                                          <p:val>
                                            <p:strVal val="#ppt_h"/>
                                          </p:val>
                                        </p:tav>
                                      </p:tavLst>
                                    </p:anim>
                                    <p:anim calcmode="lin" valueType="num">
                                      <p:cBhvr>
                                        <p:cTn id="78" dur="500" fill="hold"/>
                                        <p:tgtEl>
                                          <p:spTgt spid="110"/>
                                        </p:tgtEl>
                                        <p:attrNameLst>
                                          <p:attrName>ppt_x</p:attrName>
                                        </p:attrNameLst>
                                      </p:cBhvr>
                                      <p:tavLst>
                                        <p:tav tm="0">
                                          <p:val>
                                            <p:fltVal val="0.5"/>
                                          </p:val>
                                        </p:tav>
                                        <p:tav tm="100000">
                                          <p:val>
                                            <p:strVal val="#ppt_x"/>
                                          </p:val>
                                        </p:tav>
                                      </p:tavLst>
                                    </p:anim>
                                    <p:anim calcmode="lin" valueType="num">
                                      <p:cBhvr>
                                        <p:cTn id="79" dur="500" fill="hold"/>
                                        <p:tgtEl>
                                          <p:spTgt spid="110"/>
                                        </p:tgtEl>
                                        <p:attrNameLst>
                                          <p:attrName>ppt_y</p:attrName>
                                        </p:attrNameLst>
                                      </p:cBhvr>
                                      <p:tavLst>
                                        <p:tav tm="0">
                                          <p:val>
                                            <p:fltVal val="0.5"/>
                                          </p:val>
                                        </p:tav>
                                        <p:tav tm="100000">
                                          <p:val>
                                            <p:strVal val="#ppt_y"/>
                                          </p:val>
                                        </p:tav>
                                      </p:tavLst>
                                    </p:anim>
                                  </p:childTnLst>
                                </p:cTn>
                              </p:par>
                              <p:par>
                                <p:cTn id="80" presetID="23" presetClass="entr" presetSubtype="528" fill="hold" grpId="0" nodeType="withEffect">
                                  <p:stCondLst>
                                    <p:cond delay="1200"/>
                                  </p:stCondLst>
                                  <p:childTnLst>
                                    <p:set>
                                      <p:cBhvr>
                                        <p:cTn id="81" dur="1" fill="hold">
                                          <p:stCondLst>
                                            <p:cond delay="0"/>
                                          </p:stCondLst>
                                        </p:cTn>
                                        <p:tgtEl>
                                          <p:spTgt spid="103"/>
                                        </p:tgtEl>
                                        <p:attrNameLst>
                                          <p:attrName>style.visibility</p:attrName>
                                        </p:attrNameLst>
                                      </p:cBhvr>
                                      <p:to>
                                        <p:strVal val="visible"/>
                                      </p:to>
                                    </p:set>
                                    <p:anim calcmode="lin" valueType="num">
                                      <p:cBhvr>
                                        <p:cTn id="82" dur="500" fill="hold"/>
                                        <p:tgtEl>
                                          <p:spTgt spid="103"/>
                                        </p:tgtEl>
                                        <p:attrNameLst>
                                          <p:attrName>ppt_w</p:attrName>
                                        </p:attrNameLst>
                                      </p:cBhvr>
                                      <p:tavLst>
                                        <p:tav tm="0">
                                          <p:val>
                                            <p:fltVal val="0"/>
                                          </p:val>
                                        </p:tav>
                                        <p:tav tm="100000">
                                          <p:val>
                                            <p:strVal val="#ppt_w"/>
                                          </p:val>
                                        </p:tav>
                                      </p:tavLst>
                                    </p:anim>
                                    <p:anim calcmode="lin" valueType="num">
                                      <p:cBhvr>
                                        <p:cTn id="83" dur="500" fill="hold"/>
                                        <p:tgtEl>
                                          <p:spTgt spid="103"/>
                                        </p:tgtEl>
                                        <p:attrNameLst>
                                          <p:attrName>ppt_h</p:attrName>
                                        </p:attrNameLst>
                                      </p:cBhvr>
                                      <p:tavLst>
                                        <p:tav tm="0">
                                          <p:val>
                                            <p:fltVal val="0"/>
                                          </p:val>
                                        </p:tav>
                                        <p:tav tm="100000">
                                          <p:val>
                                            <p:strVal val="#ppt_h"/>
                                          </p:val>
                                        </p:tav>
                                      </p:tavLst>
                                    </p:anim>
                                    <p:anim calcmode="lin" valueType="num">
                                      <p:cBhvr>
                                        <p:cTn id="84" dur="500" fill="hold"/>
                                        <p:tgtEl>
                                          <p:spTgt spid="103"/>
                                        </p:tgtEl>
                                        <p:attrNameLst>
                                          <p:attrName>ppt_x</p:attrName>
                                        </p:attrNameLst>
                                      </p:cBhvr>
                                      <p:tavLst>
                                        <p:tav tm="0">
                                          <p:val>
                                            <p:fltVal val="0.5"/>
                                          </p:val>
                                        </p:tav>
                                        <p:tav tm="100000">
                                          <p:val>
                                            <p:strVal val="#ppt_x"/>
                                          </p:val>
                                        </p:tav>
                                      </p:tavLst>
                                    </p:anim>
                                    <p:anim calcmode="lin" valueType="num">
                                      <p:cBhvr>
                                        <p:cTn id="85" dur="500" fill="hold"/>
                                        <p:tgtEl>
                                          <p:spTgt spid="103"/>
                                        </p:tgtEl>
                                        <p:attrNameLst>
                                          <p:attrName>ppt_y</p:attrName>
                                        </p:attrNameLst>
                                      </p:cBhvr>
                                      <p:tavLst>
                                        <p:tav tm="0">
                                          <p:val>
                                            <p:fltVal val="0.5"/>
                                          </p:val>
                                        </p:tav>
                                        <p:tav tm="100000">
                                          <p:val>
                                            <p:strVal val="#ppt_y"/>
                                          </p:val>
                                        </p:tav>
                                      </p:tavLst>
                                    </p:anim>
                                  </p:childTnLst>
                                </p:cTn>
                              </p:par>
                              <p:par>
                                <p:cTn id="86" presetID="23" presetClass="entr" presetSubtype="528" fill="hold" grpId="0" nodeType="withEffect">
                                  <p:stCondLst>
                                    <p:cond delay="1200"/>
                                  </p:stCondLst>
                                  <p:childTnLst>
                                    <p:set>
                                      <p:cBhvr>
                                        <p:cTn id="87" dur="1" fill="hold">
                                          <p:stCondLst>
                                            <p:cond delay="0"/>
                                          </p:stCondLst>
                                        </p:cTn>
                                        <p:tgtEl>
                                          <p:spTgt spid="106"/>
                                        </p:tgtEl>
                                        <p:attrNameLst>
                                          <p:attrName>style.visibility</p:attrName>
                                        </p:attrNameLst>
                                      </p:cBhvr>
                                      <p:to>
                                        <p:strVal val="visible"/>
                                      </p:to>
                                    </p:set>
                                    <p:anim calcmode="lin" valueType="num">
                                      <p:cBhvr>
                                        <p:cTn id="88" dur="500" fill="hold"/>
                                        <p:tgtEl>
                                          <p:spTgt spid="106"/>
                                        </p:tgtEl>
                                        <p:attrNameLst>
                                          <p:attrName>ppt_w</p:attrName>
                                        </p:attrNameLst>
                                      </p:cBhvr>
                                      <p:tavLst>
                                        <p:tav tm="0">
                                          <p:val>
                                            <p:fltVal val="0"/>
                                          </p:val>
                                        </p:tav>
                                        <p:tav tm="100000">
                                          <p:val>
                                            <p:strVal val="#ppt_w"/>
                                          </p:val>
                                        </p:tav>
                                      </p:tavLst>
                                    </p:anim>
                                    <p:anim calcmode="lin" valueType="num">
                                      <p:cBhvr>
                                        <p:cTn id="89" dur="500" fill="hold"/>
                                        <p:tgtEl>
                                          <p:spTgt spid="106"/>
                                        </p:tgtEl>
                                        <p:attrNameLst>
                                          <p:attrName>ppt_h</p:attrName>
                                        </p:attrNameLst>
                                      </p:cBhvr>
                                      <p:tavLst>
                                        <p:tav tm="0">
                                          <p:val>
                                            <p:fltVal val="0"/>
                                          </p:val>
                                        </p:tav>
                                        <p:tav tm="100000">
                                          <p:val>
                                            <p:strVal val="#ppt_h"/>
                                          </p:val>
                                        </p:tav>
                                      </p:tavLst>
                                    </p:anim>
                                    <p:anim calcmode="lin" valueType="num">
                                      <p:cBhvr>
                                        <p:cTn id="90" dur="500" fill="hold"/>
                                        <p:tgtEl>
                                          <p:spTgt spid="106"/>
                                        </p:tgtEl>
                                        <p:attrNameLst>
                                          <p:attrName>ppt_x</p:attrName>
                                        </p:attrNameLst>
                                      </p:cBhvr>
                                      <p:tavLst>
                                        <p:tav tm="0">
                                          <p:val>
                                            <p:fltVal val="0.5"/>
                                          </p:val>
                                        </p:tav>
                                        <p:tav tm="100000">
                                          <p:val>
                                            <p:strVal val="#ppt_x"/>
                                          </p:val>
                                        </p:tav>
                                      </p:tavLst>
                                    </p:anim>
                                    <p:anim calcmode="lin" valueType="num">
                                      <p:cBhvr>
                                        <p:cTn id="91" dur="500" fill="hold"/>
                                        <p:tgtEl>
                                          <p:spTgt spid="106"/>
                                        </p:tgtEl>
                                        <p:attrNameLst>
                                          <p:attrName>ppt_y</p:attrName>
                                        </p:attrNameLst>
                                      </p:cBhvr>
                                      <p:tavLst>
                                        <p:tav tm="0">
                                          <p:val>
                                            <p:fltVal val="0.5"/>
                                          </p:val>
                                        </p:tav>
                                        <p:tav tm="100000">
                                          <p:val>
                                            <p:strVal val="#ppt_y"/>
                                          </p:val>
                                        </p:tav>
                                      </p:tavLst>
                                    </p:anim>
                                  </p:childTnLst>
                                </p:cTn>
                              </p:par>
                              <p:par>
                                <p:cTn id="92" presetID="23" presetClass="entr" presetSubtype="528" fill="hold" grpId="0" nodeType="withEffect">
                                  <p:stCondLst>
                                    <p:cond delay="1200"/>
                                  </p:stCondLst>
                                  <p:childTnLst>
                                    <p:set>
                                      <p:cBhvr>
                                        <p:cTn id="93" dur="1" fill="hold">
                                          <p:stCondLst>
                                            <p:cond delay="0"/>
                                          </p:stCondLst>
                                        </p:cTn>
                                        <p:tgtEl>
                                          <p:spTgt spid="105"/>
                                        </p:tgtEl>
                                        <p:attrNameLst>
                                          <p:attrName>style.visibility</p:attrName>
                                        </p:attrNameLst>
                                      </p:cBhvr>
                                      <p:to>
                                        <p:strVal val="visible"/>
                                      </p:to>
                                    </p:set>
                                    <p:anim calcmode="lin" valueType="num">
                                      <p:cBhvr>
                                        <p:cTn id="94" dur="500" fill="hold"/>
                                        <p:tgtEl>
                                          <p:spTgt spid="105"/>
                                        </p:tgtEl>
                                        <p:attrNameLst>
                                          <p:attrName>ppt_w</p:attrName>
                                        </p:attrNameLst>
                                      </p:cBhvr>
                                      <p:tavLst>
                                        <p:tav tm="0">
                                          <p:val>
                                            <p:fltVal val="0"/>
                                          </p:val>
                                        </p:tav>
                                        <p:tav tm="100000">
                                          <p:val>
                                            <p:strVal val="#ppt_w"/>
                                          </p:val>
                                        </p:tav>
                                      </p:tavLst>
                                    </p:anim>
                                    <p:anim calcmode="lin" valueType="num">
                                      <p:cBhvr>
                                        <p:cTn id="95" dur="500" fill="hold"/>
                                        <p:tgtEl>
                                          <p:spTgt spid="105"/>
                                        </p:tgtEl>
                                        <p:attrNameLst>
                                          <p:attrName>ppt_h</p:attrName>
                                        </p:attrNameLst>
                                      </p:cBhvr>
                                      <p:tavLst>
                                        <p:tav tm="0">
                                          <p:val>
                                            <p:fltVal val="0"/>
                                          </p:val>
                                        </p:tav>
                                        <p:tav tm="100000">
                                          <p:val>
                                            <p:strVal val="#ppt_h"/>
                                          </p:val>
                                        </p:tav>
                                      </p:tavLst>
                                    </p:anim>
                                    <p:anim calcmode="lin" valueType="num">
                                      <p:cBhvr>
                                        <p:cTn id="96" dur="500" fill="hold"/>
                                        <p:tgtEl>
                                          <p:spTgt spid="105"/>
                                        </p:tgtEl>
                                        <p:attrNameLst>
                                          <p:attrName>ppt_x</p:attrName>
                                        </p:attrNameLst>
                                      </p:cBhvr>
                                      <p:tavLst>
                                        <p:tav tm="0">
                                          <p:val>
                                            <p:fltVal val="0.5"/>
                                          </p:val>
                                        </p:tav>
                                        <p:tav tm="100000">
                                          <p:val>
                                            <p:strVal val="#ppt_x"/>
                                          </p:val>
                                        </p:tav>
                                      </p:tavLst>
                                    </p:anim>
                                    <p:anim calcmode="lin" valueType="num">
                                      <p:cBhvr>
                                        <p:cTn id="97" dur="500" fill="hold"/>
                                        <p:tgtEl>
                                          <p:spTgt spid="105"/>
                                        </p:tgtEl>
                                        <p:attrNameLst>
                                          <p:attrName>ppt_y</p:attrName>
                                        </p:attrNameLst>
                                      </p:cBhvr>
                                      <p:tavLst>
                                        <p:tav tm="0">
                                          <p:val>
                                            <p:fltVal val="0.5"/>
                                          </p:val>
                                        </p:tav>
                                        <p:tav tm="100000">
                                          <p:val>
                                            <p:strVal val="#ppt_y"/>
                                          </p:val>
                                        </p:tav>
                                      </p:tavLst>
                                    </p:anim>
                                  </p:childTnLst>
                                </p:cTn>
                              </p:par>
                              <p:par>
                                <p:cTn id="98" presetID="23" presetClass="entr" presetSubtype="528" fill="hold" grpId="0" nodeType="withEffect">
                                  <p:stCondLst>
                                    <p:cond delay="1200"/>
                                  </p:stCondLst>
                                  <p:childTnLst>
                                    <p:set>
                                      <p:cBhvr>
                                        <p:cTn id="99" dur="1" fill="hold">
                                          <p:stCondLst>
                                            <p:cond delay="0"/>
                                          </p:stCondLst>
                                        </p:cTn>
                                        <p:tgtEl>
                                          <p:spTgt spid="96"/>
                                        </p:tgtEl>
                                        <p:attrNameLst>
                                          <p:attrName>style.visibility</p:attrName>
                                        </p:attrNameLst>
                                      </p:cBhvr>
                                      <p:to>
                                        <p:strVal val="visible"/>
                                      </p:to>
                                    </p:set>
                                    <p:anim calcmode="lin" valueType="num">
                                      <p:cBhvr>
                                        <p:cTn id="100" dur="500" fill="hold"/>
                                        <p:tgtEl>
                                          <p:spTgt spid="96"/>
                                        </p:tgtEl>
                                        <p:attrNameLst>
                                          <p:attrName>ppt_w</p:attrName>
                                        </p:attrNameLst>
                                      </p:cBhvr>
                                      <p:tavLst>
                                        <p:tav tm="0">
                                          <p:val>
                                            <p:fltVal val="0"/>
                                          </p:val>
                                        </p:tav>
                                        <p:tav tm="100000">
                                          <p:val>
                                            <p:strVal val="#ppt_w"/>
                                          </p:val>
                                        </p:tav>
                                      </p:tavLst>
                                    </p:anim>
                                    <p:anim calcmode="lin" valueType="num">
                                      <p:cBhvr>
                                        <p:cTn id="101" dur="500" fill="hold"/>
                                        <p:tgtEl>
                                          <p:spTgt spid="96"/>
                                        </p:tgtEl>
                                        <p:attrNameLst>
                                          <p:attrName>ppt_h</p:attrName>
                                        </p:attrNameLst>
                                      </p:cBhvr>
                                      <p:tavLst>
                                        <p:tav tm="0">
                                          <p:val>
                                            <p:fltVal val="0"/>
                                          </p:val>
                                        </p:tav>
                                        <p:tav tm="100000">
                                          <p:val>
                                            <p:strVal val="#ppt_h"/>
                                          </p:val>
                                        </p:tav>
                                      </p:tavLst>
                                    </p:anim>
                                    <p:anim calcmode="lin" valueType="num">
                                      <p:cBhvr>
                                        <p:cTn id="102" dur="500" fill="hold"/>
                                        <p:tgtEl>
                                          <p:spTgt spid="96"/>
                                        </p:tgtEl>
                                        <p:attrNameLst>
                                          <p:attrName>ppt_x</p:attrName>
                                        </p:attrNameLst>
                                      </p:cBhvr>
                                      <p:tavLst>
                                        <p:tav tm="0">
                                          <p:val>
                                            <p:fltVal val="0.5"/>
                                          </p:val>
                                        </p:tav>
                                        <p:tav tm="100000">
                                          <p:val>
                                            <p:strVal val="#ppt_x"/>
                                          </p:val>
                                        </p:tav>
                                      </p:tavLst>
                                    </p:anim>
                                    <p:anim calcmode="lin" valueType="num">
                                      <p:cBhvr>
                                        <p:cTn id="103" dur="500" fill="hold"/>
                                        <p:tgtEl>
                                          <p:spTgt spid="96"/>
                                        </p:tgtEl>
                                        <p:attrNameLst>
                                          <p:attrName>ppt_y</p:attrName>
                                        </p:attrNameLst>
                                      </p:cBhvr>
                                      <p:tavLst>
                                        <p:tav tm="0">
                                          <p:val>
                                            <p:fltVal val="0.5"/>
                                          </p:val>
                                        </p:tav>
                                        <p:tav tm="100000">
                                          <p:val>
                                            <p:strVal val="#ppt_y"/>
                                          </p:val>
                                        </p:tav>
                                      </p:tavLst>
                                    </p:anim>
                                  </p:childTnLst>
                                </p:cTn>
                              </p:par>
                            </p:childTnLst>
                          </p:cTn>
                        </p:par>
                        <p:par>
                          <p:cTn id="104" fill="hold">
                            <p:stCondLst>
                              <p:cond delay="500"/>
                            </p:stCondLst>
                            <p:childTnLst>
                              <p:par>
                                <p:cTn id="105" presetID="21" presetClass="entr" presetSubtype="1" fill="hold" grpId="0" nodeType="afterEffect">
                                  <p:stCondLst>
                                    <p:cond delay="0"/>
                                  </p:stCondLst>
                                  <p:childTnLst>
                                    <p:set>
                                      <p:cBhvr>
                                        <p:cTn id="106" dur="1" fill="hold">
                                          <p:stCondLst>
                                            <p:cond delay="0"/>
                                          </p:stCondLst>
                                        </p:cTn>
                                        <p:tgtEl>
                                          <p:spTgt spid="4316"/>
                                        </p:tgtEl>
                                        <p:attrNameLst>
                                          <p:attrName>style.visibility</p:attrName>
                                        </p:attrNameLst>
                                      </p:cBhvr>
                                      <p:to>
                                        <p:strVal val="visible"/>
                                      </p:to>
                                    </p:set>
                                    <p:animEffect transition="in" filter="wheel(1)">
                                      <p:cBhvr>
                                        <p:cTn id="107" dur="1000"/>
                                        <p:tgtEl>
                                          <p:spTgt spid="43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16" grpId="0" animBg="1"/>
      <p:bldP spid="4103" grpId="0" animBg="1"/>
      <p:bldP spid="4115" grpId="0" animBg="1"/>
      <p:bldP spid="4127" grpId="0" animBg="1"/>
      <p:bldP spid="96" grpId="0" animBg="1"/>
      <p:bldP spid="97" grpId="0" animBg="1"/>
      <p:bldP spid="99" grpId="0" animBg="1"/>
      <p:bldP spid="100" grpId="0" animBg="1"/>
      <p:bldP spid="102" grpId="0" animBg="1"/>
      <p:bldP spid="103"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Lst>
  </p:timing>
</p:sld>
</file>

<file path=ppt/tags/tag1.xml><?xml version="1.0" encoding="utf-8"?>
<p:tagLst xmlns:p="http://schemas.openxmlformats.org/presentationml/2006/main">
  <p:tag name="TIMING" val="|2.6|0.7|1.1|1.1"/>
</p:tagLst>
</file>

<file path=ppt/tags/tag10.xml><?xml version="1.0" encoding="utf-8"?>
<p:tagLst xmlns:p="http://schemas.openxmlformats.org/presentationml/2006/main">
  <p:tag name="TIMING" val="|3.6"/>
</p:tagLst>
</file>

<file path=ppt/tags/tag11.xml><?xml version="1.0" encoding="utf-8"?>
<p:tagLst xmlns:p="http://schemas.openxmlformats.org/presentationml/2006/main">
  <p:tag name="THINKCELLSHAPEDONOTDELETE" val="SzMAWd5DoUi0HxzMhoEbIg"/>
</p:tagLst>
</file>

<file path=ppt/tags/tag12.xml><?xml version="1.0" encoding="utf-8"?>
<p:tagLst xmlns:p="http://schemas.openxmlformats.org/presentationml/2006/main">
  <p:tag name="THINKCELLSHAPEDONOTDELETE" val="ooJVpPA0k0CHvn4VipVpIw"/>
</p:tagLst>
</file>

<file path=ppt/tags/tag13.xml><?xml version="1.0" encoding="utf-8"?>
<p:tagLst xmlns:p="http://schemas.openxmlformats.org/presentationml/2006/main">
  <p:tag name="THINKCELLSHAPEDONOTDELETE" val="3XJ7y_Dkc0WYOaP4MHDCZw"/>
</p:tagLst>
</file>

<file path=ppt/tags/tag14.xml><?xml version="1.0" encoding="utf-8"?>
<p:tagLst xmlns:p="http://schemas.openxmlformats.org/presentationml/2006/main">
  <p:tag name="TIMING" val="|3.6"/>
</p:tagLst>
</file>

<file path=ppt/tags/tag15.xml><?xml version="1.0" encoding="utf-8"?>
<p:tagLst xmlns:p="http://schemas.openxmlformats.org/presentationml/2006/main">
  <p:tag name="TIMING" val="|3.4"/>
</p:tagLst>
</file>

<file path=ppt/tags/tag16.xml><?xml version="1.0" encoding="utf-8"?>
<p:tagLst xmlns:p="http://schemas.openxmlformats.org/presentationml/2006/main">
  <p:tag name="TIMING" val="|6.4"/>
</p:tagLst>
</file>

<file path=ppt/tags/tag17.xml><?xml version="1.0" encoding="utf-8"?>
<p:tagLst xmlns:p="http://schemas.openxmlformats.org/presentationml/2006/main">
  <p:tag name="TIMING" val="|3.7"/>
</p:tagLst>
</file>

<file path=ppt/tags/tag2.xml><?xml version="1.0" encoding="utf-8"?>
<p:tagLst xmlns:p="http://schemas.openxmlformats.org/presentationml/2006/main">
  <p:tag name="TIMING" val="|2.7"/>
</p:tagLst>
</file>

<file path=ppt/tags/tag3.xml><?xml version="1.0" encoding="utf-8"?>
<p:tagLst xmlns:p="http://schemas.openxmlformats.org/presentationml/2006/main">
  <p:tag name="TIMING" val="|3.6"/>
</p:tagLst>
</file>

<file path=ppt/tags/tag4.xml><?xml version="1.0" encoding="utf-8"?>
<p:tagLst xmlns:p="http://schemas.openxmlformats.org/presentationml/2006/main">
  <p:tag name="TIMING" val="|3.6"/>
</p:tagLst>
</file>

<file path=ppt/tags/tag5.xml><?xml version="1.0" encoding="utf-8"?>
<p:tagLst xmlns:p="http://schemas.openxmlformats.org/presentationml/2006/main">
  <p:tag name="TIMING" val="|2.7"/>
</p:tagLst>
</file>

<file path=ppt/tags/tag6.xml><?xml version="1.0" encoding="utf-8"?>
<p:tagLst xmlns:p="http://schemas.openxmlformats.org/presentationml/2006/main">
  <p:tag name="TIMING" val="|2.7"/>
</p:tagLst>
</file>

<file path=ppt/tags/tag7.xml><?xml version="1.0" encoding="utf-8"?>
<p:tagLst xmlns:p="http://schemas.openxmlformats.org/presentationml/2006/main">
  <p:tag name="TIMING" val="|4.6"/>
</p:tagLst>
</file>

<file path=ppt/tags/tag8.xml><?xml version="1.0" encoding="utf-8"?>
<p:tagLst xmlns:p="http://schemas.openxmlformats.org/presentationml/2006/main">
  <p:tag name="TIMING" val="|3.7"/>
</p:tagLst>
</file>

<file path=ppt/tags/tag9.xml><?xml version="1.0" encoding="utf-8"?>
<p:tagLst xmlns:p="http://schemas.openxmlformats.org/presentationml/2006/main">
  <p:tag name="TIMING" val="|2.7"/>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nchor="ctr">
        <a:spAutoFit/>
      </a:bodyPr>
      <a:lstStyle>
        <a:defPPr>
          <a:defRPr smtClean="0">
            <a:latin typeface="微软雅黑" panose="020B0503020204020204" pitchFamily="34" charset="-122"/>
            <a:ea typeface="微软雅黑" panose="020B0503020204020204" pitchFamily="34" charset="-122"/>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25</Words>
  <Application>WPS 演示</Application>
  <PresentationFormat>自定义</PresentationFormat>
  <Paragraphs>597</Paragraphs>
  <Slides>29</Slides>
  <Notes>29</Notes>
  <HiddenSlides>0</HiddenSlides>
  <MMClips>1</MMClips>
  <ScaleCrop>false</ScaleCrop>
  <HeadingPairs>
    <vt:vector size="6" baseType="variant">
      <vt:variant>
        <vt:lpstr>已用的字体</vt:lpstr>
      </vt:variant>
      <vt:variant>
        <vt:i4>13</vt:i4>
      </vt:variant>
      <vt:variant>
        <vt:lpstr>主题</vt:lpstr>
      </vt:variant>
      <vt:variant>
        <vt:i4>1</vt:i4>
      </vt:variant>
      <vt:variant>
        <vt:lpstr>幻灯片标题</vt:lpstr>
      </vt:variant>
      <vt:variant>
        <vt:i4>29</vt:i4>
      </vt:variant>
    </vt:vector>
  </HeadingPairs>
  <TitlesOfParts>
    <vt:vector size="43" baseType="lpstr">
      <vt:lpstr>Arial</vt:lpstr>
      <vt:lpstr>宋体</vt:lpstr>
      <vt:lpstr>Wingdings</vt:lpstr>
      <vt:lpstr>微软雅黑</vt:lpstr>
      <vt:lpstr>Segoe UI Light</vt:lpstr>
      <vt:lpstr>Agency FB</vt:lpstr>
      <vt:lpstr>Times New Roman</vt:lpstr>
      <vt:lpstr>Pirulen</vt:lpstr>
      <vt:lpstr>Arial Unicode MS</vt:lpstr>
      <vt:lpstr>Calibri</vt:lpstr>
      <vt:lpstr>UKIJ Qolyazma</vt:lpstr>
      <vt:lpstr>Impact</vt:lpstr>
      <vt:lpstr>Courier New</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Auser</cp:lastModifiedBy>
  <cp:revision>651</cp:revision>
  <dcterms:created xsi:type="dcterms:W3CDTF">2014-05-15T03:15:00Z</dcterms:created>
  <dcterms:modified xsi:type="dcterms:W3CDTF">2017-09-20T10:0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749</vt:lpwstr>
  </property>
</Properties>
</file>